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0" r:id="rId5"/>
  </p:sldMasterIdLst>
  <p:notesMasterIdLst>
    <p:notesMasterId r:id="rId27"/>
  </p:notesMasterIdLst>
  <p:handoutMasterIdLst>
    <p:handoutMasterId r:id="rId28"/>
  </p:handoutMasterIdLst>
  <p:sldIdLst>
    <p:sldId id="260" r:id="rId6"/>
    <p:sldId id="335" r:id="rId7"/>
    <p:sldId id="327" r:id="rId8"/>
    <p:sldId id="336" r:id="rId9"/>
    <p:sldId id="339" r:id="rId10"/>
    <p:sldId id="359" r:id="rId11"/>
    <p:sldId id="360" r:id="rId12"/>
    <p:sldId id="361" r:id="rId13"/>
    <p:sldId id="362" r:id="rId14"/>
    <p:sldId id="363" r:id="rId15"/>
    <p:sldId id="364" r:id="rId16"/>
    <p:sldId id="340" r:id="rId17"/>
    <p:sldId id="367" r:id="rId18"/>
    <p:sldId id="366" r:id="rId19"/>
    <p:sldId id="341" r:id="rId20"/>
    <p:sldId id="368" r:id="rId21"/>
    <p:sldId id="356" r:id="rId22"/>
    <p:sldId id="357" r:id="rId23"/>
    <p:sldId id="330" r:id="rId24"/>
    <p:sldId id="333" r:id="rId25"/>
    <p:sldId id="358" r:id="rId26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pos="5670">
          <p15:clr>
            <a:srgbClr val="A4A3A4"/>
          </p15:clr>
        </p15:guide>
        <p15:guide id="4" orient="horz" pos="4201">
          <p15:clr>
            <a:srgbClr val="A4A3A4"/>
          </p15:clr>
        </p15:guide>
        <p15:guide id="5" orient="horz" pos="482" userDrawn="1">
          <p15:clr>
            <a:srgbClr val="A4A3A4"/>
          </p15:clr>
        </p15:guide>
        <p15:guide id="6" orient="horz" pos="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апшина Лиана Элхановна" initials="ЛЛЭ" lastIdx="4" clrIdx="0">
    <p:extLst>
      <p:ext uri="{19B8F6BF-5375-455C-9EA6-DF929625EA0E}">
        <p15:presenceInfo xmlns:p15="http://schemas.microsoft.com/office/powerpoint/2012/main" userId="Лапшина Лиана Элхано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63636"/>
    <a:srgbClr val="E6252E"/>
    <a:srgbClr val="B3B3B3"/>
    <a:srgbClr val="0078DC"/>
    <a:srgbClr val="5E5E5E"/>
    <a:srgbClr val="DE3A6B"/>
    <a:srgbClr val="ED8C1C"/>
    <a:srgbClr val="FFEA00"/>
    <a:srgbClr val="69AB46"/>
    <a:srgbClr val="0094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12" autoAdjust="0"/>
    <p:restoredTop sz="94660"/>
  </p:normalViewPr>
  <p:slideViewPr>
    <p:cSldViewPr snapToGrid="0">
      <p:cViewPr varScale="1">
        <p:scale>
          <a:sx n="84" d="100"/>
          <a:sy n="84" d="100"/>
        </p:scale>
        <p:origin x="1522" y="82"/>
      </p:cViewPr>
      <p:guideLst>
        <p:guide orient="horz" pos="2160"/>
        <p:guide pos="249"/>
        <p:guide pos="5670"/>
        <p:guide orient="horz" pos="4201"/>
        <p:guide orient="horz" pos="482"/>
        <p:guide orient="horz" pos="25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95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3.wmf"/><Relationship Id="rId1" Type="http://schemas.openxmlformats.org/officeDocument/2006/relationships/image" Target="../media/image32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3E6317-AD28-4B98-BB3E-EFD2E34F51D4}" type="datetimeFigureOut">
              <a:rPr lang="ru-RU" smtClean="0"/>
              <a:t>11.10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1D172-0742-4393-BAB0-33DF1CF4E2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64797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406194-630E-42D5-9E72-FA13795A31A5}" type="datetimeFigureOut">
              <a:rPr lang="ru-RU" smtClean="0"/>
              <a:t>11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EDEE80-DBD8-440B-94ED-F3005F728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00671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EDEE80-DBD8-440B-94ED-F3005F728B7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3134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  <p:sp>
        <p:nvSpPr>
          <p:cNvPr id="102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2D6E1217-92B4-47B4-8295-D97098F33F22}" type="slidenum">
              <a:rPr lang="ru-RU" altLang="en-US" smtClean="0"/>
              <a:pPr/>
              <a:t>20</a:t>
            </a:fld>
            <a:endParaRPr lang="ru-RU" altLang="en-US" smtClean="0"/>
          </a:p>
        </p:txBody>
      </p:sp>
    </p:spTree>
    <p:extLst>
      <p:ext uri="{BB962C8B-B14F-4D97-AF65-F5344CB8AC3E}">
        <p14:creationId xmlns:p14="http://schemas.microsoft.com/office/powerpoint/2010/main" val="1743013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лист_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0"/>
          <a:stretch/>
        </p:blipFill>
        <p:spPr>
          <a:xfrm>
            <a:off x="-4471" y="-8467"/>
            <a:ext cx="9148471" cy="6862119"/>
          </a:xfrm>
          <a:prstGeom prst="rect">
            <a:avLst/>
          </a:prstGeom>
        </p:spPr>
      </p:pic>
      <p:pic>
        <p:nvPicPr>
          <p:cNvPr id="8" name="Изображение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1" y="0"/>
            <a:ext cx="3891439" cy="2931268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482855" y="5371345"/>
            <a:ext cx="8256587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8187955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63" userDrawn="1">
          <p15:clr>
            <a:srgbClr val="FBAE40"/>
          </p15:clr>
        </p15:guide>
        <p15:guide id="3" orient="horz" pos="365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слайда_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1"/>
          <p:cNvSpPr>
            <a:spLocks noGrp="1"/>
          </p:cNvSpPr>
          <p:nvPr>
            <p:ph type="body" sz="quarter" idx="12"/>
          </p:nvPr>
        </p:nvSpPr>
        <p:spPr>
          <a:xfrm>
            <a:off x="300791" y="372733"/>
            <a:ext cx="8409987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78DC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5128" y="1479220"/>
            <a:ext cx="8375650" cy="2070100"/>
          </a:xfrm>
          <a:prstGeom prst="rect">
            <a:avLst/>
          </a:prstGeom>
        </p:spPr>
        <p:txBody>
          <a:bodyPr/>
          <a:lstStyle>
            <a:lvl1pPr marL="180975" indent="-180975">
              <a:buClr>
                <a:srgbClr val="0078DC"/>
              </a:buClr>
              <a:buFont typeface="Arial" panose="020B0604020202020204" pitchFamily="34" charset="0"/>
              <a:buChar char="•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 (</a:t>
            </a:r>
            <a:r>
              <a:rPr lang="en-US" dirty="0" smtClean="0"/>
              <a:t>Arial, 18)</a:t>
            </a:r>
            <a:endParaRPr lang="ru-RU" dirty="0" smtClean="0"/>
          </a:p>
          <a:p>
            <a:pPr lvl="0"/>
            <a:endParaRPr lang="en-US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</p:nvPr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113912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слайда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1"/>
          <p:cNvSpPr>
            <a:spLocks noGrp="1"/>
          </p:cNvSpPr>
          <p:nvPr>
            <p:ph type="body" sz="quarter" idx="12"/>
          </p:nvPr>
        </p:nvSpPr>
        <p:spPr>
          <a:xfrm>
            <a:off x="300791" y="372733"/>
            <a:ext cx="8409987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DE3A6B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5128" y="1479220"/>
            <a:ext cx="8375650" cy="2070100"/>
          </a:xfrm>
          <a:prstGeom prst="rect">
            <a:avLst/>
          </a:prstGeom>
        </p:spPr>
        <p:txBody>
          <a:bodyPr/>
          <a:lstStyle>
            <a:lvl1pPr marL="180975" indent="-180975">
              <a:buClr>
                <a:srgbClr val="0078DC"/>
              </a:buClr>
              <a:buFont typeface="Arial" panose="020B0604020202020204" pitchFamily="34" charset="0"/>
              <a:buChar char="•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 (</a:t>
            </a:r>
            <a:r>
              <a:rPr lang="en-US" dirty="0" smtClean="0"/>
              <a:t>Arial, 18)</a:t>
            </a:r>
            <a:endParaRPr lang="ru-RU" dirty="0" smtClean="0"/>
          </a:p>
          <a:p>
            <a:pPr lvl="0"/>
            <a:endParaRPr lang="en-US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</p:txBody>
      </p:sp>
      <p:sp>
        <p:nvSpPr>
          <p:cNvPr id="5" name="Текст 7"/>
          <p:cNvSpPr>
            <a:spLocks noGrp="1"/>
          </p:cNvSpPr>
          <p:nvPr>
            <p:ph type="body" sz="quarter" idx="13"/>
          </p:nvPr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3774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слайда_вариан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1"/>
          <p:cNvSpPr>
            <a:spLocks noGrp="1"/>
          </p:cNvSpPr>
          <p:nvPr>
            <p:ph type="body" sz="quarter" idx="12"/>
          </p:nvPr>
        </p:nvSpPr>
        <p:spPr>
          <a:xfrm>
            <a:off x="300791" y="372733"/>
            <a:ext cx="8409987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800" b="1" kern="1200" dirty="0" smtClean="0">
                <a:solidFill>
                  <a:srgbClr val="ED8C1C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endParaRPr lang="ru-RU" dirty="0" smtClean="0"/>
          </a:p>
        </p:txBody>
      </p:sp>
      <p:sp>
        <p:nvSpPr>
          <p:cNvPr id="4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5128" y="1479220"/>
            <a:ext cx="8375650" cy="2070100"/>
          </a:xfrm>
          <a:prstGeom prst="rect">
            <a:avLst/>
          </a:prstGeom>
        </p:spPr>
        <p:txBody>
          <a:bodyPr/>
          <a:lstStyle>
            <a:lvl1pPr marL="180975" indent="-180975">
              <a:buClr>
                <a:srgbClr val="0078DC"/>
              </a:buClr>
              <a:buFont typeface="Arial" panose="020B0604020202020204" pitchFamily="34" charset="0"/>
              <a:buChar char="•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 (</a:t>
            </a:r>
            <a:r>
              <a:rPr lang="en-US" dirty="0" smtClean="0"/>
              <a:t>Arial, 18)</a:t>
            </a:r>
            <a:endParaRPr lang="ru-RU" dirty="0" smtClean="0"/>
          </a:p>
          <a:p>
            <a:pPr lvl="0"/>
            <a:endParaRPr lang="en-US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3"/>
          </p:nvPr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3896496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2880">
          <p15:clr>
            <a:srgbClr val="FBAE40"/>
          </p15:clr>
        </p15:guide>
        <p15:guide id="3" pos="24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Название слайда_вариан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7"/>
          <p:cNvSpPr>
            <a:spLocks noGrp="1"/>
          </p:cNvSpPr>
          <p:nvPr>
            <p:ph type="body" sz="quarter" idx="13"/>
          </p:nvPr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09259" y="356802"/>
            <a:ext cx="8136000" cy="900000"/>
          </a:xfrm>
          <a:prstGeom prst="rect">
            <a:avLst/>
          </a:prstGeom>
        </p:spPr>
        <p:txBody>
          <a:bodyPr/>
          <a:lstStyle>
            <a:lvl1pPr>
              <a:defRPr lang="ru-RU" sz="2800" b="1" kern="1200" dirty="0">
                <a:solidFill>
                  <a:srgbClr val="0078DC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sp>
        <p:nvSpPr>
          <p:cNvPr id="7" name="Объект 2"/>
          <p:cNvSpPr>
            <a:spLocks noGrp="1"/>
          </p:cNvSpPr>
          <p:nvPr>
            <p:ph sz="half" idx="1"/>
          </p:nvPr>
        </p:nvSpPr>
        <p:spPr>
          <a:xfrm>
            <a:off x="309259" y="1370734"/>
            <a:ext cx="3888000" cy="4546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ru-RU" sz="1800" kern="1200" dirty="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half" idx="2"/>
          </p:nvPr>
        </p:nvSpPr>
        <p:spPr>
          <a:xfrm>
            <a:off x="4591127" y="1370734"/>
            <a:ext cx="3888000" cy="4546800"/>
          </a:xfrm>
          <a:prstGeom prst="rect">
            <a:avLst/>
          </a:prstGeom>
        </p:spPr>
        <p:txBody>
          <a:bodyPr/>
          <a:lstStyle>
            <a:lvl1pPr>
              <a:defRPr lang="ru-RU"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753718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459" userDrawn="1">
          <p15:clr>
            <a:srgbClr val="FBAE40"/>
          </p15:clr>
        </p15:guide>
        <p15:guide id="2" pos="24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слайда_вариан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7"/>
          <p:cNvSpPr>
            <a:spLocks noGrp="1"/>
          </p:cNvSpPr>
          <p:nvPr>
            <p:ph type="body" sz="quarter" idx="13"/>
          </p:nvPr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92325" y="373736"/>
            <a:ext cx="8136000" cy="9000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0078DC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7" name="Объект 2"/>
          <p:cNvSpPr>
            <a:spLocks noGrp="1"/>
          </p:cNvSpPr>
          <p:nvPr>
            <p:ph sz="half" idx="1"/>
          </p:nvPr>
        </p:nvSpPr>
        <p:spPr>
          <a:xfrm>
            <a:off x="283873" y="1328399"/>
            <a:ext cx="2592000" cy="4546800"/>
          </a:xfrm>
          <a:prstGeom prst="rect">
            <a:avLst/>
          </a:prstGeom>
        </p:spPr>
        <p:txBody>
          <a:bodyPr/>
          <a:lstStyle>
            <a:lvl1pPr>
              <a:defRPr lang="ru-RU"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half" idx="2"/>
          </p:nvPr>
        </p:nvSpPr>
        <p:spPr>
          <a:xfrm>
            <a:off x="3055873" y="1328399"/>
            <a:ext cx="2592000" cy="4546800"/>
          </a:xfrm>
          <a:prstGeom prst="rect">
            <a:avLst/>
          </a:prstGeom>
        </p:spPr>
        <p:txBody>
          <a:bodyPr/>
          <a:lstStyle>
            <a:lvl1pPr>
              <a:defRPr lang="ru-RU" sz="1800" kern="1200" dirty="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  <p:sp>
        <p:nvSpPr>
          <p:cNvPr id="9" name="Объект 5"/>
          <p:cNvSpPr>
            <a:spLocks noGrp="1"/>
          </p:cNvSpPr>
          <p:nvPr>
            <p:ph sz="half" idx="14"/>
          </p:nvPr>
        </p:nvSpPr>
        <p:spPr>
          <a:xfrm>
            <a:off x="5827873" y="1328400"/>
            <a:ext cx="2592000" cy="4546800"/>
          </a:xfrm>
          <a:prstGeom prst="rect">
            <a:avLst/>
          </a:prstGeom>
        </p:spPr>
        <p:txBody>
          <a:bodyPr/>
          <a:lstStyle>
            <a:lvl1pPr>
              <a:defRPr lang="ru-RU" sz="18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7711356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459" userDrawn="1">
          <p15:clr>
            <a:srgbClr val="FBAE40"/>
          </p15:clr>
        </p15:guide>
        <p15:guide id="2" pos="24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"/>
          <p:cNvGrpSpPr>
            <a:grpSpLocks noChangeAspect="1"/>
          </p:cNvGrpSpPr>
          <p:nvPr userDrawn="1"/>
        </p:nvGrpSpPr>
        <p:grpSpPr bwMode="auto">
          <a:xfrm>
            <a:off x="370840" y="1269730"/>
            <a:ext cx="10102447" cy="4481512"/>
            <a:chOff x="1" y="0"/>
            <a:chExt cx="11809" cy="4943"/>
          </a:xfrm>
        </p:grpSpPr>
        <p:sp>
          <p:nvSpPr>
            <p:cNvPr id="14" name="AutoShape 398"/>
            <p:cNvSpPr>
              <a:spLocks noChangeAspect="1" noChangeArrowheads="1" noTextEdit="1"/>
            </p:cNvSpPr>
            <p:nvPr/>
          </p:nvSpPr>
          <p:spPr bwMode="auto">
            <a:xfrm>
              <a:off x="1" y="0"/>
              <a:ext cx="11809" cy="4943"/>
            </a:xfrm>
            <a:prstGeom prst="rect">
              <a:avLst/>
            </a:prstGeom>
            <a:noFill/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397"/>
            <p:cNvSpPr>
              <a:spLocks/>
            </p:cNvSpPr>
            <p:nvPr/>
          </p:nvSpPr>
          <p:spPr bwMode="auto">
            <a:xfrm>
              <a:off x="1249" y="2391"/>
              <a:ext cx="496" cy="449"/>
            </a:xfrm>
            <a:custGeom>
              <a:avLst/>
              <a:gdLst>
                <a:gd name="T0" fmla="*/ 185 w 497"/>
                <a:gd name="T1" fmla="*/ 39 h 449"/>
                <a:gd name="T2" fmla="*/ 204 w 497"/>
                <a:gd name="T3" fmla="*/ 20 h 449"/>
                <a:gd name="T4" fmla="*/ 214 w 497"/>
                <a:gd name="T5" fmla="*/ 10 h 449"/>
                <a:gd name="T6" fmla="*/ 243 w 497"/>
                <a:gd name="T7" fmla="*/ 0 h 449"/>
                <a:gd name="T8" fmla="*/ 282 w 497"/>
                <a:gd name="T9" fmla="*/ 10 h 449"/>
                <a:gd name="T10" fmla="*/ 341 w 497"/>
                <a:gd name="T11" fmla="*/ 59 h 449"/>
                <a:gd name="T12" fmla="*/ 351 w 497"/>
                <a:gd name="T13" fmla="*/ 88 h 449"/>
                <a:gd name="T14" fmla="*/ 370 w 497"/>
                <a:gd name="T15" fmla="*/ 108 h 449"/>
                <a:gd name="T16" fmla="*/ 380 w 497"/>
                <a:gd name="T17" fmla="*/ 117 h 449"/>
                <a:gd name="T18" fmla="*/ 390 w 497"/>
                <a:gd name="T19" fmla="*/ 137 h 449"/>
                <a:gd name="T20" fmla="*/ 438 w 497"/>
                <a:gd name="T21" fmla="*/ 157 h 449"/>
                <a:gd name="T22" fmla="*/ 419 w 497"/>
                <a:gd name="T23" fmla="*/ 215 h 449"/>
                <a:gd name="T24" fmla="*/ 399 w 497"/>
                <a:gd name="T25" fmla="*/ 244 h 449"/>
                <a:gd name="T26" fmla="*/ 429 w 497"/>
                <a:gd name="T27" fmla="*/ 254 h 449"/>
                <a:gd name="T28" fmla="*/ 438 w 497"/>
                <a:gd name="T29" fmla="*/ 274 h 449"/>
                <a:gd name="T30" fmla="*/ 448 w 497"/>
                <a:gd name="T31" fmla="*/ 303 h 449"/>
                <a:gd name="T32" fmla="*/ 468 w 497"/>
                <a:gd name="T33" fmla="*/ 293 h 449"/>
                <a:gd name="T34" fmla="*/ 468 w 497"/>
                <a:gd name="T35" fmla="*/ 332 h 449"/>
                <a:gd name="T36" fmla="*/ 487 w 497"/>
                <a:gd name="T37" fmla="*/ 342 h 449"/>
                <a:gd name="T38" fmla="*/ 497 w 497"/>
                <a:gd name="T39" fmla="*/ 361 h 449"/>
                <a:gd name="T40" fmla="*/ 477 w 497"/>
                <a:gd name="T41" fmla="*/ 381 h 449"/>
                <a:gd name="T42" fmla="*/ 429 w 497"/>
                <a:gd name="T43" fmla="*/ 381 h 449"/>
                <a:gd name="T44" fmla="*/ 380 w 497"/>
                <a:gd name="T45" fmla="*/ 410 h 449"/>
                <a:gd name="T46" fmla="*/ 380 w 497"/>
                <a:gd name="T47" fmla="*/ 439 h 449"/>
                <a:gd name="T48" fmla="*/ 321 w 497"/>
                <a:gd name="T49" fmla="*/ 449 h 449"/>
                <a:gd name="T50" fmla="*/ 282 w 497"/>
                <a:gd name="T51" fmla="*/ 420 h 449"/>
                <a:gd name="T52" fmla="*/ 243 w 497"/>
                <a:gd name="T53" fmla="*/ 400 h 449"/>
                <a:gd name="T54" fmla="*/ 224 w 497"/>
                <a:gd name="T55" fmla="*/ 400 h 449"/>
                <a:gd name="T56" fmla="*/ 204 w 497"/>
                <a:gd name="T57" fmla="*/ 391 h 449"/>
                <a:gd name="T58" fmla="*/ 195 w 497"/>
                <a:gd name="T59" fmla="*/ 439 h 449"/>
                <a:gd name="T60" fmla="*/ 165 w 497"/>
                <a:gd name="T61" fmla="*/ 400 h 449"/>
                <a:gd name="T62" fmla="*/ 146 w 497"/>
                <a:gd name="T63" fmla="*/ 391 h 449"/>
                <a:gd name="T64" fmla="*/ 126 w 497"/>
                <a:gd name="T65" fmla="*/ 371 h 449"/>
                <a:gd name="T66" fmla="*/ 117 w 497"/>
                <a:gd name="T67" fmla="*/ 400 h 449"/>
                <a:gd name="T68" fmla="*/ 87 w 497"/>
                <a:gd name="T69" fmla="*/ 381 h 449"/>
                <a:gd name="T70" fmla="*/ 58 w 497"/>
                <a:gd name="T71" fmla="*/ 381 h 449"/>
                <a:gd name="T72" fmla="*/ 48 w 497"/>
                <a:gd name="T73" fmla="*/ 391 h 449"/>
                <a:gd name="T74" fmla="*/ 19 w 497"/>
                <a:gd name="T75" fmla="*/ 342 h 449"/>
                <a:gd name="T76" fmla="*/ 19 w 497"/>
                <a:gd name="T77" fmla="*/ 313 h 449"/>
                <a:gd name="T78" fmla="*/ 39 w 497"/>
                <a:gd name="T79" fmla="*/ 283 h 449"/>
                <a:gd name="T80" fmla="*/ 19 w 497"/>
                <a:gd name="T81" fmla="*/ 254 h 449"/>
                <a:gd name="T82" fmla="*/ 58 w 497"/>
                <a:gd name="T83" fmla="*/ 225 h 449"/>
                <a:gd name="T84" fmla="*/ 107 w 497"/>
                <a:gd name="T85" fmla="*/ 225 h 449"/>
                <a:gd name="T86" fmla="*/ 126 w 497"/>
                <a:gd name="T87" fmla="*/ 176 h 449"/>
                <a:gd name="T88" fmla="*/ 136 w 497"/>
                <a:gd name="T89" fmla="*/ 137 h 449"/>
                <a:gd name="T90" fmla="*/ 165 w 497"/>
                <a:gd name="T91" fmla="*/ 127 h 449"/>
                <a:gd name="T92" fmla="*/ 165 w 497"/>
                <a:gd name="T93" fmla="*/ 49 h 4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97"/>
                <a:gd name="T142" fmla="*/ 0 h 449"/>
                <a:gd name="T143" fmla="*/ 497 w 497"/>
                <a:gd name="T144" fmla="*/ 449 h 4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97" h="449">
                  <a:moveTo>
                    <a:pt x="165" y="49"/>
                  </a:moveTo>
                  <a:lnTo>
                    <a:pt x="185" y="39"/>
                  </a:lnTo>
                  <a:lnTo>
                    <a:pt x="195" y="39"/>
                  </a:lnTo>
                  <a:lnTo>
                    <a:pt x="204" y="20"/>
                  </a:lnTo>
                  <a:lnTo>
                    <a:pt x="214" y="20"/>
                  </a:lnTo>
                  <a:lnTo>
                    <a:pt x="214" y="10"/>
                  </a:lnTo>
                  <a:lnTo>
                    <a:pt x="214" y="0"/>
                  </a:lnTo>
                  <a:lnTo>
                    <a:pt x="243" y="0"/>
                  </a:lnTo>
                  <a:lnTo>
                    <a:pt x="273" y="10"/>
                  </a:lnTo>
                  <a:lnTo>
                    <a:pt x="282" y="10"/>
                  </a:lnTo>
                  <a:lnTo>
                    <a:pt x="312" y="49"/>
                  </a:lnTo>
                  <a:lnTo>
                    <a:pt x="341" y="59"/>
                  </a:lnTo>
                  <a:lnTo>
                    <a:pt x="351" y="69"/>
                  </a:lnTo>
                  <a:lnTo>
                    <a:pt x="351" y="88"/>
                  </a:lnTo>
                  <a:lnTo>
                    <a:pt x="360" y="108"/>
                  </a:lnTo>
                  <a:lnTo>
                    <a:pt x="370" y="108"/>
                  </a:lnTo>
                  <a:lnTo>
                    <a:pt x="390" y="108"/>
                  </a:lnTo>
                  <a:lnTo>
                    <a:pt x="380" y="117"/>
                  </a:lnTo>
                  <a:lnTo>
                    <a:pt x="380" y="127"/>
                  </a:lnTo>
                  <a:lnTo>
                    <a:pt x="390" y="137"/>
                  </a:lnTo>
                  <a:lnTo>
                    <a:pt x="409" y="127"/>
                  </a:lnTo>
                  <a:lnTo>
                    <a:pt x="438" y="157"/>
                  </a:lnTo>
                  <a:lnTo>
                    <a:pt x="448" y="176"/>
                  </a:lnTo>
                  <a:lnTo>
                    <a:pt x="419" y="215"/>
                  </a:lnTo>
                  <a:lnTo>
                    <a:pt x="390" y="235"/>
                  </a:lnTo>
                  <a:lnTo>
                    <a:pt x="399" y="244"/>
                  </a:lnTo>
                  <a:lnTo>
                    <a:pt x="419" y="264"/>
                  </a:lnTo>
                  <a:lnTo>
                    <a:pt x="429" y="254"/>
                  </a:lnTo>
                  <a:lnTo>
                    <a:pt x="448" y="264"/>
                  </a:lnTo>
                  <a:lnTo>
                    <a:pt x="438" y="274"/>
                  </a:lnTo>
                  <a:lnTo>
                    <a:pt x="429" y="283"/>
                  </a:lnTo>
                  <a:lnTo>
                    <a:pt x="448" y="303"/>
                  </a:lnTo>
                  <a:lnTo>
                    <a:pt x="458" y="293"/>
                  </a:lnTo>
                  <a:lnTo>
                    <a:pt x="468" y="293"/>
                  </a:lnTo>
                  <a:lnTo>
                    <a:pt x="477" y="303"/>
                  </a:lnTo>
                  <a:lnTo>
                    <a:pt x="468" y="332"/>
                  </a:lnTo>
                  <a:lnTo>
                    <a:pt x="487" y="332"/>
                  </a:lnTo>
                  <a:lnTo>
                    <a:pt x="487" y="342"/>
                  </a:lnTo>
                  <a:lnTo>
                    <a:pt x="487" y="352"/>
                  </a:lnTo>
                  <a:lnTo>
                    <a:pt x="497" y="361"/>
                  </a:lnTo>
                  <a:lnTo>
                    <a:pt x="487" y="371"/>
                  </a:lnTo>
                  <a:lnTo>
                    <a:pt x="477" y="381"/>
                  </a:lnTo>
                  <a:lnTo>
                    <a:pt x="458" y="381"/>
                  </a:lnTo>
                  <a:lnTo>
                    <a:pt x="429" y="381"/>
                  </a:lnTo>
                  <a:lnTo>
                    <a:pt x="399" y="391"/>
                  </a:lnTo>
                  <a:lnTo>
                    <a:pt x="380" y="410"/>
                  </a:lnTo>
                  <a:lnTo>
                    <a:pt x="380" y="420"/>
                  </a:lnTo>
                  <a:lnTo>
                    <a:pt x="380" y="439"/>
                  </a:lnTo>
                  <a:lnTo>
                    <a:pt x="360" y="449"/>
                  </a:lnTo>
                  <a:lnTo>
                    <a:pt x="321" y="449"/>
                  </a:lnTo>
                  <a:lnTo>
                    <a:pt x="312" y="439"/>
                  </a:lnTo>
                  <a:lnTo>
                    <a:pt x="282" y="420"/>
                  </a:lnTo>
                  <a:lnTo>
                    <a:pt x="263" y="420"/>
                  </a:lnTo>
                  <a:lnTo>
                    <a:pt x="243" y="400"/>
                  </a:lnTo>
                  <a:lnTo>
                    <a:pt x="224" y="400"/>
                  </a:lnTo>
                  <a:lnTo>
                    <a:pt x="214" y="400"/>
                  </a:lnTo>
                  <a:lnTo>
                    <a:pt x="204" y="391"/>
                  </a:lnTo>
                  <a:lnTo>
                    <a:pt x="195" y="391"/>
                  </a:lnTo>
                  <a:lnTo>
                    <a:pt x="195" y="439"/>
                  </a:lnTo>
                  <a:lnTo>
                    <a:pt x="175" y="420"/>
                  </a:lnTo>
                  <a:lnTo>
                    <a:pt x="165" y="400"/>
                  </a:lnTo>
                  <a:lnTo>
                    <a:pt x="156" y="400"/>
                  </a:lnTo>
                  <a:lnTo>
                    <a:pt x="146" y="391"/>
                  </a:lnTo>
                  <a:lnTo>
                    <a:pt x="146" y="371"/>
                  </a:lnTo>
                  <a:lnTo>
                    <a:pt x="126" y="371"/>
                  </a:lnTo>
                  <a:lnTo>
                    <a:pt x="126" y="391"/>
                  </a:lnTo>
                  <a:lnTo>
                    <a:pt x="117" y="400"/>
                  </a:lnTo>
                  <a:lnTo>
                    <a:pt x="107" y="381"/>
                  </a:lnTo>
                  <a:lnTo>
                    <a:pt x="87" y="381"/>
                  </a:lnTo>
                  <a:lnTo>
                    <a:pt x="58" y="371"/>
                  </a:lnTo>
                  <a:lnTo>
                    <a:pt x="58" y="381"/>
                  </a:lnTo>
                  <a:lnTo>
                    <a:pt x="48" y="400"/>
                  </a:lnTo>
                  <a:lnTo>
                    <a:pt x="48" y="391"/>
                  </a:lnTo>
                  <a:lnTo>
                    <a:pt x="29" y="361"/>
                  </a:lnTo>
                  <a:lnTo>
                    <a:pt x="19" y="342"/>
                  </a:lnTo>
                  <a:lnTo>
                    <a:pt x="0" y="342"/>
                  </a:lnTo>
                  <a:lnTo>
                    <a:pt x="19" y="313"/>
                  </a:lnTo>
                  <a:lnTo>
                    <a:pt x="19" y="293"/>
                  </a:lnTo>
                  <a:lnTo>
                    <a:pt x="39" y="283"/>
                  </a:lnTo>
                  <a:lnTo>
                    <a:pt x="19" y="264"/>
                  </a:lnTo>
                  <a:lnTo>
                    <a:pt x="19" y="254"/>
                  </a:lnTo>
                  <a:lnTo>
                    <a:pt x="39" y="235"/>
                  </a:lnTo>
                  <a:lnTo>
                    <a:pt x="58" y="225"/>
                  </a:lnTo>
                  <a:lnTo>
                    <a:pt x="87" y="235"/>
                  </a:lnTo>
                  <a:lnTo>
                    <a:pt x="107" y="225"/>
                  </a:lnTo>
                  <a:lnTo>
                    <a:pt x="117" y="196"/>
                  </a:lnTo>
                  <a:lnTo>
                    <a:pt x="126" y="176"/>
                  </a:lnTo>
                  <a:lnTo>
                    <a:pt x="126" y="166"/>
                  </a:lnTo>
                  <a:lnTo>
                    <a:pt x="136" y="137"/>
                  </a:lnTo>
                  <a:lnTo>
                    <a:pt x="156" y="137"/>
                  </a:lnTo>
                  <a:lnTo>
                    <a:pt x="165" y="127"/>
                  </a:lnTo>
                  <a:lnTo>
                    <a:pt x="175" y="59"/>
                  </a:lnTo>
                  <a:lnTo>
                    <a:pt x="165" y="49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396"/>
            <p:cNvSpPr>
              <a:spLocks/>
            </p:cNvSpPr>
            <p:nvPr/>
          </p:nvSpPr>
          <p:spPr bwMode="auto">
            <a:xfrm>
              <a:off x="966" y="2412"/>
              <a:ext cx="459" cy="468"/>
            </a:xfrm>
            <a:custGeom>
              <a:avLst/>
              <a:gdLst>
                <a:gd name="T0" fmla="*/ 322 w 458"/>
                <a:gd name="T1" fmla="*/ 390 h 468"/>
                <a:gd name="T2" fmla="*/ 351 w 458"/>
                <a:gd name="T3" fmla="*/ 390 h 468"/>
                <a:gd name="T4" fmla="*/ 370 w 458"/>
                <a:gd name="T5" fmla="*/ 410 h 468"/>
                <a:gd name="T6" fmla="*/ 322 w 458"/>
                <a:gd name="T7" fmla="*/ 439 h 468"/>
                <a:gd name="T8" fmla="*/ 283 w 458"/>
                <a:gd name="T9" fmla="*/ 439 h 468"/>
                <a:gd name="T10" fmla="*/ 273 w 458"/>
                <a:gd name="T11" fmla="*/ 458 h 468"/>
                <a:gd name="T12" fmla="*/ 244 w 458"/>
                <a:gd name="T13" fmla="*/ 468 h 468"/>
                <a:gd name="T14" fmla="*/ 204 w 458"/>
                <a:gd name="T15" fmla="*/ 449 h 468"/>
                <a:gd name="T16" fmla="*/ 195 w 458"/>
                <a:gd name="T17" fmla="*/ 410 h 468"/>
                <a:gd name="T18" fmla="*/ 175 w 458"/>
                <a:gd name="T19" fmla="*/ 380 h 468"/>
                <a:gd name="T20" fmla="*/ 165 w 458"/>
                <a:gd name="T21" fmla="*/ 341 h 468"/>
                <a:gd name="T22" fmla="*/ 156 w 458"/>
                <a:gd name="T23" fmla="*/ 361 h 468"/>
                <a:gd name="T24" fmla="*/ 117 w 458"/>
                <a:gd name="T25" fmla="*/ 351 h 468"/>
                <a:gd name="T26" fmla="*/ 87 w 458"/>
                <a:gd name="T27" fmla="*/ 361 h 468"/>
                <a:gd name="T28" fmla="*/ 58 w 458"/>
                <a:gd name="T29" fmla="*/ 312 h 468"/>
                <a:gd name="T30" fmla="*/ 78 w 458"/>
                <a:gd name="T31" fmla="*/ 293 h 468"/>
                <a:gd name="T32" fmla="*/ 48 w 458"/>
                <a:gd name="T33" fmla="*/ 263 h 468"/>
                <a:gd name="T34" fmla="*/ 48 w 458"/>
                <a:gd name="T35" fmla="*/ 244 h 468"/>
                <a:gd name="T36" fmla="*/ 68 w 458"/>
                <a:gd name="T37" fmla="*/ 215 h 468"/>
                <a:gd name="T38" fmla="*/ 48 w 458"/>
                <a:gd name="T39" fmla="*/ 156 h 468"/>
                <a:gd name="T40" fmla="*/ 19 w 458"/>
                <a:gd name="T41" fmla="*/ 166 h 468"/>
                <a:gd name="T42" fmla="*/ 0 w 458"/>
                <a:gd name="T43" fmla="*/ 146 h 468"/>
                <a:gd name="T44" fmla="*/ 19 w 458"/>
                <a:gd name="T45" fmla="*/ 117 h 468"/>
                <a:gd name="T46" fmla="*/ 58 w 458"/>
                <a:gd name="T47" fmla="*/ 137 h 468"/>
                <a:gd name="T48" fmla="*/ 68 w 458"/>
                <a:gd name="T49" fmla="*/ 127 h 468"/>
                <a:gd name="T50" fmla="*/ 68 w 458"/>
                <a:gd name="T51" fmla="*/ 97 h 468"/>
                <a:gd name="T52" fmla="*/ 48 w 458"/>
                <a:gd name="T53" fmla="*/ 88 h 468"/>
                <a:gd name="T54" fmla="*/ 29 w 458"/>
                <a:gd name="T55" fmla="*/ 68 h 468"/>
                <a:gd name="T56" fmla="*/ 39 w 458"/>
                <a:gd name="T57" fmla="*/ 68 h 468"/>
                <a:gd name="T58" fmla="*/ 58 w 458"/>
                <a:gd name="T59" fmla="*/ 49 h 468"/>
                <a:gd name="T60" fmla="*/ 78 w 458"/>
                <a:gd name="T61" fmla="*/ 39 h 468"/>
                <a:gd name="T62" fmla="*/ 107 w 458"/>
                <a:gd name="T63" fmla="*/ 58 h 468"/>
                <a:gd name="T64" fmla="*/ 136 w 458"/>
                <a:gd name="T65" fmla="*/ 78 h 468"/>
                <a:gd name="T66" fmla="*/ 175 w 458"/>
                <a:gd name="T67" fmla="*/ 107 h 468"/>
                <a:gd name="T68" fmla="*/ 204 w 458"/>
                <a:gd name="T69" fmla="*/ 97 h 468"/>
                <a:gd name="T70" fmla="*/ 224 w 458"/>
                <a:gd name="T71" fmla="*/ 78 h 468"/>
                <a:gd name="T72" fmla="*/ 224 w 458"/>
                <a:gd name="T73" fmla="*/ 49 h 468"/>
                <a:gd name="T74" fmla="*/ 253 w 458"/>
                <a:gd name="T75" fmla="*/ 39 h 468"/>
                <a:gd name="T76" fmla="*/ 283 w 458"/>
                <a:gd name="T77" fmla="*/ 49 h 468"/>
                <a:gd name="T78" fmla="*/ 273 w 458"/>
                <a:gd name="T79" fmla="*/ 29 h 468"/>
                <a:gd name="T80" fmla="*/ 312 w 458"/>
                <a:gd name="T81" fmla="*/ 29 h 468"/>
                <a:gd name="T82" fmla="*/ 322 w 458"/>
                <a:gd name="T83" fmla="*/ 0 h 468"/>
                <a:gd name="T84" fmla="*/ 380 w 458"/>
                <a:gd name="T85" fmla="*/ 39 h 468"/>
                <a:gd name="T86" fmla="*/ 419 w 458"/>
                <a:gd name="T87" fmla="*/ 19 h 468"/>
                <a:gd name="T88" fmla="*/ 439 w 458"/>
                <a:gd name="T89" fmla="*/ 39 h 468"/>
                <a:gd name="T90" fmla="*/ 458 w 458"/>
                <a:gd name="T91" fmla="*/ 49 h 468"/>
                <a:gd name="T92" fmla="*/ 448 w 458"/>
                <a:gd name="T93" fmla="*/ 117 h 468"/>
                <a:gd name="T94" fmla="*/ 409 w 458"/>
                <a:gd name="T95" fmla="*/ 146 h 468"/>
                <a:gd name="T96" fmla="*/ 409 w 458"/>
                <a:gd name="T97" fmla="*/ 176 h 468"/>
                <a:gd name="T98" fmla="*/ 380 w 458"/>
                <a:gd name="T99" fmla="*/ 215 h 468"/>
                <a:gd name="T100" fmla="*/ 322 w 458"/>
                <a:gd name="T101" fmla="*/ 215 h 468"/>
                <a:gd name="T102" fmla="*/ 312 w 458"/>
                <a:gd name="T103" fmla="*/ 244 h 468"/>
                <a:gd name="T104" fmla="*/ 312 w 458"/>
                <a:gd name="T105" fmla="*/ 273 h 468"/>
                <a:gd name="T106" fmla="*/ 292 w 458"/>
                <a:gd name="T107" fmla="*/ 322 h 468"/>
                <a:gd name="T108" fmla="*/ 312 w 458"/>
                <a:gd name="T109" fmla="*/ 341 h 468"/>
                <a:gd name="T110" fmla="*/ 331 w 458"/>
                <a:gd name="T111" fmla="*/ 371 h 4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58"/>
                <a:gd name="T169" fmla="*/ 0 h 468"/>
                <a:gd name="T170" fmla="*/ 458 w 458"/>
                <a:gd name="T171" fmla="*/ 468 h 4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58" h="468">
                  <a:moveTo>
                    <a:pt x="331" y="371"/>
                  </a:moveTo>
                  <a:lnTo>
                    <a:pt x="322" y="390"/>
                  </a:lnTo>
                  <a:lnTo>
                    <a:pt x="331" y="400"/>
                  </a:lnTo>
                  <a:lnTo>
                    <a:pt x="351" y="390"/>
                  </a:lnTo>
                  <a:lnTo>
                    <a:pt x="361" y="400"/>
                  </a:lnTo>
                  <a:lnTo>
                    <a:pt x="370" y="410"/>
                  </a:lnTo>
                  <a:lnTo>
                    <a:pt x="351" y="419"/>
                  </a:lnTo>
                  <a:lnTo>
                    <a:pt x="322" y="439"/>
                  </a:lnTo>
                  <a:lnTo>
                    <a:pt x="302" y="449"/>
                  </a:lnTo>
                  <a:lnTo>
                    <a:pt x="283" y="439"/>
                  </a:lnTo>
                  <a:lnTo>
                    <a:pt x="263" y="449"/>
                  </a:lnTo>
                  <a:lnTo>
                    <a:pt x="273" y="458"/>
                  </a:lnTo>
                  <a:lnTo>
                    <a:pt x="253" y="468"/>
                  </a:lnTo>
                  <a:lnTo>
                    <a:pt x="244" y="468"/>
                  </a:lnTo>
                  <a:lnTo>
                    <a:pt x="244" y="458"/>
                  </a:lnTo>
                  <a:lnTo>
                    <a:pt x="204" y="449"/>
                  </a:lnTo>
                  <a:lnTo>
                    <a:pt x="204" y="439"/>
                  </a:lnTo>
                  <a:lnTo>
                    <a:pt x="195" y="410"/>
                  </a:lnTo>
                  <a:lnTo>
                    <a:pt x="195" y="390"/>
                  </a:lnTo>
                  <a:lnTo>
                    <a:pt x="175" y="380"/>
                  </a:lnTo>
                  <a:lnTo>
                    <a:pt x="175" y="361"/>
                  </a:lnTo>
                  <a:lnTo>
                    <a:pt x="165" y="341"/>
                  </a:lnTo>
                  <a:lnTo>
                    <a:pt x="165" y="351"/>
                  </a:lnTo>
                  <a:lnTo>
                    <a:pt x="156" y="361"/>
                  </a:lnTo>
                  <a:lnTo>
                    <a:pt x="146" y="361"/>
                  </a:lnTo>
                  <a:lnTo>
                    <a:pt x="117" y="351"/>
                  </a:lnTo>
                  <a:lnTo>
                    <a:pt x="107" y="351"/>
                  </a:lnTo>
                  <a:lnTo>
                    <a:pt x="87" y="361"/>
                  </a:lnTo>
                  <a:lnTo>
                    <a:pt x="58" y="33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63"/>
                  </a:lnTo>
                  <a:lnTo>
                    <a:pt x="48" y="244"/>
                  </a:lnTo>
                  <a:lnTo>
                    <a:pt x="58" y="215"/>
                  </a:lnTo>
                  <a:lnTo>
                    <a:pt x="68" y="215"/>
                  </a:lnTo>
                  <a:lnTo>
                    <a:pt x="68" y="185"/>
                  </a:lnTo>
                  <a:lnTo>
                    <a:pt x="48" y="156"/>
                  </a:lnTo>
                  <a:lnTo>
                    <a:pt x="39" y="156"/>
                  </a:lnTo>
                  <a:lnTo>
                    <a:pt x="19" y="166"/>
                  </a:lnTo>
                  <a:lnTo>
                    <a:pt x="9" y="156"/>
                  </a:lnTo>
                  <a:lnTo>
                    <a:pt x="0" y="146"/>
                  </a:lnTo>
                  <a:lnTo>
                    <a:pt x="19" y="137"/>
                  </a:lnTo>
                  <a:lnTo>
                    <a:pt x="19" y="117"/>
                  </a:lnTo>
                  <a:lnTo>
                    <a:pt x="39" y="127"/>
                  </a:lnTo>
                  <a:lnTo>
                    <a:pt x="58" y="137"/>
                  </a:lnTo>
                  <a:lnTo>
                    <a:pt x="68" y="146"/>
                  </a:lnTo>
                  <a:lnTo>
                    <a:pt x="68" y="127"/>
                  </a:lnTo>
                  <a:lnTo>
                    <a:pt x="78" y="117"/>
                  </a:lnTo>
                  <a:lnTo>
                    <a:pt x="68" y="97"/>
                  </a:lnTo>
                  <a:lnTo>
                    <a:pt x="48" y="88"/>
                  </a:lnTo>
                  <a:lnTo>
                    <a:pt x="39" y="88"/>
                  </a:lnTo>
                  <a:lnTo>
                    <a:pt x="29" y="68"/>
                  </a:lnTo>
                  <a:lnTo>
                    <a:pt x="9" y="68"/>
                  </a:lnTo>
                  <a:lnTo>
                    <a:pt x="39" y="68"/>
                  </a:lnTo>
                  <a:lnTo>
                    <a:pt x="39" y="49"/>
                  </a:lnTo>
                  <a:lnTo>
                    <a:pt x="58" y="49"/>
                  </a:lnTo>
                  <a:lnTo>
                    <a:pt x="68" y="39"/>
                  </a:lnTo>
                  <a:lnTo>
                    <a:pt x="78" y="39"/>
                  </a:lnTo>
                  <a:lnTo>
                    <a:pt x="97" y="58"/>
                  </a:lnTo>
                  <a:lnTo>
                    <a:pt x="107" y="58"/>
                  </a:lnTo>
                  <a:lnTo>
                    <a:pt x="126" y="58"/>
                  </a:lnTo>
                  <a:lnTo>
                    <a:pt x="136" y="78"/>
                  </a:lnTo>
                  <a:lnTo>
                    <a:pt x="156" y="97"/>
                  </a:lnTo>
                  <a:lnTo>
                    <a:pt x="175" y="107"/>
                  </a:lnTo>
                  <a:lnTo>
                    <a:pt x="185" y="97"/>
                  </a:lnTo>
                  <a:lnTo>
                    <a:pt x="204" y="97"/>
                  </a:lnTo>
                  <a:lnTo>
                    <a:pt x="204" y="78"/>
                  </a:lnTo>
                  <a:lnTo>
                    <a:pt x="224" y="78"/>
                  </a:lnTo>
                  <a:lnTo>
                    <a:pt x="224" y="68"/>
                  </a:lnTo>
                  <a:lnTo>
                    <a:pt x="224" y="49"/>
                  </a:lnTo>
                  <a:lnTo>
                    <a:pt x="234" y="29"/>
                  </a:lnTo>
                  <a:lnTo>
                    <a:pt x="253" y="39"/>
                  </a:lnTo>
                  <a:lnTo>
                    <a:pt x="273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73" y="29"/>
                  </a:lnTo>
                  <a:lnTo>
                    <a:pt x="292" y="29"/>
                  </a:lnTo>
                  <a:lnTo>
                    <a:pt x="312" y="29"/>
                  </a:lnTo>
                  <a:lnTo>
                    <a:pt x="322" y="19"/>
                  </a:lnTo>
                  <a:lnTo>
                    <a:pt x="322" y="0"/>
                  </a:lnTo>
                  <a:lnTo>
                    <a:pt x="361" y="19"/>
                  </a:lnTo>
                  <a:lnTo>
                    <a:pt x="380" y="39"/>
                  </a:lnTo>
                  <a:lnTo>
                    <a:pt x="390" y="39"/>
                  </a:lnTo>
                  <a:lnTo>
                    <a:pt x="419" y="19"/>
                  </a:lnTo>
                  <a:lnTo>
                    <a:pt x="429" y="19"/>
                  </a:lnTo>
                  <a:lnTo>
                    <a:pt x="439" y="39"/>
                  </a:lnTo>
                  <a:lnTo>
                    <a:pt x="458" y="29"/>
                  </a:lnTo>
                  <a:lnTo>
                    <a:pt x="458" y="49"/>
                  </a:lnTo>
                  <a:lnTo>
                    <a:pt x="458" y="107"/>
                  </a:lnTo>
                  <a:lnTo>
                    <a:pt x="448" y="117"/>
                  </a:lnTo>
                  <a:lnTo>
                    <a:pt x="429" y="117"/>
                  </a:lnTo>
                  <a:lnTo>
                    <a:pt x="409" y="146"/>
                  </a:lnTo>
                  <a:lnTo>
                    <a:pt x="419" y="156"/>
                  </a:lnTo>
                  <a:lnTo>
                    <a:pt x="409" y="176"/>
                  </a:lnTo>
                  <a:lnTo>
                    <a:pt x="390" y="205"/>
                  </a:lnTo>
                  <a:lnTo>
                    <a:pt x="380" y="215"/>
                  </a:lnTo>
                  <a:lnTo>
                    <a:pt x="341" y="205"/>
                  </a:lnTo>
                  <a:lnTo>
                    <a:pt x="322" y="215"/>
                  </a:lnTo>
                  <a:lnTo>
                    <a:pt x="302" y="234"/>
                  </a:lnTo>
                  <a:lnTo>
                    <a:pt x="312" y="244"/>
                  </a:lnTo>
                  <a:lnTo>
                    <a:pt x="322" y="263"/>
                  </a:lnTo>
                  <a:lnTo>
                    <a:pt x="312" y="273"/>
                  </a:lnTo>
                  <a:lnTo>
                    <a:pt x="302" y="293"/>
                  </a:lnTo>
                  <a:lnTo>
                    <a:pt x="292" y="322"/>
                  </a:lnTo>
                  <a:lnTo>
                    <a:pt x="302" y="322"/>
                  </a:lnTo>
                  <a:lnTo>
                    <a:pt x="312" y="341"/>
                  </a:lnTo>
                  <a:lnTo>
                    <a:pt x="331" y="371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7" name="Group 393"/>
            <p:cNvGrpSpPr>
              <a:grpSpLocks/>
            </p:cNvGrpSpPr>
            <p:nvPr/>
          </p:nvGrpSpPr>
          <p:grpSpPr bwMode="auto">
            <a:xfrm>
              <a:off x="7871" y="3825"/>
              <a:ext cx="439" cy="907"/>
              <a:chOff x="7872" y="3825"/>
              <a:chExt cx="439" cy="907"/>
            </a:xfrm>
          </p:grpSpPr>
          <p:sp>
            <p:nvSpPr>
              <p:cNvPr id="388" name="Freeform 395"/>
              <p:cNvSpPr>
                <a:spLocks/>
              </p:cNvSpPr>
              <p:nvPr/>
            </p:nvSpPr>
            <p:spPr bwMode="auto">
              <a:xfrm>
                <a:off x="7871" y="3824"/>
                <a:ext cx="440" cy="907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  <a:lnTo>
                      <a:pt x="390" y="87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9" name="Freeform 394"/>
              <p:cNvSpPr>
                <a:spLocks/>
              </p:cNvSpPr>
              <p:nvPr/>
            </p:nvSpPr>
            <p:spPr bwMode="auto">
              <a:xfrm>
                <a:off x="7871" y="3824"/>
                <a:ext cx="440" cy="907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8" name="Freeform 392"/>
            <p:cNvSpPr>
              <a:spLocks/>
            </p:cNvSpPr>
            <p:nvPr/>
          </p:nvSpPr>
          <p:spPr bwMode="auto">
            <a:xfrm>
              <a:off x="3805" y="3561"/>
              <a:ext cx="624" cy="449"/>
            </a:xfrm>
            <a:custGeom>
              <a:avLst/>
              <a:gdLst>
                <a:gd name="T0" fmla="*/ 488 w 624"/>
                <a:gd name="T1" fmla="*/ 361 h 449"/>
                <a:gd name="T2" fmla="*/ 517 w 624"/>
                <a:gd name="T3" fmla="*/ 342 h 449"/>
                <a:gd name="T4" fmla="*/ 527 w 624"/>
                <a:gd name="T5" fmla="*/ 322 h 449"/>
                <a:gd name="T6" fmla="*/ 556 w 624"/>
                <a:gd name="T7" fmla="*/ 312 h 449"/>
                <a:gd name="T8" fmla="*/ 585 w 624"/>
                <a:gd name="T9" fmla="*/ 312 h 449"/>
                <a:gd name="T10" fmla="*/ 585 w 624"/>
                <a:gd name="T11" fmla="*/ 283 h 449"/>
                <a:gd name="T12" fmla="*/ 624 w 624"/>
                <a:gd name="T13" fmla="*/ 283 h 449"/>
                <a:gd name="T14" fmla="*/ 605 w 624"/>
                <a:gd name="T15" fmla="*/ 264 h 449"/>
                <a:gd name="T16" fmla="*/ 615 w 624"/>
                <a:gd name="T17" fmla="*/ 225 h 449"/>
                <a:gd name="T18" fmla="*/ 595 w 624"/>
                <a:gd name="T19" fmla="*/ 205 h 449"/>
                <a:gd name="T20" fmla="*/ 615 w 624"/>
                <a:gd name="T21" fmla="*/ 195 h 449"/>
                <a:gd name="T22" fmla="*/ 624 w 624"/>
                <a:gd name="T23" fmla="*/ 176 h 449"/>
                <a:gd name="T24" fmla="*/ 605 w 624"/>
                <a:gd name="T25" fmla="*/ 166 h 449"/>
                <a:gd name="T26" fmla="*/ 585 w 624"/>
                <a:gd name="T27" fmla="*/ 127 h 449"/>
                <a:gd name="T28" fmla="*/ 566 w 624"/>
                <a:gd name="T29" fmla="*/ 108 h 449"/>
                <a:gd name="T30" fmla="*/ 546 w 624"/>
                <a:gd name="T31" fmla="*/ 78 h 449"/>
                <a:gd name="T32" fmla="*/ 527 w 624"/>
                <a:gd name="T33" fmla="*/ 59 h 449"/>
                <a:gd name="T34" fmla="*/ 498 w 624"/>
                <a:gd name="T35" fmla="*/ 49 h 449"/>
                <a:gd name="T36" fmla="*/ 478 w 624"/>
                <a:gd name="T37" fmla="*/ 69 h 449"/>
                <a:gd name="T38" fmla="*/ 449 w 624"/>
                <a:gd name="T39" fmla="*/ 59 h 449"/>
                <a:gd name="T40" fmla="*/ 410 w 624"/>
                <a:gd name="T41" fmla="*/ 59 h 449"/>
                <a:gd name="T42" fmla="*/ 390 w 624"/>
                <a:gd name="T43" fmla="*/ 69 h 449"/>
                <a:gd name="T44" fmla="*/ 381 w 624"/>
                <a:gd name="T45" fmla="*/ 59 h 449"/>
                <a:gd name="T46" fmla="*/ 351 w 624"/>
                <a:gd name="T47" fmla="*/ 69 h 449"/>
                <a:gd name="T48" fmla="*/ 342 w 624"/>
                <a:gd name="T49" fmla="*/ 88 h 449"/>
                <a:gd name="T50" fmla="*/ 332 w 624"/>
                <a:gd name="T51" fmla="*/ 98 h 449"/>
                <a:gd name="T52" fmla="*/ 303 w 624"/>
                <a:gd name="T53" fmla="*/ 78 h 449"/>
                <a:gd name="T54" fmla="*/ 293 w 624"/>
                <a:gd name="T55" fmla="*/ 49 h 449"/>
                <a:gd name="T56" fmla="*/ 244 w 624"/>
                <a:gd name="T57" fmla="*/ 0 h 449"/>
                <a:gd name="T58" fmla="*/ 205 w 624"/>
                <a:gd name="T59" fmla="*/ 10 h 449"/>
                <a:gd name="T60" fmla="*/ 137 w 624"/>
                <a:gd name="T61" fmla="*/ 20 h 449"/>
                <a:gd name="T62" fmla="*/ 117 w 624"/>
                <a:gd name="T63" fmla="*/ 29 h 449"/>
                <a:gd name="T64" fmla="*/ 68 w 624"/>
                <a:gd name="T65" fmla="*/ 20 h 449"/>
                <a:gd name="T66" fmla="*/ 20 w 624"/>
                <a:gd name="T67" fmla="*/ 0 h 449"/>
                <a:gd name="T68" fmla="*/ 20 w 624"/>
                <a:gd name="T69" fmla="*/ 20 h 449"/>
                <a:gd name="T70" fmla="*/ 0 w 624"/>
                <a:gd name="T71" fmla="*/ 20 h 449"/>
                <a:gd name="T72" fmla="*/ 20 w 624"/>
                <a:gd name="T73" fmla="*/ 78 h 449"/>
                <a:gd name="T74" fmla="*/ 29 w 624"/>
                <a:gd name="T75" fmla="*/ 156 h 449"/>
                <a:gd name="T76" fmla="*/ 49 w 624"/>
                <a:gd name="T77" fmla="*/ 283 h 449"/>
                <a:gd name="T78" fmla="*/ 68 w 624"/>
                <a:gd name="T79" fmla="*/ 342 h 449"/>
                <a:gd name="T80" fmla="*/ 78 w 624"/>
                <a:gd name="T81" fmla="*/ 361 h 449"/>
                <a:gd name="T82" fmla="*/ 98 w 624"/>
                <a:gd name="T83" fmla="*/ 342 h 449"/>
                <a:gd name="T84" fmla="*/ 107 w 624"/>
                <a:gd name="T85" fmla="*/ 332 h 449"/>
                <a:gd name="T86" fmla="*/ 127 w 624"/>
                <a:gd name="T87" fmla="*/ 312 h 449"/>
                <a:gd name="T88" fmla="*/ 146 w 624"/>
                <a:gd name="T89" fmla="*/ 312 h 449"/>
                <a:gd name="T90" fmla="*/ 146 w 624"/>
                <a:gd name="T91" fmla="*/ 342 h 449"/>
                <a:gd name="T92" fmla="*/ 156 w 624"/>
                <a:gd name="T93" fmla="*/ 361 h 449"/>
                <a:gd name="T94" fmla="*/ 166 w 624"/>
                <a:gd name="T95" fmla="*/ 371 h 449"/>
                <a:gd name="T96" fmla="*/ 176 w 624"/>
                <a:gd name="T97" fmla="*/ 390 h 449"/>
                <a:gd name="T98" fmla="*/ 205 w 624"/>
                <a:gd name="T99" fmla="*/ 390 h 449"/>
                <a:gd name="T100" fmla="*/ 244 w 624"/>
                <a:gd name="T101" fmla="*/ 410 h 449"/>
                <a:gd name="T102" fmla="*/ 264 w 624"/>
                <a:gd name="T103" fmla="*/ 400 h 449"/>
                <a:gd name="T104" fmla="*/ 303 w 624"/>
                <a:gd name="T105" fmla="*/ 390 h 449"/>
                <a:gd name="T106" fmla="*/ 342 w 624"/>
                <a:gd name="T107" fmla="*/ 400 h 449"/>
                <a:gd name="T108" fmla="*/ 351 w 624"/>
                <a:gd name="T109" fmla="*/ 439 h 449"/>
                <a:gd name="T110" fmla="*/ 361 w 624"/>
                <a:gd name="T111" fmla="*/ 449 h 449"/>
                <a:gd name="T112" fmla="*/ 381 w 624"/>
                <a:gd name="T113" fmla="*/ 439 h 449"/>
                <a:gd name="T114" fmla="*/ 381 w 624"/>
                <a:gd name="T115" fmla="*/ 420 h 449"/>
                <a:gd name="T116" fmla="*/ 361 w 624"/>
                <a:gd name="T117" fmla="*/ 390 h 449"/>
                <a:gd name="T118" fmla="*/ 390 w 624"/>
                <a:gd name="T119" fmla="*/ 381 h 449"/>
                <a:gd name="T120" fmla="*/ 449 w 624"/>
                <a:gd name="T121" fmla="*/ 371 h 44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24"/>
                <a:gd name="T184" fmla="*/ 0 h 449"/>
                <a:gd name="T185" fmla="*/ 624 w 624"/>
                <a:gd name="T186" fmla="*/ 449 h 44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24" h="449">
                  <a:moveTo>
                    <a:pt x="468" y="361"/>
                  </a:moveTo>
                  <a:lnTo>
                    <a:pt x="488" y="361"/>
                  </a:lnTo>
                  <a:lnTo>
                    <a:pt x="498" y="361"/>
                  </a:lnTo>
                  <a:lnTo>
                    <a:pt x="517" y="342"/>
                  </a:lnTo>
                  <a:lnTo>
                    <a:pt x="517" y="322"/>
                  </a:lnTo>
                  <a:lnTo>
                    <a:pt x="527" y="322"/>
                  </a:lnTo>
                  <a:lnTo>
                    <a:pt x="546" y="322"/>
                  </a:lnTo>
                  <a:lnTo>
                    <a:pt x="556" y="312"/>
                  </a:lnTo>
                  <a:lnTo>
                    <a:pt x="566" y="312"/>
                  </a:lnTo>
                  <a:lnTo>
                    <a:pt x="585" y="312"/>
                  </a:lnTo>
                  <a:lnTo>
                    <a:pt x="585" y="303"/>
                  </a:lnTo>
                  <a:lnTo>
                    <a:pt x="585" y="283"/>
                  </a:lnTo>
                  <a:lnTo>
                    <a:pt x="595" y="283"/>
                  </a:lnTo>
                  <a:lnTo>
                    <a:pt x="624" y="283"/>
                  </a:lnTo>
                  <a:lnTo>
                    <a:pt x="615" y="273"/>
                  </a:lnTo>
                  <a:lnTo>
                    <a:pt x="605" y="264"/>
                  </a:lnTo>
                  <a:lnTo>
                    <a:pt x="605" y="244"/>
                  </a:lnTo>
                  <a:lnTo>
                    <a:pt x="615" y="225"/>
                  </a:lnTo>
                  <a:lnTo>
                    <a:pt x="605" y="215"/>
                  </a:lnTo>
                  <a:lnTo>
                    <a:pt x="595" y="205"/>
                  </a:lnTo>
                  <a:lnTo>
                    <a:pt x="605" y="195"/>
                  </a:lnTo>
                  <a:lnTo>
                    <a:pt x="615" y="195"/>
                  </a:lnTo>
                  <a:lnTo>
                    <a:pt x="624" y="195"/>
                  </a:lnTo>
                  <a:lnTo>
                    <a:pt x="624" y="176"/>
                  </a:lnTo>
                  <a:lnTo>
                    <a:pt x="624" y="166"/>
                  </a:lnTo>
                  <a:lnTo>
                    <a:pt x="605" y="166"/>
                  </a:lnTo>
                  <a:lnTo>
                    <a:pt x="595" y="147"/>
                  </a:lnTo>
                  <a:lnTo>
                    <a:pt x="585" y="127"/>
                  </a:lnTo>
                  <a:lnTo>
                    <a:pt x="585" y="117"/>
                  </a:lnTo>
                  <a:lnTo>
                    <a:pt x="566" y="108"/>
                  </a:lnTo>
                  <a:lnTo>
                    <a:pt x="556" y="88"/>
                  </a:lnTo>
                  <a:lnTo>
                    <a:pt x="546" y="78"/>
                  </a:lnTo>
                  <a:lnTo>
                    <a:pt x="537" y="78"/>
                  </a:lnTo>
                  <a:lnTo>
                    <a:pt x="527" y="59"/>
                  </a:lnTo>
                  <a:lnTo>
                    <a:pt x="517" y="49"/>
                  </a:lnTo>
                  <a:lnTo>
                    <a:pt x="498" y="49"/>
                  </a:lnTo>
                  <a:lnTo>
                    <a:pt x="488" y="59"/>
                  </a:lnTo>
                  <a:lnTo>
                    <a:pt x="478" y="69"/>
                  </a:lnTo>
                  <a:lnTo>
                    <a:pt x="468" y="69"/>
                  </a:lnTo>
                  <a:lnTo>
                    <a:pt x="449" y="59"/>
                  </a:lnTo>
                  <a:lnTo>
                    <a:pt x="429" y="59"/>
                  </a:lnTo>
                  <a:lnTo>
                    <a:pt x="410" y="59"/>
                  </a:lnTo>
                  <a:lnTo>
                    <a:pt x="410" y="78"/>
                  </a:lnTo>
                  <a:lnTo>
                    <a:pt x="390" y="69"/>
                  </a:lnTo>
                  <a:lnTo>
                    <a:pt x="390" y="59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1" y="69"/>
                  </a:lnTo>
                  <a:lnTo>
                    <a:pt x="351" y="78"/>
                  </a:lnTo>
                  <a:lnTo>
                    <a:pt x="342" y="88"/>
                  </a:lnTo>
                  <a:lnTo>
                    <a:pt x="332" y="88"/>
                  </a:lnTo>
                  <a:lnTo>
                    <a:pt x="332" y="98"/>
                  </a:lnTo>
                  <a:lnTo>
                    <a:pt x="322" y="98"/>
                  </a:lnTo>
                  <a:lnTo>
                    <a:pt x="303" y="78"/>
                  </a:lnTo>
                  <a:lnTo>
                    <a:pt x="283" y="78"/>
                  </a:lnTo>
                  <a:lnTo>
                    <a:pt x="293" y="49"/>
                  </a:lnTo>
                  <a:lnTo>
                    <a:pt x="254" y="20"/>
                  </a:lnTo>
                  <a:lnTo>
                    <a:pt x="244" y="0"/>
                  </a:lnTo>
                  <a:lnTo>
                    <a:pt x="215" y="0"/>
                  </a:lnTo>
                  <a:lnTo>
                    <a:pt x="205" y="10"/>
                  </a:lnTo>
                  <a:lnTo>
                    <a:pt x="156" y="20"/>
                  </a:lnTo>
                  <a:lnTo>
                    <a:pt x="137" y="20"/>
                  </a:lnTo>
                  <a:lnTo>
                    <a:pt x="117" y="29"/>
                  </a:lnTo>
                  <a:lnTo>
                    <a:pt x="107" y="20"/>
                  </a:lnTo>
                  <a:lnTo>
                    <a:pt x="68" y="20"/>
                  </a:lnTo>
                  <a:lnTo>
                    <a:pt x="39" y="20"/>
                  </a:lnTo>
                  <a:lnTo>
                    <a:pt x="2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10" y="49"/>
                  </a:lnTo>
                  <a:lnTo>
                    <a:pt x="20" y="78"/>
                  </a:lnTo>
                  <a:lnTo>
                    <a:pt x="20" y="108"/>
                  </a:lnTo>
                  <a:lnTo>
                    <a:pt x="29" y="156"/>
                  </a:lnTo>
                  <a:lnTo>
                    <a:pt x="49" y="215"/>
                  </a:lnTo>
                  <a:lnTo>
                    <a:pt x="49" y="283"/>
                  </a:lnTo>
                  <a:lnTo>
                    <a:pt x="68" y="322"/>
                  </a:lnTo>
                  <a:lnTo>
                    <a:pt x="68" y="342"/>
                  </a:lnTo>
                  <a:lnTo>
                    <a:pt x="68" y="361"/>
                  </a:lnTo>
                  <a:lnTo>
                    <a:pt x="78" y="361"/>
                  </a:lnTo>
                  <a:lnTo>
                    <a:pt x="78" y="351"/>
                  </a:lnTo>
                  <a:lnTo>
                    <a:pt x="98" y="342"/>
                  </a:lnTo>
                  <a:lnTo>
                    <a:pt x="107" y="342"/>
                  </a:lnTo>
                  <a:lnTo>
                    <a:pt x="107" y="332"/>
                  </a:lnTo>
                  <a:lnTo>
                    <a:pt x="117" y="322"/>
                  </a:lnTo>
                  <a:lnTo>
                    <a:pt x="127" y="312"/>
                  </a:lnTo>
                  <a:lnTo>
                    <a:pt x="137" y="312"/>
                  </a:lnTo>
                  <a:lnTo>
                    <a:pt x="146" y="312"/>
                  </a:lnTo>
                  <a:lnTo>
                    <a:pt x="156" y="322"/>
                  </a:lnTo>
                  <a:lnTo>
                    <a:pt x="146" y="342"/>
                  </a:lnTo>
                  <a:lnTo>
                    <a:pt x="146" y="361"/>
                  </a:lnTo>
                  <a:lnTo>
                    <a:pt x="156" y="361"/>
                  </a:lnTo>
                  <a:lnTo>
                    <a:pt x="166" y="361"/>
                  </a:lnTo>
                  <a:lnTo>
                    <a:pt x="166" y="371"/>
                  </a:lnTo>
                  <a:lnTo>
                    <a:pt x="166" y="381"/>
                  </a:lnTo>
                  <a:lnTo>
                    <a:pt x="176" y="390"/>
                  </a:lnTo>
                  <a:lnTo>
                    <a:pt x="195" y="390"/>
                  </a:lnTo>
                  <a:lnTo>
                    <a:pt x="205" y="390"/>
                  </a:lnTo>
                  <a:lnTo>
                    <a:pt x="224" y="400"/>
                  </a:lnTo>
                  <a:lnTo>
                    <a:pt x="244" y="410"/>
                  </a:lnTo>
                  <a:lnTo>
                    <a:pt x="254" y="410"/>
                  </a:lnTo>
                  <a:lnTo>
                    <a:pt x="264" y="400"/>
                  </a:lnTo>
                  <a:lnTo>
                    <a:pt x="283" y="390"/>
                  </a:lnTo>
                  <a:lnTo>
                    <a:pt x="303" y="390"/>
                  </a:lnTo>
                  <a:lnTo>
                    <a:pt x="322" y="400"/>
                  </a:lnTo>
                  <a:lnTo>
                    <a:pt x="342" y="400"/>
                  </a:lnTo>
                  <a:lnTo>
                    <a:pt x="342" y="420"/>
                  </a:lnTo>
                  <a:lnTo>
                    <a:pt x="351" y="439"/>
                  </a:lnTo>
                  <a:lnTo>
                    <a:pt x="351" y="449"/>
                  </a:lnTo>
                  <a:lnTo>
                    <a:pt x="361" y="449"/>
                  </a:lnTo>
                  <a:lnTo>
                    <a:pt x="371" y="439"/>
                  </a:lnTo>
                  <a:lnTo>
                    <a:pt x="381" y="439"/>
                  </a:lnTo>
                  <a:lnTo>
                    <a:pt x="381" y="420"/>
                  </a:lnTo>
                  <a:lnTo>
                    <a:pt x="361" y="410"/>
                  </a:lnTo>
                  <a:lnTo>
                    <a:pt x="361" y="390"/>
                  </a:lnTo>
                  <a:lnTo>
                    <a:pt x="361" y="381"/>
                  </a:lnTo>
                  <a:lnTo>
                    <a:pt x="390" y="381"/>
                  </a:lnTo>
                  <a:lnTo>
                    <a:pt x="420" y="371"/>
                  </a:lnTo>
                  <a:lnTo>
                    <a:pt x="449" y="371"/>
                  </a:lnTo>
                  <a:lnTo>
                    <a:pt x="468" y="361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391"/>
            <p:cNvSpPr>
              <a:spLocks/>
            </p:cNvSpPr>
            <p:nvPr/>
          </p:nvSpPr>
          <p:spPr bwMode="auto">
            <a:xfrm>
              <a:off x="3699" y="3131"/>
              <a:ext cx="643" cy="529"/>
            </a:xfrm>
            <a:custGeom>
              <a:avLst/>
              <a:gdLst>
                <a:gd name="T0" fmla="*/ 127 w 644"/>
                <a:gd name="T1" fmla="*/ 449 h 527"/>
                <a:gd name="T2" fmla="*/ 146 w 644"/>
                <a:gd name="T3" fmla="*/ 439 h 527"/>
                <a:gd name="T4" fmla="*/ 224 w 644"/>
                <a:gd name="T5" fmla="*/ 458 h 527"/>
                <a:gd name="T6" fmla="*/ 263 w 644"/>
                <a:gd name="T7" fmla="*/ 439 h 527"/>
                <a:gd name="T8" fmla="*/ 341 w 644"/>
                <a:gd name="T9" fmla="*/ 429 h 527"/>
                <a:gd name="T10" fmla="*/ 390 w 644"/>
                <a:gd name="T11" fmla="*/ 507 h 527"/>
                <a:gd name="T12" fmla="*/ 439 w 644"/>
                <a:gd name="T13" fmla="*/ 527 h 527"/>
                <a:gd name="T14" fmla="*/ 458 w 644"/>
                <a:gd name="T15" fmla="*/ 507 h 527"/>
                <a:gd name="T16" fmla="*/ 488 w 644"/>
                <a:gd name="T17" fmla="*/ 488 h 527"/>
                <a:gd name="T18" fmla="*/ 517 w 644"/>
                <a:gd name="T19" fmla="*/ 507 h 527"/>
                <a:gd name="T20" fmla="*/ 556 w 644"/>
                <a:gd name="T21" fmla="*/ 488 h 527"/>
                <a:gd name="T22" fmla="*/ 595 w 644"/>
                <a:gd name="T23" fmla="*/ 488 h 527"/>
                <a:gd name="T24" fmla="*/ 614 w 644"/>
                <a:gd name="T25" fmla="*/ 458 h 527"/>
                <a:gd name="T26" fmla="*/ 634 w 644"/>
                <a:gd name="T27" fmla="*/ 439 h 527"/>
                <a:gd name="T28" fmla="*/ 624 w 644"/>
                <a:gd name="T29" fmla="*/ 410 h 527"/>
                <a:gd name="T30" fmla="*/ 644 w 644"/>
                <a:gd name="T31" fmla="*/ 371 h 527"/>
                <a:gd name="T32" fmla="*/ 644 w 644"/>
                <a:gd name="T33" fmla="*/ 351 h 527"/>
                <a:gd name="T34" fmla="*/ 634 w 644"/>
                <a:gd name="T35" fmla="*/ 322 h 527"/>
                <a:gd name="T36" fmla="*/ 614 w 644"/>
                <a:gd name="T37" fmla="*/ 293 h 527"/>
                <a:gd name="T38" fmla="*/ 575 w 644"/>
                <a:gd name="T39" fmla="*/ 312 h 527"/>
                <a:gd name="T40" fmla="*/ 556 w 644"/>
                <a:gd name="T41" fmla="*/ 302 h 527"/>
                <a:gd name="T42" fmla="*/ 556 w 644"/>
                <a:gd name="T43" fmla="*/ 244 h 527"/>
                <a:gd name="T44" fmla="*/ 556 w 644"/>
                <a:gd name="T45" fmla="*/ 224 h 527"/>
                <a:gd name="T46" fmla="*/ 536 w 644"/>
                <a:gd name="T47" fmla="*/ 234 h 527"/>
                <a:gd name="T48" fmla="*/ 478 w 644"/>
                <a:gd name="T49" fmla="*/ 224 h 527"/>
                <a:gd name="T50" fmla="*/ 449 w 644"/>
                <a:gd name="T51" fmla="*/ 185 h 527"/>
                <a:gd name="T52" fmla="*/ 410 w 644"/>
                <a:gd name="T53" fmla="*/ 176 h 527"/>
                <a:gd name="T54" fmla="*/ 371 w 644"/>
                <a:gd name="T55" fmla="*/ 146 h 527"/>
                <a:gd name="T56" fmla="*/ 302 w 644"/>
                <a:gd name="T57" fmla="*/ 78 h 527"/>
                <a:gd name="T58" fmla="*/ 244 w 644"/>
                <a:gd name="T59" fmla="*/ 49 h 527"/>
                <a:gd name="T60" fmla="*/ 185 w 644"/>
                <a:gd name="T61" fmla="*/ 19 h 527"/>
                <a:gd name="T62" fmla="*/ 146 w 644"/>
                <a:gd name="T63" fmla="*/ 39 h 527"/>
                <a:gd name="T64" fmla="*/ 127 w 644"/>
                <a:gd name="T65" fmla="*/ 78 h 527"/>
                <a:gd name="T66" fmla="*/ 127 w 644"/>
                <a:gd name="T67" fmla="*/ 117 h 527"/>
                <a:gd name="T68" fmla="*/ 107 w 644"/>
                <a:gd name="T69" fmla="*/ 127 h 527"/>
                <a:gd name="T70" fmla="*/ 58 w 644"/>
                <a:gd name="T71" fmla="*/ 127 h 527"/>
                <a:gd name="T72" fmla="*/ 39 w 644"/>
                <a:gd name="T73" fmla="*/ 156 h 527"/>
                <a:gd name="T74" fmla="*/ 19 w 644"/>
                <a:gd name="T75" fmla="*/ 176 h 527"/>
                <a:gd name="T76" fmla="*/ 19 w 644"/>
                <a:gd name="T77" fmla="*/ 234 h 527"/>
                <a:gd name="T78" fmla="*/ 29 w 644"/>
                <a:gd name="T79" fmla="*/ 273 h 527"/>
                <a:gd name="T80" fmla="*/ 10 w 644"/>
                <a:gd name="T81" fmla="*/ 293 h 527"/>
                <a:gd name="T82" fmla="*/ 0 w 644"/>
                <a:gd name="T83" fmla="*/ 332 h 527"/>
                <a:gd name="T84" fmla="*/ 39 w 644"/>
                <a:gd name="T85" fmla="*/ 322 h 527"/>
                <a:gd name="T86" fmla="*/ 88 w 644"/>
                <a:gd name="T87" fmla="*/ 322 h 527"/>
                <a:gd name="T88" fmla="*/ 88 w 644"/>
                <a:gd name="T89" fmla="*/ 341 h 527"/>
                <a:gd name="T90" fmla="*/ 49 w 644"/>
                <a:gd name="T91" fmla="*/ 351 h 527"/>
                <a:gd name="T92" fmla="*/ 88 w 644"/>
                <a:gd name="T93" fmla="*/ 419 h 5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44"/>
                <a:gd name="T142" fmla="*/ 0 h 527"/>
                <a:gd name="T143" fmla="*/ 644 w 644"/>
                <a:gd name="T144" fmla="*/ 527 h 5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44" h="527">
                  <a:moveTo>
                    <a:pt x="107" y="449"/>
                  </a:move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46" y="439"/>
                  </a:lnTo>
                  <a:lnTo>
                    <a:pt x="175" y="449"/>
                  </a:lnTo>
                  <a:lnTo>
                    <a:pt x="214" y="449"/>
                  </a:lnTo>
                  <a:lnTo>
                    <a:pt x="224" y="458"/>
                  </a:lnTo>
                  <a:lnTo>
                    <a:pt x="244" y="449"/>
                  </a:lnTo>
                  <a:lnTo>
                    <a:pt x="244" y="439"/>
                  </a:lnTo>
                  <a:lnTo>
                    <a:pt x="263" y="439"/>
                  </a:lnTo>
                  <a:lnTo>
                    <a:pt x="312" y="439"/>
                  </a:lnTo>
                  <a:lnTo>
                    <a:pt x="322" y="429"/>
                  </a:lnTo>
                  <a:lnTo>
                    <a:pt x="341" y="429"/>
                  </a:lnTo>
                  <a:lnTo>
                    <a:pt x="361" y="449"/>
                  </a:lnTo>
                  <a:lnTo>
                    <a:pt x="400" y="478"/>
                  </a:lnTo>
                  <a:lnTo>
                    <a:pt x="390" y="507"/>
                  </a:lnTo>
                  <a:lnTo>
                    <a:pt x="410" y="507"/>
                  </a:lnTo>
                  <a:lnTo>
                    <a:pt x="429" y="527"/>
                  </a:lnTo>
                  <a:lnTo>
                    <a:pt x="439" y="527"/>
                  </a:lnTo>
                  <a:lnTo>
                    <a:pt x="439" y="517"/>
                  </a:lnTo>
                  <a:lnTo>
                    <a:pt x="449" y="517"/>
                  </a:lnTo>
                  <a:lnTo>
                    <a:pt x="458" y="507"/>
                  </a:lnTo>
                  <a:lnTo>
                    <a:pt x="458" y="498"/>
                  </a:lnTo>
                  <a:lnTo>
                    <a:pt x="478" y="498"/>
                  </a:lnTo>
                  <a:lnTo>
                    <a:pt x="488" y="488"/>
                  </a:lnTo>
                  <a:lnTo>
                    <a:pt x="497" y="488"/>
                  </a:lnTo>
                  <a:lnTo>
                    <a:pt x="497" y="498"/>
                  </a:lnTo>
                  <a:lnTo>
                    <a:pt x="517" y="507"/>
                  </a:lnTo>
                  <a:lnTo>
                    <a:pt x="517" y="488"/>
                  </a:lnTo>
                  <a:lnTo>
                    <a:pt x="536" y="488"/>
                  </a:lnTo>
                  <a:lnTo>
                    <a:pt x="556" y="488"/>
                  </a:lnTo>
                  <a:lnTo>
                    <a:pt x="575" y="498"/>
                  </a:lnTo>
                  <a:lnTo>
                    <a:pt x="585" y="498"/>
                  </a:lnTo>
                  <a:lnTo>
                    <a:pt x="595" y="488"/>
                  </a:lnTo>
                  <a:lnTo>
                    <a:pt x="605" y="478"/>
                  </a:lnTo>
                  <a:lnTo>
                    <a:pt x="624" y="478"/>
                  </a:lnTo>
                  <a:lnTo>
                    <a:pt x="614" y="458"/>
                  </a:lnTo>
                  <a:lnTo>
                    <a:pt x="624" y="449"/>
                  </a:lnTo>
                  <a:lnTo>
                    <a:pt x="624" y="439"/>
                  </a:lnTo>
                  <a:lnTo>
                    <a:pt x="634" y="439"/>
                  </a:lnTo>
                  <a:lnTo>
                    <a:pt x="634" y="429"/>
                  </a:lnTo>
                  <a:lnTo>
                    <a:pt x="624" y="419"/>
                  </a:lnTo>
                  <a:lnTo>
                    <a:pt x="624" y="410"/>
                  </a:lnTo>
                  <a:lnTo>
                    <a:pt x="634" y="400"/>
                  </a:lnTo>
                  <a:lnTo>
                    <a:pt x="634" y="380"/>
                  </a:lnTo>
                  <a:lnTo>
                    <a:pt x="644" y="371"/>
                  </a:lnTo>
                  <a:lnTo>
                    <a:pt x="634" y="361"/>
                  </a:lnTo>
                  <a:lnTo>
                    <a:pt x="624" y="351"/>
                  </a:lnTo>
                  <a:lnTo>
                    <a:pt x="644" y="351"/>
                  </a:lnTo>
                  <a:lnTo>
                    <a:pt x="644" y="341"/>
                  </a:lnTo>
                  <a:lnTo>
                    <a:pt x="644" y="332"/>
                  </a:lnTo>
                  <a:lnTo>
                    <a:pt x="634" y="322"/>
                  </a:lnTo>
                  <a:lnTo>
                    <a:pt x="634" y="312"/>
                  </a:lnTo>
                  <a:lnTo>
                    <a:pt x="624" y="293"/>
                  </a:lnTo>
                  <a:lnTo>
                    <a:pt x="614" y="293"/>
                  </a:lnTo>
                  <a:lnTo>
                    <a:pt x="595" y="293"/>
                  </a:lnTo>
                  <a:lnTo>
                    <a:pt x="575" y="302"/>
                  </a:lnTo>
                  <a:lnTo>
                    <a:pt x="575" y="312"/>
                  </a:lnTo>
                  <a:lnTo>
                    <a:pt x="566" y="312"/>
                  </a:lnTo>
                  <a:lnTo>
                    <a:pt x="556" y="312"/>
                  </a:lnTo>
                  <a:lnTo>
                    <a:pt x="556" y="302"/>
                  </a:lnTo>
                  <a:lnTo>
                    <a:pt x="556" y="293"/>
                  </a:lnTo>
                  <a:lnTo>
                    <a:pt x="556" y="263"/>
                  </a:lnTo>
                  <a:lnTo>
                    <a:pt x="556" y="244"/>
                  </a:lnTo>
                  <a:lnTo>
                    <a:pt x="566" y="234"/>
                  </a:lnTo>
                  <a:lnTo>
                    <a:pt x="556" y="224"/>
                  </a:lnTo>
                  <a:lnTo>
                    <a:pt x="546" y="215"/>
                  </a:lnTo>
                  <a:lnTo>
                    <a:pt x="536" y="224"/>
                  </a:lnTo>
                  <a:lnTo>
                    <a:pt x="536" y="234"/>
                  </a:lnTo>
                  <a:lnTo>
                    <a:pt x="517" y="234"/>
                  </a:lnTo>
                  <a:lnTo>
                    <a:pt x="497" y="224"/>
                  </a:lnTo>
                  <a:lnTo>
                    <a:pt x="478" y="224"/>
                  </a:lnTo>
                  <a:lnTo>
                    <a:pt x="468" y="224"/>
                  </a:lnTo>
                  <a:lnTo>
                    <a:pt x="458" y="215"/>
                  </a:lnTo>
                  <a:lnTo>
                    <a:pt x="449" y="185"/>
                  </a:lnTo>
                  <a:lnTo>
                    <a:pt x="439" y="176"/>
                  </a:lnTo>
                  <a:lnTo>
                    <a:pt x="429" y="176"/>
                  </a:lnTo>
                  <a:lnTo>
                    <a:pt x="410" y="176"/>
                  </a:lnTo>
                  <a:lnTo>
                    <a:pt x="390" y="176"/>
                  </a:lnTo>
                  <a:lnTo>
                    <a:pt x="380" y="166"/>
                  </a:lnTo>
                  <a:lnTo>
                    <a:pt x="371" y="146"/>
                  </a:lnTo>
                  <a:lnTo>
                    <a:pt x="351" y="117"/>
                  </a:lnTo>
                  <a:lnTo>
                    <a:pt x="322" y="88"/>
                  </a:lnTo>
                  <a:lnTo>
                    <a:pt x="302" y="78"/>
                  </a:lnTo>
                  <a:lnTo>
                    <a:pt x="292" y="68"/>
                  </a:lnTo>
                  <a:lnTo>
                    <a:pt x="283" y="58"/>
                  </a:lnTo>
                  <a:lnTo>
                    <a:pt x="244" y="49"/>
                  </a:lnTo>
                  <a:lnTo>
                    <a:pt x="224" y="39"/>
                  </a:lnTo>
                  <a:lnTo>
                    <a:pt x="205" y="29"/>
                  </a:lnTo>
                  <a:lnTo>
                    <a:pt x="185" y="19"/>
                  </a:lnTo>
                  <a:lnTo>
                    <a:pt x="166" y="19"/>
                  </a:lnTo>
                  <a:lnTo>
                    <a:pt x="146" y="0"/>
                  </a:lnTo>
                  <a:lnTo>
                    <a:pt x="146" y="39"/>
                  </a:lnTo>
                  <a:lnTo>
                    <a:pt x="146" y="58"/>
                  </a:lnTo>
                  <a:lnTo>
                    <a:pt x="146" y="68"/>
                  </a:lnTo>
                  <a:lnTo>
                    <a:pt x="127" y="78"/>
                  </a:lnTo>
                  <a:lnTo>
                    <a:pt x="117" y="78"/>
                  </a:lnTo>
                  <a:lnTo>
                    <a:pt x="107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17" y="127"/>
                  </a:lnTo>
                  <a:lnTo>
                    <a:pt x="107" y="127"/>
                  </a:lnTo>
                  <a:lnTo>
                    <a:pt x="88" y="117"/>
                  </a:lnTo>
                  <a:lnTo>
                    <a:pt x="88" y="127"/>
                  </a:lnTo>
                  <a:lnTo>
                    <a:pt x="58" y="127"/>
                  </a:lnTo>
                  <a:lnTo>
                    <a:pt x="49" y="137"/>
                  </a:lnTo>
                  <a:lnTo>
                    <a:pt x="49" y="156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76"/>
                  </a:lnTo>
                  <a:lnTo>
                    <a:pt x="19" y="176"/>
                  </a:lnTo>
                  <a:lnTo>
                    <a:pt x="10" y="195"/>
                  </a:lnTo>
                  <a:lnTo>
                    <a:pt x="10" y="215"/>
                  </a:lnTo>
                  <a:lnTo>
                    <a:pt x="19" y="234"/>
                  </a:lnTo>
                  <a:lnTo>
                    <a:pt x="29" y="244"/>
                  </a:lnTo>
                  <a:lnTo>
                    <a:pt x="29" y="263"/>
                  </a:lnTo>
                  <a:lnTo>
                    <a:pt x="29" y="273"/>
                  </a:lnTo>
                  <a:lnTo>
                    <a:pt x="19" y="273"/>
                  </a:lnTo>
                  <a:lnTo>
                    <a:pt x="10" y="293"/>
                  </a:lnTo>
                  <a:lnTo>
                    <a:pt x="10" y="312"/>
                  </a:lnTo>
                  <a:lnTo>
                    <a:pt x="0" y="322"/>
                  </a:lnTo>
                  <a:lnTo>
                    <a:pt x="0" y="332"/>
                  </a:lnTo>
                  <a:lnTo>
                    <a:pt x="10" y="332"/>
                  </a:lnTo>
                  <a:lnTo>
                    <a:pt x="29" y="332"/>
                  </a:lnTo>
                  <a:lnTo>
                    <a:pt x="39" y="322"/>
                  </a:lnTo>
                  <a:lnTo>
                    <a:pt x="49" y="322"/>
                  </a:lnTo>
                  <a:lnTo>
                    <a:pt x="68" y="332"/>
                  </a:lnTo>
                  <a:lnTo>
                    <a:pt x="88" y="322"/>
                  </a:lnTo>
                  <a:lnTo>
                    <a:pt x="97" y="322"/>
                  </a:lnTo>
                  <a:lnTo>
                    <a:pt x="97" y="332"/>
                  </a:lnTo>
                  <a:lnTo>
                    <a:pt x="88" y="341"/>
                  </a:lnTo>
                  <a:lnTo>
                    <a:pt x="78" y="351"/>
                  </a:lnTo>
                  <a:lnTo>
                    <a:pt x="58" y="351"/>
                  </a:lnTo>
                  <a:lnTo>
                    <a:pt x="49" y="351"/>
                  </a:lnTo>
                  <a:lnTo>
                    <a:pt x="58" y="371"/>
                  </a:lnTo>
                  <a:lnTo>
                    <a:pt x="68" y="390"/>
                  </a:lnTo>
                  <a:lnTo>
                    <a:pt x="88" y="419"/>
                  </a:lnTo>
                  <a:lnTo>
                    <a:pt x="97" y="439"/>
                  </a:lnTo>
                  <a:lnTo>
                    <a:pt x="107" y="449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390"/>
            <p:cNvSpPr>
              <a:spLocks/>
            </p:cNvSpPr>
            <p:nvPr/>
          </p:nvSpPr>
          <p:spPr bwMode="auto">
            <a:xfrm>
              <a:off x="2040" y="1787"/>
              <a:ext cx="476" cy="294"/>
            </a:xfrm>
            <a:custGeom>
              <a:avLst/>
              <a:gdLst>
                <a:gd name="T0" fmla="*/ 458 w 478"/>
                <a:gd name="T1" fmla="*/ 186 h 293"/>
                <a:gd name="T2" fmla="*/ 429 w 478"/>
                <a:gd name="T3" fmla="*/ 176 h 293"/>
                <a:gd name="T4" fmla="*/ 400 w 478"/>
                <a:gd name="T5" fmla="*/ 186 h 293"/>
                <a:gd name="T6" fmla="*/ 361 w 478"/>
                <a:gd name="T7" fmla="*/ 186 h 293"/>
                <a:gd name="T8" fmla="*/ 341 w 478"/>
                <a:gd name="T9" fmla="*/ 157 h 293"/>
                <a:gd name="T10" fmla="*/ 312 w 478"/>
                <a:gd name="T11" fmla="*/ 108 h 293"/>
                <a:gd name="T12" fmla="*/ 302 w 478"/>
                <a:gd name="T13" fmla="*/ 79 h 293"/>
                <a:gd name="T14" fmla="*/ 282 w 478"/>
                <a:gd name="T15" fmla="*/ 49 h 293"/>
                <a:gd name="T16" fmla="*/ 263 w 478"/>
                <a:gd name="T17" fmla="*/ 30 h 293"/>
                <a:gd name="T18" fmla="*/ 243 w 478"/>
                <a:gd name="T19" fmla="*/ 10 h 293"/>
                <a:gd name="T20" fmla="*/ 234 w 478"/>
                <a:gd name="T21" fmla="*/ 20 h 293"/>
                <a:gd name="T22" fmla="*/ 175 w 478"/>
                <a:gd name="T23" fmla="*/ 0 h 293"/>
                <a:gd name="T24" fmla="*/ 146 w 478"/>
                <a:gd name="T25" fmla="*/ 20 h 293"/>
                <a:gd name="T26" fmla="*/ 117 w 478"/>
                <a:gd name="T27" fmla="*/ 30 h 293"/>
                <a:gd name="T28" fmla="*/ 78 w 478"/>
                <a:gd name="T29" fmla="*/ 40 h 293"/>
                <a:gd name="T30" fmla="*/ 58 w 478"/>
                <a:gd name="T31" fmla="*/ 59 h 293"/>
                <a:gd name="T32" fmla="*/ 39 w 478"/>
                <a:gd name="T33" fmla="*/ 59 h 293"/>
                <a:gd name="T34" fmla="*/ 19 w 478"/>
                <a:gd name="T35" fmla="*/ 88 h 293"/>
                <a:gd name="T36" fmla="*/ 0 w 478"/>
                <a:gd name="T37" fmla="*/ 88 h 293"/>
                <a:gd name="T38" fmla="*/ 29 w 478"/>
                <a:gd name="T39" fmla="*/ 118 h 293"/>
                <a:gd name="T40" fmla="*/ 48 w 478"/>
                <a:gd name="T41" fmla="*/ 137 h 293"/>
                <a:gd name="T42" fmla="*/ 78 w 478"/>
                <a:gd name="T43" fmla="*/ 127 h 293"/>
                <a:gd name="T44" fmla="*/ 87 w 478"/>
                <a:gd name="T45" fmla="*/ 157 h 293"/>
                <a:gd name="T46" fmla="*/ 117 w 478"/>
                <a:gd name="T47" fmla="*/ 166 h 293"/>
                <a:gd name="T48" fmla="*/ 107 w 478"/>
                <a:gd name="T49" fmla="*/ 186 h 293"/>
                <a:gd name="T50" fmla="*/ 117 w 478"/>
                <a:gd name="T51" fmla="*/ 215 h 293"/>
                <a:gd name="T52" fmla="*/ 136 w 478"/>
                <a:gd name="T53" fmla="*/ 215 h 293"/>
                <a:gd name="T54" fmla="*/ 146 w 478"/>
                <a:gd name="T55" fmla="*/ 254 h 293"/>
                <a:gd name="T56" fmla="*/ 214 w 478"/>
                <a:gd name="T57" fmla="*/ 254 h 293"/>
                <a:gd name="T58" fmla="*/ 243 w 478"/>
                <a:gd name="T59" fmla="*/ 244 h 293"/>
                <a:gd name="T60" fmla="*/ 263 w 478"/>
                <a:gd name="T61" fmla="*/ 264 h 293"/>
                <a:gd name="T62" fmla="*/ 302 w 478"/>
                <a:gd name="T63" fmla="*/ 283 h 293"/>
                <a:gd name="T64" fmla="*/ 331 w 478"/>
                <a:gd name="T65" fmla="*/ 283 h 293"/>
                <a:gd name="T66" fmla="*/ 361 w 478"/>
                <a:gd name="T67" fmla="*/ 264 h 293"/>
                <a:gd name="T68" fmla="*/ 409 w 478"/>
                <a:gd name="T69" fmla="*/ 274 h 293"/>
                <a:gd name="T70" fmla="*/ 458 w 478"/>
                <a:gd name="T71" fmla="*/ 254 h 293"/>
                <a:gd name="T72" fmla="*/ 468 w 478"/>
                <a:gd name="T73" fmla="*/ 225 h 293"/>
                <a:gd name="T74" fmla="*/ 478 w 478"/>
                <a:gd name="T75" fmla="*/ 205 h 2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8"/>
                <a:gd name="T115" fmla="*/ 0 h 293"/>
                <a:gd name="T116" fmla="*/ 478 w 478"/>
                <a:gd name="T117" fmla="*/ 293 h 2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2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2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96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54"/>
                  </a:lnTo>
                  <a:lnTo>
                    <a:pt x="214" y="254"/>
                  </a:lnTo>
                  <a:lnTo>
                    <a:pt x="234" y="244"/>
                  </a:lnTo>
                  <a:lnTo>
                    <a:pt x="243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74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74"/>
                  </a:lnTo>
                  <a:lnTo>
                    <a:pt x="439" y="274"/>
                  </a:lnTo>
                  <a:lnTo>
                    <a:pt x="458" y="25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  <a:lnTo>
                    <a:pt x="478" y="20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389"/>
            <p:cNvSpPr>
              <a:spLocks/>
            </p:cNvSpPr>
            <p:nvPr/>
          </p:nvSpPr>
          <p:spPr bwMode="auto">
            <a:xfrm>
              <a:off x="2040" y="1787"/>
              <a:ext cx="476" cy="294"/>
            </a:xfrm>
            <a:custGeom>
              <a:avLst/>
              <a:gdLst>
                <a:gd name="T0" fmla="*/ 458 w 478"/>
                <a:gd name="T1" fmla="*/ 186 h 293"/>
                <a:gd name="T2" fmla="*/ 439 w 478"/>
                <a:gd name="T3" fmla="*/ 176 h 293"/>
                <a:gd name="T4" fmla="*/ 400 w 478"/>
                <a:gd name="T5" fmla="*/ 186 h 293"/>
                <a:gd name="T6" fmla="*/ 361 w 478"/>
                <a:gd name="T7" fmla="*/ 186 h 293"/>
                <a:gd name="T8" fmla="*/ 341 w 478"/>
                <a:gd name="T9" fmla="*/ 157 h 293"/>
                <a:gd name="T10" fmla="*/ 312 w 478"/>
                <a:gd name="T11" fmla="*/ 108 h 293"/>
                <a:gd name="T12" fmla="*/ 302 w 478"/>
                <a:gd name="T13" fmla="*/ 79 h 293"/>
                <a:gd name="T14" fmla="*/ 282 w 478"/>
                <a:gd name="T15" fmla="*/ 49 h 293"/>
                <a:gd name="T16" fmla="*/ 263 w 478"/>
                <a:gd name="T17" fmla="*/ 30 h 293"/>
                <a:gd name="T18" fmla="*/ 243 w 478"/>
                <a:gd name="T19" fmla="*/ 10 h 293"/>
                <a:gd name="T20" fmla="*/ 234 w 478"/>
                <a:gd name="T21" fmla="*/ 20 h 293"/>
                <a:gd name="T22" fmla="*/ 175 w 478"/>
                <a:gd name="T23" fmla="*/ 0 h 293"/>
                <a:gd name="T24" fmla="*/ 146 w 478"/>
                <a:gd name="T25" fmla="*/ 20 h 293"/>
                <a:gd name="T26" fmla="*/ 117 w 478"/>
                <a:gd name="T27" fmla="*/ 30 h 293"/>
                <a:gd name="T28" fmla="*/ 78 w 478"/>
                <a:gd name="T29" fmla="*/ 40 h 293"/>
                <a:gd name="T30" fmla="*/ 58 w 478"/>
                <a:gd name="T31" fmla="*/ 59 h 293"/>
                <a:gd name="T32" fmla="*/ 39 w 478"/>
                <a:gd name="T33" fmla="*/ 59 h 293"/>
                <a:gd name="T34" fmla="*/ 19 w 478"/>
                <a:gd name="T35" fmla="*/ 88 h 293"/>
                <a:gd name="T36" fmla="*/ 0 w 478"/>
                <a:gd name="T37" fmla="*/ 88 h 293"/>
                <a:gd name="T38" fmla="*/ 29 w 478"/>
                <a:gd name="T39" fmla="*/ 118 h 293"/>
                <a:gd name="T40" fmla="*/ 48 w 478"/>
                <a:gd name="T41" fmla="*/ 137 h 293"/>
                <a:gd name="T42" fmla="*/ 78 w 478"/>
                <a:gd name="T43" fmla="*/ 127 h 293"/>
                <a:gd name="T44" fmla="*/ 87 w 478"/>
                <a:gd name="T45" fmla="*/ 157 h 293"/>
                <a:gd name="T46" fmla="*/ 117 w 478"/>
                <a:gd name="T47" fmla="*/ 166 h 293"/>
                <a:gd name="T48" fmla="*/ 107 w 478"/>
                <a:gd name="T49" fmla="*/ 186 h 293"/>
                <a:gd name="T50" fmla="*/ 117 w 478"/>
                <a:gd name="T51" fmla="*/ 215 h 293"/>
                <a:gd name="T52" fmla="*/ 136 w 478"/>
                <a:gd name="T53" fmla="*/ 215 h 293"/>
                <a:gd name="T54" fmla="*/ 146 w 478"/>
                <a:gd name="T55" fmla="*/ 254 h 293"/>
                <a:gd name="T56" fmla="*/ 214 w 478"/>
                <a:gd name="T57" fmla="*/ 264 h 293"/>
                <a:gd name="T58" fmla="*/ 234 w 478"/>
                <a:gd name="T59" fmla="*/ 244 h 293"/>
                <a:gd name="T60" fmla="*/ 263 w 478"/>
                <a:gd name="T61" fmla="*/ 264 h 293"/>
                <a:gd name="T62" fmla="*/ 302 w 478"/>
                <a:gd name="T63" fmla="*/ 283 h 293"/>
                <a:gd name="T64" fmla="*/ 331 w 478"/>
                <a:gd name="T65" fmla="*/ 283 h 293"/>
                <a:gd name="T66" fmla="*/ 361 w 478"/>
                <a:gd name="T67" fmla="*/ 264 h 293"/>
                <a:gd name="T68" fmla="*/ 409 w 478"/>
                <a:gd name="T69" fmla="*/ 283 h 293"/>
                <a:gd name="T70" fmla="*/ 458 w 478"/>
                <a:gd name="T71" fmla="*/ 264 h 293"/>
                <a:gd name="T72" fmla="*/ 468 w 478"/>
                <a:gd name="T73" fmla="*/ 225 h 2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78"/>
                <a:gd name="T112" fmla="*/ 0 h 293"/>
                <a:gd name="T113" fmla="*/ 478 w 478"/>
                <a:gd name="T114" fmla="*/ 293 h 29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3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3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205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64"/>
                  </a:lnTo>
                  <a:lnTo>
                    <a:pt x="214" y="264"/>
                  </a:lnTo>
                  <a:lnTo>
                    <a:pt x="234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83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83"/>
                  </a:lnTo>
                  <a:lnTo>
                    <a:pt x="439" y="283"/>
                  </a:lnTo>
                  <a:lnTo>
                    <a:pt x="458" y="26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</a:path>
              </a:pathLst>
            </a:custGeom>
            <a:noFill/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388"/>
            <p:cNvSpPr>
              <a:spLocks/>
            </p:cNvSpPr>
            <p:nvPr/>
          </p:nvSpPr>
          <p:spPr bwMode="auto">
            <a:xfrm>
              <a:off x="2274" y="1873"/>
              <a:ext cx="566" cy="595"/>
            </a:xfrm>
            <a:custGeom>
              <a:avLst/>
              <a:gdLst>
                <a:gd name="T0" fmla="*/ 195 w 565"/>
                <a:gd name="T1" fmla="*/ 547 h 595"/>
                <a:gd name="T2" fmla="*/ 224 w 565"/>
                <a:gd name="T3" fmla="*/ 488 h 595"/>
                <a:gd name="T4" fmla="*/ 302 w 565"/>
                <a:gd name="T5" fmla="*/ 478 h 595"/>
                <a:gd name="T6" fmla="*/ 322 w 565"/>
                <a:gd name="T7" fmla="*/ 420 h 595"/>
                <a:gd name="T8" fmla="*/ 380 w 565"/>
                <a:gd name="T9" fmla="*/ 410 h 595"/>
                <a:gd name="T10" fmla="*/ 439 w 565"/>
                <a:gd name="T11" fmla="*/ 469 h 595"/>
                <a:gd name="T12" fmla="*/ 468 w 565"/>
                <a:gd name="T13" fmla="*/ 439 h 595"/>
                <a:gd name="T14" fmla="*/ 487 w 565"/>
                <a:gd name="T15" fmla="*/ 410 h 595"/>
                <a:gd name="T16" fmla="*/ 526 w 565"/>
                <a:gd name="T17" fmla="*/ 352 h 595"/>
                <a:gd name="T18" fmla="*/ 565 w 565"/>
                <a:gd name="T19" fmla="*/ 322 h 595"/>
                <a:gd name="T20" fmla="*/ 526 w 565"/>
                <a:gd name="T21" fmla="*/ 283 h 595"/>
                <a:gd name="T22" fmla="*/ 497 w 565"/>
                <a:gd name="T23" fmla="*/ 254 h 595"/>
                <a:gd name="T24" fmla="*/ 458 w 565"/>
                <a:gd name="T25" fmla="*/ 225 h 595"/>
                <a:gd name="T26" fmla="*/ 370 w 565"/>
                <a:gd name="T27" fmla="*/ 215 h 595"/>
                <a:gd name="T28" fmla="*/ 322 w 565"/>
                <a:gd name="T29" fmla="*/ 244 h 595"/>
                <a:gd name="T30" fmla="*/ 322 w 565"/>
                <a:gd name="T31" fmla="*/ 205 h 595"/>
                <a:gd name="T32" fmla="*/ 322 w 565"/>
                <a:gd name="T33" fmla="*/ 166 h 595"/>
                <a:gd name="T34" fmla="*/ 361 w 565"/>
                <a:gd name="T35" fmla="*/ 117 h 595"/>
                <a:gd name="T36" fmla="*/ 370 w 565"/>
                <a:gd name="T37" fmla="*/ 108 h 595"/>
                <a:gd name="T38" fmla="*/ 370 w 565"/>
                <a:gd name="T39" fmla="*/ 49 h 595"/>
                <a:gd name="T40" fmla="*/ 351 w 565"/>
                <a:gd name="T41" fmla="*/ 10 h 595"/>
                <a:gd name="T42" fmla="*/ 322 w 565"/>
                <a:gd name="T43" fmla="*/ 39 h 595"/>
                <a:gd name="T44" fmla="*/ 273 w 565"/>
                <a:gd name="T45" fmla="*/ 39 h 595"/>
                <a:gd name="T46" fmla="*/ 244 w 565"/>
                <a:gd name="T47" fmla="*/ 49 h 595"/>
                <a:gd name="T48" fmla="*/ 263 w 565"/>
                <a:gd name="T49" fmla="*/ 78 h 595"/>
                <a:gd name="T50" fmla="*/ 244 w 565"/>
                <a:gd name="T51" fmla="*/ 117 h 595"/>
                <a:gd name="T52" fmla="*/ 224 w 565"/>
                <a:gd name="T53" fmla="*/ 147 h 595"/>
                <a:gd name="T54" fmla="*/ 175 w 565"/>
                <a:gd name="T55" fmla="*/ 186 h 595"/>
                <a:gd name="T56" fmla="*/ 107 w 565"/>
                <a:gd name="T57" fmla="*/ 186 h 595"/>
                <a:gd name="T58" fmla="*/ 88 w 565"/>
                <a:gd name="T59" fmla="*/ 225 h 595"/>
                <a:gd name="T60" fmla="*/ 107 w 565"/>
                <a:gd name="T61" fmla="*/ 273 h 595"/>
                <a:gd name="T62" fmla="*/ 68 w 565"/>
                <a:gd name="T63" fmla="*/ 283 h 595"/>
                <a:gd name="T64" fmla="*/ 29 w 565"/>
                <a:gd name="T65" fmla="*/ 283 h 595"/>
                <a:gd name="T66" fmla="*/ 0 w 565"/>
                <a:gd name="T67" fmla="*/ 313 h 595"/>
                <a:gd name="T68" fmla="*/ 9 w 565"/>
                <a:gd name="T69" fmla="*/ 342 h 595"/>
                <a:gd name="T70" fmla="*/ 48 w 565"/>
                <a:gd name="T71" fmla="*/ 352 h 595"/>
                <a:gd name="T72" fmla="*/ 107 w 565"/>
                <a:gd name="T73" fmla="*/ 371 h 595"/>
                <a:gd name="T74" fmla="*/ 136 w 565"/>
                <a:gd name="T75" fmla="*/ 391 h 595"/>
                <a:gd name="T76" fmla="*/ 136 w 565"/>
                <a:gd name="T77" fmla="*/ 430 h 595"/>
                <a:gd name="T78" fmla="*/ 127 w 565"/>
                <a:gd name="T79" fmla="*/ 478 h 595"/>
                <a:gd name="T80" fmla="*/ 136 w 565"/>
                <a:gd name="T81" fmla="*/ 527 h 595"/>
                <a:gd name="T82" fmla="*/ 146 w 565"/>
                <a:gd name="T83" fmla="*/ 586 h 595"/>
                <a:gd name="T84" fmla="*/ 166 w 565"/>
                <a:gd name="T85" fmla="*/ 576 h 5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65"/>
                <a:gd name="T130" fmla="*/ 0 h 595"/>
                <a:gd name="T131" fmla="*/ 565 w 565"/>
                <a:gd name="T132" fmla="*/ 595 h 5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65" h="595">
                  <a:moveTo>
                    <a:pt x="166" y="547"/>
                  </a:moveTo>
                  <a:lnTo>
                    <a:pt x="185" y="537"/>
                  </a:lnTo>
                  <a:lnTo>
                    <a:pt x="195" y="547"/>
                  </a:lnTo>
                  <a:lnTo>
                    <a:pt x="214" y="537"/>
                  </a:lnTo>
                  <a:lnTo>
                    <a:pt x="214" y="508"/>
                  </a:lnTo>
                  <a:lnTo>
                    <a:pt x="224" y="488"/>
                  </a:lnTo>
                  <a:lnTo>
                    <a:pt x="244" y="469"/>
                  </a:lnTo>
                  <a:lnTo>
                    <a:pt x="273" y="488"/>
                  </a:lnTo>
                  <a:lnTo>
                    <a:pt x="302" y="478"/>
                  </a:lnTo>
                  <a:lnTo>
                    <a:pt x="312" y="449"/>
                  </a:lnTo>
                  <a:lnTo>
                    <a:pt x="331" y="439"/>
                  </a:lnTo>
                  <a:lnTo>
                    <a:pt x="322" y="420"/>
                  </a:lnTo>
                  <a:lnTo>
                    <a:pt x="341" y="410"/>
                  </a:lnTo>
                  <a:lnTo>
                    <a:pt x="361" y="410"/>
                  </a:lnTo>
                  <a:lnTo>
                    <a:pt x="380" y="410"/>
                  </a:lnTo>
                  <a:lnTo>
                    <a:pt x="400" y="430"/>
                  </a:lnTo>
                  <a:lnTo>
                    <a:pt x="419" y="439"/>
                  </a:lnTo>
                  <a:lnTo>
                    <a:pt x="439" y="469"/>
                  </a:lnTo>
                  <a:lnTo>
                    <a:pt x="458" y="469"/>
                  </a:lnTo>
                  <a:lnTo>
                    <a:pt x="468" y="469"/>
                  </a:lnTo>
                  <a:lnTo>
                    <a:pt x="468" y="439"/>
                  </a:lnTo>
                  <a:lnTo>
                    <a:pt x="478" y="420"/>
                  </a:lnTo>
                  <a:lnTo>
                    <a:pt x="497" y="410"/>
                  </a:lnTo>
                  <a:lnTo>
                    <a:pt x="487" y="410"/>
                  </a:lnTo>
                  <a:lnTo>
                    <a:pt x="487" y="391"/>
                  </a:lnTo>
                  <a:lnTo>
                    <a:pt x="487" y="381"/>
                  </a:lnTo>
                  <a:lnTo>
                    <a:pt x="526" y="352"/>
                  </a:lnTo>
                  <a:lnTo>
                    <a:pt x="536" y="361"/>
                  </a:lnTo>
                  <a:lnTo>
                    <a:pt x="565" y="342"/>
                  </a:lnTo>
                  <a:lnTo>
                    <a:pt x="565" y="322"/>
                  </a:lnTo>
                  <a:lnTo>
                    <a:pt x="565" y="303"/>
                  </a:lnTo>
                  <a:lnTo>
                    <a:pt x="556" y="303"/>
                  </a:lnTo>
                  <a:lnTo>
                    <a:pt x="526" y="283"/>
                  </a:lnTo>
                  <a:lnTo>
                    <a:pt x="517" y="273"/>
                  </a:lnTo>
                  <a:lnTo>
                    <a:pt x="507" y="244"/>
                  </a:lnTo>
                  <a:lnTo>
                    <a:pt x="497" y="254"/>
                  </a:lnTo>
                  <a:lnTo>
                    <a:pt x="468" y="264"/>
                  </a:lnTo>
                  <a:lnTo>
                    <a:pt x="468" y="244"/>
                  </a:lnTo>
                  <a:lnTo>
                    <a:pt x="458" y="225"/>
                  </a:lnTo>
                  <a:lnTo>
                    <a:pt x="429" y="234"/>
                  </a:lnTo>
                  <a:lnTo>
                    <a:pt x="400" y="225"/>
                  </a:lnTo>
                  <a:lnTo>
                    <a:pt x="370" y="215"/>
                  </a:lnTo>
                  <a:lnTo>
                    <a:pt x="341" y="234"/>
                  </a:lnTo>
                  <a:lnTo>
                    <a:pt x="331" y="254"/>
                  </a:lnTo>
                  <a:lnTo>
                    <a:pt x="322" y="244"/>
                  </a:lnTo>
                  <a:lnTo>
                    <a:pt x="322" y="234"/>
                  </a:lnTo>
                  <a:lnTo>
                    <a:pt x="331" y="225"/>
                  </a:lnTo>
                  <a:lnTo>
                    <a:pt x="322" y="205"/>
                  </a:lnTo>
                  <a:lnTo>
                    <a:pt x="341" y="186"/>
                  </a:lnTo>
                  <a:lnTo>
                    <a:pt x="322" y="166"/>
                  </a:lnTo>
                  <a:lnTo>
                    <a:pt x="322" y="156"/>
                  </a:lnTo>
                  <a:lnTo>
                    <a:pt x="331" y="147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0" y="117"/>
                  </a:lnTo>
                  <a:lnTo>
                    <a:pt x="370" y="108"/>
                  </a:lnTo>
                  <a:lnTo>
                    <a:pt x="380" y="88"/>
                  </a:lnTo>
                  <a:lnTo>
                    <a:pt x="400" y="59"/>
                  </a:lnTo>
                  <a:lnTo>
                    <a:pt x="370" y="49"/>
                  </a:lnTo>
                  <a:lnTo>
                    <a:pt x="400" y="30"/>
                  </a:lnTo>
                  <a:lnTo>
                    <a:pt x="370" y="0"/>
                  </a:lnTo>
                  <a:lnTo>
                    <a:pt x="351" y="10"/>
                  </a:lnTo>
                  <a:lnTo>
                    <a:pt x="341" y="30"/>
                  </a:lnTo>
                  <a:lnTo>
                    <a:pt x="331" y="39"/>
                  </a:lnTo>
                  <a:lnTo>
                    <a:pt x="322" y="39"/>
                  </a:lnTo>
                  <a:lnTo>
                    <a:pt x="302" y="39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63" y="30"/>
                  </a:lnTo>
                  <a:lnTo>
                    <a:pt x="253" y="39"/>
                  </a:lnTo>
                  <a:lnTo>
                    <a:pt x="244" y="49"/>
                  </a:lnTo>
                  <a:lnTo>
                    <a:pt x="263" y="59"/>
                  </a:lnTo>
                  <a:lnTo>
                    <a:pt x="273" y="69"/>
                  </a:lnTo>
                  <a:lnTo>
                    <a:pt x="263" y="78"/>
                  </a:lnTo>
                  <a:lnTo>
                    <a:pt x="263" y="98"/>
                  </a:lnTo>
                  <a:lnTo>
                    <a:pt x="253" y="108"/>
                  </a:lnTo>
                  <a:lnTo>
                    <a:pt x="244" y="117"/>
                  </a:lnTo>
                  <a:lnTo>
                    <a:pt x="244" y="127"/>
                  </a:lnTo>
                  <a:lnTo>
                    <a:pt x="234" y="127"/>
                  </a:lnTo>
                  <a:lnTo>
                    <a:pt x="224" y="147"/>
                  </a:lnTo>
                  <a:lnTo>
                    <a:pt x="224" y="166"/>
                  </a:lnTo>
                  <a:lnTo>
                    <a:pt x="205" y="186"/>
                  </a:lnTo>
                  <a:lnTo>
                    <a:pt x="175" y="186"/>
                  </a:lnTo>
                  <a:lnTo>
                    <a:pt x="146" y="186"/>
                  </a:lnTo>
                  <a:lnTo>
                    <a:pt x="127" y="176"/>
                  </a:lnTo>
                  <a:lnTo>
                    <a:pt x="107" y="186"/>
                  </a:lnTo>
                  <a:lnTo>
                    <a:pt x="97" y="195"/>
                  </a:lnTo>
                  <a:lnTo>
                    <a:pt x="78" y="205"/>
                  </a:lnTo>
                  <a:lnTo>
                    <a:pt x="88" y="225"/>
                  </a:lnTo>
                  <a:lnTo>
                    <a:pt x="107" y="244"/>
                  </a:lnTo>
                  <a:lnTo>
                    <a:pt x="117" y="254"/>
                  </a:lnTo>
                  <a:lnTo>
                    <a:pt x="107" y="273"/>
                  </a:lnTo>
                  <a:lnTo>
                    <a:pt x="97" y="283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73"/>
                  </a:lnTo>
                  <a:lnTo>
                    <a:pt x="39" y="273"/>
                  </a:lnTo>
                  <a:lnTo>
                    <a:pt x="29" y="283"/>
                  </a:lnTo>
                  <a:lnTo>
                    <a:pt x="29" y="293"/>
                  </a:lnTo>
                  <a:lnTo>
                    <a:pt x="9" y="303"/>
                  </a:lnTo>
                  <a:lnTo>
                    <a:pt x="0" y="313"/>
                  </a:lnTo>
                  <a:lnTo>
                    <a:pt x="9" y="322"/>
                  </a:lnTo>
                  <a:lnTo>
                    <a:pt x="9" y="332"/>
                  </a:lnTo>
                  <a:lnTo>
                    <a:pt x="9" y="342"/>
                  </a:lnTo>
                  <a:lnTo>
                    <a:pt x="9" y="352"/>
                  </a:lnTo>
                  <a:lnTo>
                    <a:pt x="29" y="352"/>
                  </a:lnTo>
                  <a:lnTo>
                    <a:pt x="48" y="352"/>
                  </a:lnTo>
                  <a:lnTo>
                    <a:pt x="58" y="361"/>
                  </a:lnTo>
                  <a:lnTo>
                    <a:pt x="88" y="361"/>
                  </a:lnTo>
                  <a:lnTo>
                    <a:pt x="107" y="371"/>
                  </a:lnTo>
                  <a:lnTo>
                    <a:pt x="107" y="391"/>
                  </a:lnTo>
                  <a:lnTo>
                    <a:pt x="127" y="381"/>
                  </a:lnTo>
                  <a:lnTo>
                    <a:pt x="136" y="391"/>
                  </a:lnTo>
                  <a:lnTo>
                    <a:pt x="127" y="410"/>
                  </a:lnTo>
                  <a:lnTo>
                    <a:pt x="146" y="420"/>
                  </a:lnTo>
                  <a:lnTo>
                    <a:pt x="136" y="430"/>
                  </a:lnTo>
                  <a:lnTo>
                    <a:pt x="136" y="439"/>
                  </a:lnTo>
                  <a:lnTo>
                    <a:pt x="136" y="459"/>
                  </a:lnTo>
                  <a:lnTo>
                    <a:pt x="127" y="478"/>
                  </a:lnTo>
                  <a:lnTo>
                    <a:pt x="136" y="488"/>
                  </a:lnTo>
                  <a:lnTo>
                    <a:pt x="136" y="527"/>
                  </a:lnTo>
                  <a:lnTo>
                    <a:pt x="146" y="537"/>
                  </a:lnTo>
                  <a:lnTo>
                    <a:pt x="136" y="556"/>
                  </a:lnTo>
                  <a:lnTo>
                    <a:pt x="146" y="586"/>
                  </a:lnTo>
                  <a:lnTo>
                    <a:pt x="146" y="595"/>
                  </a:lnTo>
                  <a:lnTo>
                    <a:pt x="166" y="586"/>
                  </a:lnTo>
                  <a:lnTo>
                    <a:pt x="166" y="576"/>
                  </a:lnTo>
                  <a:lnTo>
                    <a:pt x="175" y="556"/>
                  </a:lnTo>
                  <a:lnTo>
                    <a:pt x="166" y="54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387"/>
            <p:cNvSpPr>
              <a:spLocks/>
            </p:cNvSpPr>
            <p:nvPr/>
          </p:nvSpPr>
          <p:spPr bwMode="auto">
            <a:xfrm>
              <a:off x="1365" y="1505"/>
              <a:ext cx="334" cy="254"/>
            </a:xfrm>
            <a:custGeom>
              <a:avLst/>
              <a:gdLst>
                <a:gd name="T0" fmla="*/ 146 w 331"/>
                <a:gd name="T1" fmla="*/ 214 h 253"/>
                <a:gd name="T2" fmla="*/ 117 w 331"/>
                <a:gd name="T3" fmla="*/ 224 h 253"/>
                <a:gd name="T4" fmla="*/ 97 w 331"/>
                <a:gd name="T5" fmla="*/ 234 h 253"/>
                <a:gd name="T6" fmla="*/ 87 w 331"/>
                <a:gd name="T7" fmla="*/ 234 h 253"/>
                <a:gd name="T8" fmla="*/ 78 w 331"/>
                <a:gd name="T9" fmla="*/ 234 h 253"/>
                <a:gd name="T10" fmla="*/ 48 w 331"/>
                <a:gd name="T11" fmla="*/ 234 h 253"/>
                <a:gd name="T12" fmla="*/ 19 w 331"/>
                <a:gd name="T13" fmla="*/ 234 h 253"/>
                <a:gd name="T14" fmla="*/ 9 w 331"/>
                <a:gd name="T15" fmla="*/ 234 h 253"/>
                <a:gd name="T16" fmla="*/ 0 w 331"/>
                <a:gd name="T17" fmla="*/ 214 h 253"/>
                <a:gd name="T18" fmla="*/ 9 w 331"/>
                <a:gd name="T19" fmla="*/ 195 h 253"/>
                <a:gd name="T20" fmla="*/ 9 w 331"/>
                <a:gd name="T21" fmla="*/ 195 h 253"/>
                <a:gd name="T22" fmla="*/ 9 w 331"/>
                <a:gd name="T23" fmla="*/ 175 h 253"/>
                <a:gd name="T24" fmla="*/ 9 w 331"/>
                <a:gd name="T25" fmla="*/ 156 h 253"/>
                <a:gd name="T26" fmla="*/ 19 w 331"/>
                <a:gd name="T27" fmla="*/ 156 h 253"/>
                <a:gd name="T28" fmla="*/ 29 w 331"/>
                <a:gd name="T29" fmla="*/ 136 h 253"/>
                <a:gd name="T30" fmla="*/ 29 w 331"/>
                <a:gd name="T31" fmla="*/ 117 h 253"/>
                <a:gd name="T32" fmla="*/ 29 w 331"/>
                <a:gd name="T33" fmla="*/ 97 h 253"/>
                <a:gd name="T34" fmla="*/ 39 w 331"/>
                <a:gd name="T35" fmla="*/ 97 h 253"/>
                <a:gd name="T36" fmla="*/ 48 w 331"/>
                <a:gd name="T37" fmla="*/ 78 h 253"/>
                <a:gd name="T38" fmla="*/ 68 w 331"/>
                <a:gd name="T39" fmla="*/ 68 h 253"/>
                <a:gd name="T40" fmla="*/ 68 w 331"/>
                <a:gd name="T41" fmla="*/ 48 h 253"/>
                <a:gd name="T42" fmla="*/ 68 w 331"/>
                <a:gd name="T43" fmla="*/ 39 h 253"/>
                <a:gd name="T44" fmla="*/ 87 w 331"/>
                <a:gd name="T45" fmla="*/ 39 h 253"/>
                <a:gd name="T46" fmla="*/ 97 w 331"/>
                <a:gd name="T47" fmla="*/ 39 h 253"/>
                <a:gd name="T48" fmla="*/ 107 w 331"/>
                <a:gd name="T49" fmla="*/ 29 h 253"/>
                <a:gd name="T50" fmla="*/ 107 w 331"/>
                <a:gd name="T51" fmla="*/ 19 h 253"/>
                <a:gd name="T52" fmla="*/ 117 w 331"/>
                <a:gd name="T53" fmla="*/ 9 h 253"/>
                <a:gd name="T54" fmla="*/ 136 w 331"/>
                <a:gd name="T55" fmla="*/ 9 h 253"/>
                <a:gd name="T56" fmla="*/ 146 w 331"/>
                <a:gd name="T57" fmla="*/ 0 h 253"/>
                <a:gd name="T58" fmla="*/ 156 w 331"/>
                <a:gd name="T59" fmla="*/ 0 h 253"/>
                <a:gd name="T60" fmla="*/ 165 w 331"/>
                <a:gd name="T61" fmla="*/ 9 h 253"/>
                <a:gd name="T62" fmla="*/ 165 w 331"/>
                <a:gd name="T63" fmla="*/ 29 h 253"/>
                <a:gd name="T64" fmla="*/ 175 w 331"/>
                <a:gd name="T65" fmla="*/ 39 h 253"/>
                <a:gd name="T66" fmla="*/ 195 w 331"/>
                <a:gd name="T67" fmla="*/ 87 h 253"/>
                <a:gd name="T68" fmla="*/ 224 w 331"/>
                <a:gd name="T69" fmla="*/ 107 h 253"/>
                <a:gd name="T70" fmla="*/ 243 w 331"/>
                <a:gd name="T71" fmla="*/ 126 h 253"/>
                <a:gd name="T72" fmla="*/ 282 w 331"/>
                <a:gd name="T73" fmla="*/ 136 h 253"/>
                <a:gd name="T74" fmla="*/ 302 w 331"/>
                <a:gd name="T75" fmla="*/ 126 h 253"/>
                <a:gd name="T76" fmla="*/ 312 w 331"/>
                <a:gd name="T77" fmla="*/ 136 h 253"/>
                <a:gd name="T78" fmla="*/ 312 w 331"/>
                <a:gd name="T79" fmla="*/ 156 h 253"/>
                <a:gd name="T80" fmla="*/ 312 w 331"/>
                <a:gd name="T81" fmla="*/ 175 h 253"/>
                <a:gd name="T82" fmla="*/ 321 w 331"/>
                <a:gd name="T83" fmla="*/ 185 h 253"/>
                <a:gd name="T84" fmla="*/ 331 w 331"/>
                <a:gd name="T85" fmla="*/ 195 h 253"/>
                <a:gd name="T86" fmla="*/ 331 w 331"/>
                <a:gd name="T87" fmla="*/ 204 h 253"/>
                <a:gd name="T88" fmla="*/ 321 w 331"/>
                <a:gd name="T89" fmla="*/ 214 h 253"/>
                <a:gd name="T90" fmla="*/ 292 w 331"/>
                <a:gd name="T91" fmla="*/ 234 h 253"/>
                <a:gd name="T92" fmla="*/ 273 w 331"/>
                <a:gd name="T93" fmla="*/ 243 h 253"/>
                <a:gd name="T94" fmla="*/ 253 w 331"/>
                <a:gd name="T95" fmla="*/ 253 h 253"/>
                <a:gd name="T96" fmla="*/ 234 w 331"/>
                <a:gd name="T97" fmla="*/ 253 h 253"/>
                <a:gd name="T98" fmla="*/ 214 w 331"/>
                <a:gd name="T99" fmla="*/ 243 h 253"/>
                <a:gd name="T100" fmla="*/ 195 w 331"/>
                <a:gd name="T101" fmla="*/ 253 h 253"/>
                <a:gd name="T102" fmla="*/ 175 w 331"/>
                <a:gd name="T103" fmla="*/ 243 h 253"/>
                <a:gd name="T104" fmla="*/ 165 w 331"/>
                <a:gd name="T105" fmla="*/ 243 h 253"/>
                <a:gd name="T106" fmla="*/ 156 w 331"/>
                <a:gd name="T107" fmla="*/ 243 h 253"/>
                <a:gd name="T108" fmla="*/ 156 w 331"/>
                <a:gd name="T109" fmla="*/ 234 h 253"/>
                <a:gd name="T110" fmla="*/ 146 w 331"/>
                <a:gd name="T111" fmla="*/ 214 h 2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1"/>
                <a:gd name="T169" fmla="*/ 0 h 253"/>
                <a:gd name="T170" fmla="*/ 331 w 331"/>
                <a:gd name="T171" fmla="*/ 253 h 2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1" h="253">
                  <a:moveTo>
                    <a:pt x="146" y="214"/>
                  </a:moveTo>
                  <a:lnTo>
                    <a:pt x="117" y="224"/>
                  </a:lnTo>
                  <a:lnTo>
                    <a:pt x="97" y="234"/>
                  </a:lnTo>
                  <a:lnTo>
                    <a:pt x="87" y="234"/>
                  </a:lnTo>
                  <a:lnTo>
                    <a:pt x="78" y="234"/>
                  </a:lnTo>
                  <a:lnTo>
                    <a:pt x="48" y="234"/>
                  </a:lnTo>
                  <a:lnTo>
                    <a:pt x="19" y="234"/>
                  </a:lnTo>
                  <a:lnTo>
                    <a:pt x="9" y="234"/>
                  </a:lnTo>
                  <a:lnTo>
                    <a:pt x="0" y="214"/>
                  </a:lnTo>
                  <a:lnTo>
                    <a:pt x="9" y="195"/>
                  </a:lnTo>
                  <a:lnTo>
                    <a:pt x="9" y="175"/>
                  </a:lnTo>
                  <a:lnTo>
                    <a:pt x="9" y="156"/>
                  </a:lnTo>
                  <a:lnTo>
                    <a:pt x="19" y="15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97"/>
                  </a:lnTo>
                  <a:lnTo>
                    <a:pt x="39" y="97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68" y="48"/>
                  </a:lnTo>
                  <a:lnTo>
                    <a:pt x="68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7" y="29"/>
                  </a:lnTo>
                  <a:lnTo>
                    <a:pt x="107" y="19"/>
                  </a:lnTo>
                  <a:lnTo>
                    <a:pt x="117" y="9"/>
                  </a:lnTo>
                  <a:lnTo>
                    <a:pt x="136" y="9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5" y="9"/>
                  </a:lnTo>
                  <a:lnTo>
                    <a:pt x="165" y="29"/>
                  </a:lnTo>
                  <a:lnTo>
                    <a:pt x="175" y="39"/>
                  </a:lnTo>
                  <a:lnTo>
                    <a:pt x="195" y="87"/>
                  </a:lnTo>
                  <a:lnTo>
                    <a:pt x="224" y="107"/>
                  </a:lnTo>
                  <a:lnTo>
                    <a:pt x="243" y="126"/>
                  </a:lnTo>
                  <a:lnTo>
                    <a:pt x="282" y="136"/>
                  </a:lnTo>
                  <a:lnTo>
                    <a:pt x="302" y="126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12" y="175"/>
                  </a:lnTo>
                  <a:lnTo>
                    <a:pt x="321" y="185"/>
                  </a:lnTo>
                  <a:lnTo>
                    <a:pt x="331" y="195"/>
                  </a:lnTo>
                  <a:lnTo>
                    <a:pt x="331" y="204"/>
                  </a:lnTo>
                  <a:lnTo>
                    <a:pt x="321" y="214"/>
                  </a:lnTo>
                  <a:lnTo>
                    <a:pt x="292" y="234"/>
                  </a:lnTo>
                  <a:lnTo>
                    <a:pt x="273" y="243"/>
                  </a:lnTo>
                  <a:lnTo>
                    <a:pt x="253" y="253"/>
                  </a:lnTo>
                  <a:lnTo>
                    <a:pt x="234" y="253"/>
                  </a:lnTo>
                  <a:lnTo>
                    <a:pt x="214" y="243"/>
                  </a:lnTo>
                  <a:lnTo>
                    <a:pt x="195" y="253"/>
                  </a:lnTo>
                  <a:lnTo>
                    <a:pt x="175" y="243"/>
                  </a:lnTo>
                  <a:lnTo>
                    <a:pt x="165" y="243"/>
                  </a:lnTo>
                  <a:lnTo>
                    <a:pt x="156" y="243"/>
                  </a:lnTo>
                  <a:lnTo>
                    <a:pt x="156" y="234"/>
                  </a:lnTo>
                  <a:lnTo>
                    <a:pt x="146" y="21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4" name="Group 384"/>
            <p:cNvGrpSpPr>
              <a:grpSpLocks/>
            </p:cNvGrpSpPr>
            <p:nvPr/>
          </p:nvGrpSpPr>
          <p:grpSpPr bwMode="auto">
            <a:xfrm>
              <a:off x="1366" y="1503"/>
              <a:ext cx="331" cy="253"/>
              <a:chOff x="1366" y="1503"/>
              <a:chExt cx="331" cy="253"/>
            </a:xfrm>
          </p:grpSpPr>
          <p:sp>
            <p:nvSpPr>
              <p:cNvPr id="386" name="Freeform 386"/>
              <p:cNvSpPr>
                <a:spLocks/>
              </p:cNvSpPr>
              <p:nvPr/>
            </p:nvSpPr>
            <p:spPr bwMode="auto">
              <a:xfrm>
                <a:off x="1367" y="1502"/>
                <a:ext cx="331" cy="254"/>
              </a:xfrm>
              <a:custGeom>
                <a:avLst/>
                <a:gdLst>
                  <a:gd name="T0" fmla="*/ 146 w 331"/>
                  <a:gd name="T1" fmla="*/ 214 h 253"/>
                  <a:gd name="T2" fmla="*/ 117 w 331"/>
                  <a:gd name="T3" fmla="*/ 224 h 253"/>
                  <a:gd name="T4" fmla="*/ 97 w 331"/>
                  <a:gd name="T5" fmla="*/ 234 h 253"/>
                  <a:gd name="T6" fmla="*/ 87 w 331"/>
                  <a:gd name="T7" fmla="*/ 234 h 253"/>
                  <a:gd name="T8" fmla="*/ 78 w 331"/>
                  <a:gd name="T9" fmla="*/ 234 h 253"/>
                  <a:gd name="T10" fmla="*/ 48 w 331"/>
                  <a:gd name="T11" fmla="*/ 234 h 253"/>
                  <a:gd name="T12" fmla="*/ 19 w 331"/>
                  <a:gd name="T13" fmla="*/ 234 h 253"/>
                  <a:gd name="T14" fmla="*/ 9 w 331"/>
                  <a:gd name="T15" fmla="*/ 234 h 253"/>
                  <a:gd name="T16" fmla="*/ 0 w 331"/>
                  <a:gd name="T17" fmla="*/ 214 h 253"/>
                  <a:gd name="T18" fmla="*/ 9 w 331"/>
                  <a:gd name="T19" fmla="*/ 195 h 253"/>
                  <a:gd name="T20" fmla="*/ 9 w 331"/>
                  <a:gd name="T21" fmla="*/ 195 h 253"/>
                  <a:gd name="T22" fmla="*/ 0 w 331"/>
                  <a:gd name="T23" fmla="*/ 175 h 253"/>
                  <a:gd name="T24" fmla="*/ 0 w 331"/>
                  <a:gd name="T25" fmla="*/ 156 h 253"/>
                  <a:gd name="T26" fmla="*/ 19 w 331"/>
                  <a:gd name="T27" fmla="*/ 156 h 253"/>
                  <a:gd name="T28" fmla="*/ 29 w 331"/>
                  <a:gd name="T29" fmla="*/ 136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75 w 331"/>
                  <a:gd name="T65" fmla="*/ 39 h 253"/>
                  <a:gd name="T66" fmla="*/ 195 w 331"/>
                  <a:gd name="T67" fmla="*/ 78 h 253"/>
                  <a:gd name="T68" fmla="*/ 224 w 331"/>
                  <a:gd name="T69" fmla="*/ 107 h 253"/>
                  <a:gd name="T70" fmla="*/ 253 w 331"/>
                  <a:gd name="T71" fmla="*/ 126 h 253"/>
                  <a:gd name="T72" fmla="*/ 282 w 331"/>
                  <a:gd name="T73" fmla="*/ 136 h 253"/>
                  <a:gd name="T74" fmla="*/ 302 w 331"/>
                  <a:gd name="T75" fmla="*/ 126 h 253"/>
                  <a:gd name="T76" fmla="*/ 312 w 331"/>
                  <a:gd name="T77" fmla="*/ 136 h 253"/>
                  <a:gd name="T78" fmla="*/ 312 w 331"/>
                  <a:gd name="T79" fmla="*/ 156 h 253"/>
                  <a:gd name="T80" fmla="*/ 312 w 331"/>
                  <a:gd name="T81" fmla="*/ 175 h 253"/>
                  <a:gd name="T82" fmla="*/ 321 w 331"/>
                  <a:gd name="T83" fmla="*/ 185 h 253"/>
                  <a:gd name="T84" fmla="*/ 331 w 331"/>
                  <a:gd name="T85" fmla="*/ 195 h 253"/>
                  <a:gd name="T86" fmla="*/ 331 w 331"/>
                  <a:gd name="T87" fmla="*/ 204 h 253"/>
                  <a:gd name="T88" fmla="*/ 321 w 331"/>
                  <a:gd name="T89" fmla="*/ 214 h 253"/>
                  <a:gd name="T90" fmla="*/ 292 w 331"/>
                  <a:gd name="T91" fmla="*/ 234 h 253"/>
                  <a:gd name="T92" fmla="*/ 273 w 331"/>
                  <a:gd name="T93" fmla="*/ 243 h 253"/>
                  <a:gd name="T94" fmla="*/ 253 w 331"/>
                  <a:gd name="T95" fmla="*/ 253 h 253"/>
                  <a:gd name="T96" fmla="*/ 234 w 331"/>
                  <a:gd name="T97" fmla="*/ 253 h 253"/>
                  <a:gd name="T98" fmla="*/ 214 w 331"/>
                  <a:gd name="T99" fmla="*/ 243 h 253"/>
                  <a:gd name="T100" fmla="*/ 195 w 331"/>
                  <a:gd name="T101" fmla="*/ 253 h 253"/>
                  <a:gd name="T102" fmla="*/ 175 w 331"/>
                  <a:gd name="T103" fmla="*/ 243 h 253"/>
                  <a:gd name="T104" fmla="*/ 165 w 331"/>
                  <a:gd name="T105" fmla="*/ 243 h 253"/>
                  <a:gd name="T106" fmla="*/ 156 w 331"/>
                  <a:gd name="T107" fmla="*/ 243 h 253"/>
                  <a:gd name="T108" fmla="*/ 156 w 331"/>
                  <a:gd name="T109" fmla="*/ 234 h 253"/>
                  <a:gd name="T110" fmla="*/ 146 w 331"/>
                  <a:gd name="T111" fmla="*/ 214 h 2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31"/>
                  <a:gd name="T169" fmla="*/ 0 h 253"/>
                  <a:gd name="T170" fmla="*/ 331 w 331"/>
                  <a:gd name="T171" fmla="*/ 253 h 253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  <a:lnTo>
                      <a:pt x="146" y="214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7" name="Freeform 385"/>
              <p:cNvSpPr>
                <a:spLocks/>
              </p:cNvSpPr>
              <p:nvPr/>
            </p:nvSpPr>
            <p:spPr bwMode="auto">
              <a:xfrm>
                <a:off x="1367" y="1502"/>
                <a:ext cx="331" cy="254"/>
              </a:xfrm>
              <a:custGeom>
                <a:avLst/>
                <a:gdLst>
                  <a:gd name="T0" fmla="*/ 146 w 331"/>
                  <a:gd name="T1" fmla="*/ 214 h 253"/>
                  <a:gd name="T2" fmla="*/ 117 w 331"/>
                  <a:gd name="T3" fmla="*/ 224 h 253"/>
                  <a:gd name="T4" fmla="*/ 97 w 331"/>
                  <a:gd name="T5" fmla="*/ 234 h 253"/>
                  <a:gd name="T6" fmla="*/ 87 w 331"/>
                  <a:gd name="T7" fmla="*/ 234 h 253"/>
                  <a:gd name="T8" fmla="*/ 78 w 331"/>
                  <a:gd name="T9" fmla="*/ 234 h 253"/>
                  <a:gd name="T10" fmla="*/ 48 w 331"/>
                  <a:gd name="T11" fmla="*/ 234 h 253"/>
                  <a:gd name="T12" fmla="*/ 19 w 331"/>
                  <a:gd name="T13" fmla="*/ 234 h 253"/>
                  <a:gd name="T14" fmla="*/ 9 w 331"/>
                  <a:gd name="T15" fmla="*/ 234 h 253"/>
                  <a:gd name="T16" fmla="*/ 0 w 331"/>
                  <a:gd name="T17" fmla="*/ 214 h 253"/>
                  <a:gd name="T18" fmla="*/ 9 w 331"/>
                  <a:gd name="T19" fmla="*/ 195 h 253"/>
                  <a:gd name="T20" fmla="*/ 9 w 331"/>
                  <a:gd name="T21" fmla="*/ 195 h 253"/>
                  <a:gd name="T22" fmla="*/ 0 w 331"/>
                  <a:gd name="T23" fmla="*/ 175 h 253"/>
                  <a:gd name="T24" fmla="*/ 0 w 331"/>
                  <a:gd name="T25" fmla="*/ 156 h 253"/>
                  <a:gd name="T26" fmla="*/ 19 w 331"/>
                  <a:gd name="T27" fmla="*/ 156 h 253"/>
                  <a:gd name="T28" fmla="*/ 29 w 331"/>
                  <a:gd name="T29" fmla="*/ 136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75 w 331"/>
                  <a:gd name="T65" fmla="*/ 39 h 253"/>
                  <a:gd name="T66" fmla="*/ 195 w 331"/>
                  <a:gd name="T67" fmla="*/ 78 h 253"/>
                  <a:gd name="T68" fmla="*/ 224 w 331"/>
                  <a:gd name="T69" fmla="*/ 107 h 253"/>
                  <a:gd name="T70" fmla="*/ 253 w 331"/>
                  <a:gd name="T71" fmla="*/ 126 h 253"/>
                  <a:gd name="T72" fmla="*/ 282 w 331"/>
                  <a:gd name="T73" fmla="*/ 136 h 253"/>
                  <a:gd name="T74" fmla="*/ 302 w 331"/>
                  <a:gd name="T75" fmla="*/ 126 h 253"/>
                  <a:gd name="T76" fmla="*/ 312 w 331"/>
                  <a:gd name="T77" fmla="*/ 136 h 253"/>
                  <a:gd name="T78" fmla="*/ 312 w 331"/>
                  <a:gd name="T79" fmla="*/ 156 h 253"/>
                  <a:gd name="T80" fmla="*/ 312 w 331"/>
                  <a:gd name="T81" fmla="*/ 175 h 253"/>
                  <a:gd name="T82" fmla="*/ 321 w 331"/>
                  <a:gd name="T83" fmla="*/ 185 h 253"/>
                  <a:gd name="T84" fmla="*/ 331 w 331"/>
                  <a:gd name="T85" fmla="*/ 195 h 253"/>
                  <a:gd name="T86" fmla="*/ 331 w 331"/>
                  <a:gd name="T87" fmla="*/ 204 h 253"/>
                  <a:gd name="T88" fmla="*/ 321 w 331"/>
                  <a:gd name="T89" fmla="*/ 214 h 253"/>
                  <a:gd name="T90" fmla="*/ 292 w 331"/>
                  <a:gd name="T91" fmla="*/ 234 h 253"/>
                  <a:gd name="T92" fmla="*/ 273 w 331"/>
                  <a:gd name="T93" fmla="*/ 243 h 253"/>
                  <a:gd name="T94" fmla="*/ 253 w 331"/>
                  <a:gd name="T95" fmla="*/ 253 h 253"/>
                  <a:gd name="T96" fmla="*/ 234 w 331"/>
                  <a:gd name="T97" fmla="*/ 253 h 253"/>
                  <a:gd name="T98" fmla="*/ 214 w 331"/>
                  <a:gd name="T99" fmla="*/ 243 h 253"/>
                  <a:gd name="T100" fmla="*/ 195 w 331"/>
                  <a:gd name="T101" fmla="*/ 253 h 253"/>
                  <a:gd name="T102" fmla="*/ 175 w 331"/>
                  <a:gd name="T103" fmla="*/ 243 h 253"/>
                  <a:gd name="T104" fmla="*/ 165 w 331"/>
                  <a:gd name="T105" fmla="*/ 243 h 253"/>
                  <a:gd name="T106" fmla="*/ 156 w 331"/>
                  <a:gd name="T107" fmla="*/ 243 h 253"/>
                  <a:gd name="T108" fmla="*/ 156 w 331"/>
                  <a:gd name="T109" fmla="*/ 234 h 25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31"/>
                  <a:gd name="T166" fmla="*/ 0 h 253"/>
                  <a:gd name="T167" fmla="*/ 331 w 331"/>
                  <a:gd name="T168" fmla="*/ 253 h 25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5" name="Freeform 383"/>
            <p:cNvSpPr>
              <a:spLocks/>
            </p:cNvSpPr>
            <p:nvPr/>
          </p:nvSpPr>
          <p:spPr bwMode="auto">
            <a:xfrm>
              <a:off x="1200" y="1678"/>
              <a:ext cx="252" cy="244"/>
            </a:xfrm>
            <a:custGeom>
              <a:avLst/>
              <a:gdLst>
                <a:gd name="T0" fmla="*/ 127 w 253"/>
                <a:gd name="T1" fmla="*/ 244 h 244"/>
                <a:gd name="T2" fmla="*/ 107 w 253"/>
                <a:gd name="T3" fmla="*/ 244 h 244"/>
                <a:gd name="T4" fmla="*/ 78 w 253"/>
                <a:gd name="T5" fmla="*/ 225 h 244"/>
                <a:gd name="T6" fmla="*/ 97 w 253"/>
                <a:gd name="T7" fmla="*/ 195 h 244"/>
                <a:gd name="T8" fmla="*/ 88 w 253"/>
                <a:gd name="T9" fmla="*/ 166 h 244"/>
                <a:gd name="T10" fmla="*/ 68 w 253"/>
                <a:gd name="T11" fmla="*/ 166 h 244"/>
                <a:gd name="T12" fmla="*/ 58 w 253"/>
                <a:gd name="T13" fmla="*/ 147 h 244"/>
                <a:gd name="T14" fmla="*/ 39 w 253"/>
                <a:gd name="T15" fmla="*/ 107 h 244"/>
                <a:gd name="T16" fmla="*/ 19 w 253"/>
                <a:gd name="T17" fmla="*/ 107 h 244"/>
                <a:gd name="T18" fmla="*/ 0 w 253"/>
                <a:gd name="T19" fmla="*/ 88 h 244"/>
                <a:gd name="T20" fmla="*/ 10 w 253"/>
                <a:gd name="T21" fmla="*/ 59 h 244"/>
                <a:gd name="T22" fmla="*/ 29 w 253"/>
                <a:gd name="T23" fmla="*/ 49 h 244"/>
                <a:gd name="T24" fmla="*/ 49 w 253"/>
                <a:gd name="T25" fmla="*/ 29 h 244"/>
                <a:gd name="T26" fmla="*/ 58 w 253"/>
                <a:gd name="T27" fmla="*/ 10 h 244"/>
                <a:gd name="T28" fmla="*/ 78 w 253"/>
                <a:gd name="T29" fmla="*/ 0 h 244"/>
                <a:gd name="T30" fmla="*/ 97 w 253"/>
                <a:gd name="T31" fmla="*/ 10 h 244"/>
                <a:gd name="T32" fmla="*/ 97 w 253"/>
                <a:gd name="T33" fmla="*/ 39 h 244"/>
                <a:gd name="T34" fmla="*/ 117 w 253"/>
                <a:gd name="T35" fmla="*/ 59 h 244"/>
                <a:gd name="T36" fmla="*/ 146 w 253"/>
                <a:gd name="T37" fmla="*/ 59 h 244"/>
                <a:gd name="T38" fmla="*/ 166 w 253"/>
                <a:gd name="T39" fmla="*/ 39 h 244"/>
                <a:gd name="T40" fmla="*/ 185 w 253"/>
                <a:gd name="T41" fmla="*/ 59 h 244"/>
                <a:gd name="T42" fmla="*/ 244 w 253"/>
                <a:gd name="T43" fmla="*/ 59 h 244"/>
                <a:gd name="T44" fmla="*/ 253 w 253"/>
                <a:gd name="T45" fmla="*/ 59 h 244"/>
                <a:gd name="T46" fmla="*/ 253 w 253"/>
                <a:gd name="T47" fmla="*/ 88 h 244"/>
                <a:gd name="T48" fmla="*/ 253 w 253"/>
                <a:gd name="T49" fmla="*/ 107 h 244"/>
                <a:gd name="T50" fmla="*/ 253 w 253"/>
                <a:gd name="T51" fmla="*/ 137 h 244"/>
                <a:gd name="T52" fmla="*/ 234 w 253"/>
                <a:gd name="T53" fmla="*/ 156 h 244"/>
                <a:gd name="T54" fmla="*/ 234 w 253"/>
                <a:gd name="T55" fmla="*/ 186 h 244"/>
                <a:gd name="T56" fmla="*/ 214 w 253"/>
                <a:gd name="T57" fmla="*/ 205 h 244"/>
                <a:gd name="T58" fmla="*/ 185 w 253"/>
                <a:gd name="T59" fmla="*/ 195 h 244"/>
                <a:gd name="T60" fmla="*/ 166 w 253"/>
                <a:gd name="T61" fmla="*/ 205 h 244"/>
                <a:gd name="T62" fmla="*/ 166 w 253"/>
                <a:gd name="T63" fmla="*/ 225 h 244"/>
                <a:gd name="T64" fmla="*/ 146 w 253"/>
                <a:gd name="T65" fmla="*/ 225 h 244"/>
                <a:gd name="T66" fmla="*/ 127 w 253"/>
                <a:gd name="T67" fmla="*/ 234 h 24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3"/>
                <a:gd name="T103" fmla="*/ 0 h 244"/>
                <a:gd name="T104" fmla="*/ 253 w 253"/>
                <a:gd name="T105" fmla="*/ 244 h 24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3" h="244">
                  <a:moveTo>
                    <a:pt x="136" y="244"/>
                  </a:moveTo>
                  <a:lnTo>
                    <a:pt x="127" y="244"/>
                  </a:lnTo>
                  <a:lnTo>
                    <a:pt x="117" y="244"/>
                  </a:lnTo>
                  <a:lnTo>
                    <a:pt x="107" y="244"/>
                  </a:lnTo>
                  <a:lnTo>
                    <a:pt x="68" y="234"/>
                  </a:lnTo>
                  <a:lnTo>
                    <a:pt x="78" y="225"/>
                  </a:lnTo>
                  <a:lnTo>
                    <a:pt x="88" y="205"/>
                  </a:lnTo>
                  <a:lnTo>
                    <a:pt x="97" y="195"/>
                  </a:lnTo>
                  <a:lnTo>
                    <a:pt x="97" y="186"/>
                  </a:lnTo>
                  <a:lnTo>
                    <a:pt x="88" y="166"/>
                  </a:lnTo>
                  <a:lnTo>
                    <a:pt x="68" y="166"/>
                  </a:lnTo>
                  <a:lnTo>
                    <a:pt x="68" y="156"/>
                  </a:lnTo>
                  <a:lnTo>
                    <a:pt x="58" y="147"/>
                  </a:lnTo>
                  <a:lnTo>
                    <a:pt x="49" y="137"/>
                  </a:lnTo>
                  <a:lnTo>
                    <a:pt x="39" y="107"/>
                  </a:lnTo>
                  <a:lnTo>
                    <a:pt x="29" y="107"/>
                  </a:lnTo>
                  <a:lnTo>
                    <a:pt x="19" y="107"/>
                  </a:lnTo>
                  <a:lnTo>
                    <a:pt x="0" y="107"/>
                  </a:lnTo>
                  <a:lnTo>
                    <a:pt x="0" y="88"/>
                  </a:lnTo>
                  <a:lnTo>
                    <a:pt x="0" y="68"/>
                  </a:lnTo>
                  <a:lnTo>
                    <a:pt x="10" y="5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39" y="39"/>
                  </a:lnTo>
                  <a:lnTo>
                    <a:pt x="49" y="29"/>
                  </a:lnTo>
                  <a:lnTo>
                    <a:pt x="58" y="29"/>
                  </a:lnTo>
                  <a:lnTo>
                    <a:pt x="58" y="10"/>
                  </a:lnTo>
                  <a:lnTo>
                    <a:pt x="68" y="0"/>
                  </a:lnTo>
                  <a:lnTo>
                    <a:pt x="78" y="0"/>
                  </a:lnTo>
                  <a:lnTo>
                    <a:pt x="88" y="0"/>
                  </a:lnTo>
                  <a:lnTo>
                    <a:pt x="97" y="10"/>
                  </a:lnTo>
                  <a:lnTo>
                    <a:pt x="97" y="29"/>
                  </a:lnTo>
                  <a:lnTo>
                    <a:pt x="97" y="39"/>
                  </a:lnTo>
                  <a:lnTo>
                    <a:pt x="97" y="49"/>
                  </a:lnTo>
                  <a:lnTo>
                    <a:pt x="117" y="59"/>
                  </a:lnTo>
                  <a:lnTo>
                    <a:pt x="136" y="59"/>
                  </a:lnTo>
                  <a:lnTo>
                    <a:pt x="146" y="59"/>
                  </a:lnTo>
                  <a:lnTo>
                    <a:pt x="156" y="68"/>
                  </a:lnTo>
                  <a:lnTo>
                    <a:pt x="166" y="39"/>
                  </a:lnTo>
                  <a:lnTo>
                    <a:pt x="175" y="59"/>
                  </a:lnTo>
                  <a:lnTo>
                    <a:pt x="185" y="59"/>
                  </a:lnTo>
                  <a:lnTo>
                    <a:pt x="214" y="59"/>
                  </a:lnTo>
                  <a:lnTo>
                    <a:pt x="244" y="59"/>
                  </a:lnTo>
                  <a:lnTo>
                    <a:pt x="253" y="59"/>
                  </a:lnTo>
                  <a:lnTo>
                    <a:pt x="253" y="78"/>
                  </a:lnTo>
                  <a:lnTo>
                    <a:pt x="253" y="88"/>
                  </a:lnTo>
                  <a:lnTo>
                    <a:pt x="253" y="98"/>
                  </a:lnTo>
                  <a:lnTo>
                    <a:pt x="253" y="107"/>
                  </a:lnTo>
                  <a:lnTo>
                    <a:pt x="253" y="117"/>
                  </a:lnTo>
                  <a:lnTo>
                    <a:pt x="253" y="137"/>
                  </a:lnTo>
                  <a:lnTo>
                    <a:pt x="234" y="147"/>
                  </a:lnTo>
                  <a:lnTo>
                    <a:pt x="234" y="156"/>
                  </a:lnTo>
                  <a:lnTo>
                    <a:pt x="244" y="166"/>
                  </a:lnTo>
                  <a:lnTo>
                    <a:pt x="234" y="186"/>
                  </a:lnTo>
                  <a:lnTo>
                    <a:pt x="224" y="195"/>
                  </a:lnTo>
                  <a:lnTo>
                    <a:pt x="214" y="205"/>
                  </a:lnTo>
                  <a:lnTo>
                    <a:pt x="205" y="205"/>
                  </a:lnTo>
                  <a:lnTo>
                    <a:pt x="185" y="195"/>
                  </a:lnTo>
                  <a:lnTo>
                    <a:pt x="175" y="195"/>
                  </a:lnTo>
                  <a:lnTo>
                    <a:pt x="166" y="205"/>
                  </a:lnTo>
                  <a:lnTo>
                    <a:pt x="175" y="215"/>
                  </a:lnTo>
                  <a:lnTo>
                    <a:pt x="166" y="225"/>
                  </a:lnTo>
                  <a:lnTo>
                    <a:pt x="156" y="225"/>
                  </a:lnTo>
                  <a:lnTo>
                    <a:pt x="146" y="225"/>
                  </a:lnTo>
                  <a:lnTo>
                    <a:pt x="127" y="225"/>
                  </a:lnTo>
                  <a:lnTo>
                    <a:pt x="127" y="234"/>
                  </a:lnTo>
                  <a:lnTo>
                    <a:pt x="136" y="24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82"/>
            <p:cNvSpPr>
              <a:spLocks/>
            </p:cNvSpPr>
            <p:nvPr/>
          </p:nvSpPr>
          <p:spPr bwMode="auto">
            <a:xfrm>
              <a:off x="1435" y="1716"/>
              <a:ext cx="264" cy="186"/>
            </a:xfrm>
            <a:custGeom>
              <a:avLst/>
              <a:gdLst>
                <a:gd name="T0" fmla="*/ 244 w 263"/>
                <a:gd name="T1" fmla="*/ 186 h 186"/>
                <a:gd name="T2" fmla="*/ 224 w 263"/>
                <a:gd name="T3" fmla="*/ 186 h 186"/>
                <a:gd name="T4" fmla="*/ 195 w 263"/>
                <a:gd name="T5" fmla="*/ 186 h 186"/>
                <a:gd name="T6" fmla="*/ 166 w 263"/>
                <a:gd name="T7" fmla="*/ 186 h 186"/>
                <a:gd name="T8" fmla="*/ 156 w 263"/>
                <a:gd name="T9" fmla="*/ 176 h 186"/>
                <a:gd name="T10" fmla="*/ 136 w 263"/>
                <a:gd name="T11" fmla="*/ 156 h 186"/>
                <a:gd name="T12" fmla="*/ 136 w 263"/>
                <a:gd name="T13" fmla="*/ 147 h 186"/>
                <a:gd name="T14" fmla="*/ 127 w 263"/>
                <a:gd name="T15" fmla="*/ 156 h 186"/>
                <a:gd name="T16" fmla="*/ 127 w 263"/>
                <a:gd name="T17" fmla="*/ 176 h 186"/>
                <a:gd name="T18" fmla="*/ 107 w 263"/>
                <a:gd name="T19" fmla="*/ 176 h 186"/>
                <a:gd name="T20" fmla="*/ 88 w 263"/>
                <a:gd name="T21" fmla="*/ 176 h 186"/>
                <a:gd name="T22" fmla="*/ 78 w 263"/>
                <a:gd name="T23" fmla="*/ 186 h 186"/>
                <a:gd name="T24" fmla="*/ 68 w 263"/>
                <a:gd name="T25" fmla="*/ 186 h 186"/>
                <a:gd name="T26" fmla="*/ 58 w 263"/>
                <a:gd name="T27" fmla="*/ 186 h 186"/>
                <a:gd name="T28" fmla="*/ 49 w 263"/>
                <a:gd name="T29" fmla="*/ 176 h 186"/>
                <a:gd name="T30" fmla="*/ 10 w 263"/>
                <a:gd name="T31" fmla="*/ 147 h 186"/>
                <a:gd name="T32" fmla="*/ 10 w 263"/>
                <a:gd name="T33" fmla="*/ 137 h 186"/>
                <a:gd name="T34" fmla="*/ 0 w 263"/>
                <a:gd name="T35" fmla="*/ 117 h 186"/>
                <a:gd name="T36" fmla="*/ 10 w 263"/>
                <a:gd name="T37" fmla="*/ 108 h 186"/>
                <a:gd name="T38" fmla="*/ 19 w 263"/>
                <a:gd name="T39" fmla="*/ 98 h 186"/>
                <a:gd name="T40" fmla="*/ 19 w 263"/>
                <a:gd name="T41" fmla="*/ 88 h 186"/>
                <a:gd name="T42" fmla="*/ 19 w 263"/>
                <a:gd name="T43" fmla="*/ 68 h 186"/>
                <a:gd name="T44" fmla="*/ 19 w 263"/>
                <a:gd name="T45" fmla="*/ 59 h 186"/>
                <a:gd name="T46" fmla="*/ 19 w 263"/>
                <a:gd name="T47" fmla="*/ 49 h 186"/>
                <a:gd name="T48" fmla="*/ 29 w 263"/>
                <a:gd name="T49" fmla="*/ 39 h 186"/>
                <a:gd name="T50" fmla="*/ 19 w 263"/>
                <a:gd name="T51" fmla="*/ 20 h 186"/>
                <a:gd name="T52" fmla="*/ 19 w 263"/>
                <a:gd name="T53" fmla="*/ 20 h 186"/>
                <a:gd name="T54" fmla="*/ 29 w 263"/>
                <a:gd name="T55" fmla="*/ 20 h 186"/>
                <a:gd name="T56" fmla="*/ 49 w 263"/>
                <a:gd name="T57" fmla="*/ 10 h 186"/>
                <a:gd name="T58" fmla="*/ 78 w 263"/>
                <a:gd name="T59" fmla="*/ 0 h 186"/>
                <a:gd name="T60" fmla="*/ 88 w 263"/>
                <a:gd name="T61" fmla="*/ 20 h 186"/>
                <a:gd name="T62" fmla="*/ 88 w 263"/>
                <a:gd name="T63" fmla="*/ 29 h 186"/>
                <a:gd name="T64" fmla="*/ 107 w 263"/>
                <a:gd name="T65" fmla="*/ 29 h 186"/>
                <a:gd name="T66" fmla="*/ 107 w 263"/>
                <a:gd name="T67" fmla="*/ 29 h 186"/>
                <a:gd name="T68" fmla="*/ 127 w 263"/>
                <a:gd name="T69" fmla="*/ 39 h 186"/>
                <a:gd name="T70" fmla="*/ 146 w 263"/>
                <a:gd name="T71" fmla="*/ 29 h 186"/>
                <a:gd name="T72" fmla="*/ 166 w 263"/>
                <a:gd name="T73" fmla="*/ 39 h 186"/>
                <a:gd name="T74" fmla="*/ 195 w 263"/>
                <a:gd name="T75" fmla="*/ 39 h 186"/>
                <a:gd name="T76" fmla="*/ 205 w 263"/>
                <a:gd name="T77" fmla="*/ 29 h 186"/>
                <a:gd name="T78" fmla="*/ 214 w 263"/>
                <a:gd name="T79" fmla="*/ 49 h 186"/>
                <a:gd name="T80" fmla="*/ 214 w 263"/>
                <a:gd name="T81" fmla="*/ 68 h 186"/>
                <a:gd name="T82" fmla="*/ 234 w 263"/>
                <a:gd name="T83" fmla="*/ 88 h 186"/>
                <a:gd name="T84" fmla="*/ 244 w 263"/>
                <a:gd name="T85" fmla="*/ 88 h 186"/>
                <a:gd name="T86" fmla="*/ 253 w 263"/>
                <a:gd name="T87" fmla="*/ 88 h 186"/>
                <a:gd name="T88" fmla="*/ 263 w 263"/>
                <a:gd name="T89" fmla="*/ 117 h 186"/>
                <a:gd name="T90" fmla="*/ 263 w 263"/>
                <a:gd name="T91" fmla="*/ 147 h 186"/>
                <a:gd name="T92" fmla="*/ 244 w 263"/>
                <a:gd name="T93" fmla="*/ 156 h 186"/>
                <a:gd name="T94" fmla="*/ 234 w 263"/>
                <a:gd name="T95" fmla="*/ 176 h 186"/>
                <a:gd name="T96" fmla="*/ 244 w 263"/>
                <a:gd name="T97" fmla="*/ 186 h 18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63"/>
                <a:gd name="T148" fmla="*/ 0 h 186"/>
                <a:gd name="T149" fmla="*/ 263 w 263"/>
                <a:gd name="T150" fmla="*/ 186 h 18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63" h="186">
                  <a:moveTo>
                    <a:pt x="244" y="186"/>
                  </a:moveTo>
                  <a:lnTo>
                    <a:pt x="224" y="186"/>
                  </a:lnTo>
                  <a:lnTo>
                    <a:pt x="195" y="186"/>
                  </a:lnTo>
                  <a:lnTo>
                    <a:pt x="166" y="186"/>
                  </a:lnTo>
                  <a:lnTo>
                    <a:pt x="156" y="176"/>
                  </a:lnTo>
                  <a:lnTo>
                    <a:pt x="136" y="156"/>
                  </a:lnTo>
                  <a:lnTo>
                    <a:pt x="136" y="147"/>
                  </a:lnTo>
                  <a:lnTo>
                    <a:pt x="127" y="156"/>
                  </a:lnTo>
                  <a:lnTo>
                    <a:pt x="127" y="176"/>
                  </a:lnTo>
                  <a:lnTo>
                    <a:pt x="107" y="17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68" y="186"/>
                  </a:lnTo>
                  <a:lnTo>
                    <a:pt x="58" y="186"/>
                  </a:lnTo>
                  <a:lnTo>
                    <a:pt x="49" y="176"/>
                  </a:lnTo>
                  <a:lnTo>
                    <a:pt x="10" y="147"/>
                  </a:lnTo>
                  <a:lnTo>
                    <a:pt x="10" y="13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9" y="98"/>
                  </a:lnTo>
                  <a:lnTo>
                    <a:pt x="19" y="88"/>
                  </a:lnTo>
                  <a:lnTo>
                    <a:pt x="19" y="68"/>
                  </a:lnTo>
                  <a:lnTo>
                    <a:pt x="19" y="59"/>
                  </a:lnTo>
                  <a:lnTo>
                    <a:pt x="19" y="49"/>
                  </a:lnTo>
                  <a:lnTo>
                    <a:pt x="29" y="39"/>
                  </a:lnTo>
                  <a:lnTo>
                    <a:pt x="19" y="20"/>
                  </a:lnTo>
                  <a:lnTo>
                    <a:pt x="29" y="20"/>
                  </a:lnTo>
                  <a:lnTo>
                    <a:pt x="49" y="10"/>
                  </a:lnTo>
                  <a:lnTo>
                    <a:pt x="78" y="0"/>
                  </a:lnTo>
                  <a:lnTo>
                    <a:pt x="88" y="20"/>
                  </a:lnTo>
                  <a:lnTo>
                    <a:pt x="88" y="29"/>
                  </a:lnTo>
                  <a:lnTo>
                    <a:pt x="107" y="29"/>
                  </a:lnTo>
                  <a:lnTo>
                    <a:pt x="127" y="39"/>
                  </a:lnTo>
                  <a:lnTo>
                    <a:pt x="146" y="29"/>
                  </a:lnTo>
                  <a:lnTo>
                    <a:pt x="166" y="39"/>
                  </a:lnTo>
                  <a:lnTo>
                    <a:pt x="195" y="39"/>
                  </a:lnTo>
                  <a:lnTo>
                    <a:pt x="205" y="29"/>
                  </a:lnTo>
                  <a:lnTo>
                    <a:pt x="214" y="49"/>
                  </a:lnTo>
                  <a:lnTo>
                    <a:pt x="214" y="68"/>
                  </a:lnTo>
                  <a:lnTo>
                    <a:pt x="234" y="88"/>
                  </a:lnTo>
                  <a:lnTo>
                    <a:pt x="244" y="88"/>
                  </a:lnTo>
                  <a:lnTo>
                    <a:pt x="253" y="88"/>
                  </a:lnTo>
                  <a:lnTo>
                    <a:pt x="263" y="117"/>
                  </a:lnTo>
                  <a:lnTo>
                    <a:pt x="263" y="147"/>
                  </a:lnTo>
                  <a:lnTo>
                    <a:pt x="244" y="156"/>
                  </a:lnTo>
                  <a:lnTo>
                    <a:pt x="234" y="176"/>
                  </a:lnTo>
                  <a:lnTo>
                    <a:pt x="244" y="18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Freeform 381"/>
            <p:cNvSpPr>
              <a:spLocks/>
            </p:cNvSpPr>
            <p:nvPr/>
          </p:nvSpPr>
          <p:spPr bwMode="auto">
            <a:xfrm>
              <a:off x="1638" y="1688"/>
              <a:ext cx="254" cy="322"/>
            </a:xfrm>
            <a:custGeom>
              <a:avLst/>
              <a:gdLst>
                <a:gd name="T0" fmla="*/ 48 w 253"/>
                <a:gd name="T1" fmla="*/ 234 h 322"/>
                <a:gd name="T2" fmla="*/ 48 w 253"/>
                <a:gd name="T3" fmla="*/ 244 h 322"/>
                <a:gd name="T4" fmla="*/ 48 w 253"/>
                <a:gd name="T5" fmla="*/ 273 h 322"/>
                <a:gd name="T6" fmla="*/ 39 w 253"/>
                <a:gd name="T7" fmla="*/ 302 h 322"/>
                <a:gd name="T8" fmla="*/ 48 w 253"/>
                <a:gd name="T9" fmla="*/ 302 h 322"/>
                <a:gd name="T10" fmla="*/ 68 w 253"/>
                <a:gd name="T11" fmla="*/ 302 h 322"/>
                <a:gd name="T12" fmla="*/ 87 w 253"/>
                <a:gd name="T13" fmla="*/ 293 h 322"/>
                <a:gd name="T14" fmla="*/ 97 w 253"/>
                <a:gd name="T15" fmla="*/ 302 h 322"/>
                <a:gd name="T16" fmla="*/ 146 w 253"/>
                <a:gd name="T17" fmla="*/ 322 h 322"/>
                <a:gd name="T18" fmla="*/ 185 w 253"/>
                <a:gd name="T19" fmla="*/ 322 h 322"/>
                <a:gd name="T20" fmla="*/ 205 w 253"/>
                <a:gd name="T21" fmla="*/ 312 h 322"/>
                <a:gd name="T22" fmla="*/ 224 w 253"/>
                <a:gd name="T23" fmla="*/ 302 h 322"/>
                <a:gd name="T24" fmla="*/ 224 w 253"/>
                <a:gd name="T25" fmla="*/ 273 h 322"/>
                <a:gd name="T26" fmla="*/ 214 w 253"/>
                <a:gd name="T27" fmla="*/ 244 h 322"/>
                <a:gd name="T28" fmla="*/ 214 w 253"/>
                <a:gd name="T29" fmla="*/ 205 h 322"/>
                <a:gd name="T30" fmla="*/ 205 w 253"/>
                <a:gd name="T31" fmla="*/ 176 h 322"/>
                <a:gd name="T32" fmla="*/ 253 w 253"/>
                <a:gd name="T33" fmla="*/ 127 h 322"/>
                <a:gd name="T34" fmla="*/ 253 w 253"/>
                <a:gd name="T35" fmla="*/ 97 h 322"/>
                <a:gd name="T36" fmla="*/ 244 w 253"/>
                <a:gd name="T37" fmla="*/ 88 h 322"/>
                <a:gd name="T38" fmla="*/ 224 w 253"/>
                <a:gd name="T39" fmla="*/ 68 h 322"/>
                <a:gd name="T40" fmla="*/ 205 w 253"/>
                <a:gd name="T41" fmla="*/ 78 h 322"/>
                <a:gd name="T42" fmla="*/ 185 w 253"/>
                <a:gd name="T43" fmla="*/ 78 h 322"/>
                <a:gd name="T44" fmla="*/ 166 w 253"/>
                <a:gd name="T45" fmla="*/ 49 h 322"/>
                <a:gd name="T46" fmla="*/ 127 w 253"/>
                <a:gd name="T47" fmla="*/ 19 h 322"/>
                <a:gd name="T48" fmla="*/ 107 w 253"/>
                <a:gd name="T49" fmla="*/ 0 h 322"/>
                <a:gd name="T50" fmla="*/ 68 w 253"/>
                <a:gd name="T51" fmla="*/ 0 h 322"/>
                <a:gd name="T52" fmla="*/ 58 w 253"/>
                <a:gd name="T53" fmla="*/ 19 h 322"/>
                <a:gd name="T54" fmla="*/ 19 w 253"/>
                <a:gd name="T55" fmla="*/ 49 h 322"/>
                <a:gd name="T56" fmla="*/ 9 w 253"/>
                <a:gd name="T57" fmla="*/ 78 h 322"/>
                <a:gd name="T58" fmla="*/ 29 w 253"/>
                <a:gd name="T59" fmla="*/ 107 h 322"/>
                <a:gd name="T60" fmla="*/ 48 w 253"/>
                <a:gd name="T61" fmla="*/ 117 h 322"/>
                <a:gd name="T62" fmla="*/ 58 w 253"/>
                <a:gd name="T63" fmla="*/ 176 h 322"/>
                <a:gd name="T64" fmla="*/ 97 w 253"/>
                <a:gd name="T65" fmla="*/ 156 h 322"/>
                <a:gd name="T66" fmla="*/ 97 w 253"/>
                <a:gd name="T67" fmla="*/ 146 h 322"/>
                <a:gd name="T68" fmla="*/ 117 w 253"/>
                <a:gd name="T69" fmla="*/ 127 h 322"/>
                <a:gd name="T70" fmla="*/ 146 w 253"/>
                <a:gd name="T71" fmla="*/ 127 h 322"/>
                <a:gd name="T72" fmla="*/ 166 w 253"/>
                <a:gd name="T73" fmla="*/ 127 h 322"/>
                <a:gd name="T74" fmla="*/ 175 w 253"/>
                <a:gd name="T75" fmla="*/ 146 h 322"/>
                <a:gd name="T76" fmla="*/ 175 w 253"/>
                <a:gd name="T77" fmla="*/ 166 h 322"/>
                <a:gd name="T78" fmla="*/ 166 w 253"/>
                <a:gd name="T79" fmla="*/ 185 h 322"/>
                <a:gd name="T80" fmla="*/ 136 w 253"/>
                <a:gd name="T81" fmla="*/ 185 h 322"/>
                <a:gd name="T82" fmla="*/ 117 w 253"/>
                <a:gd name="T83" fmla="*/ 185 h 322"/>
                <a:gd name="T84" fmla="*/ 97 w 253"/>
                <a:gd name="T85" fmla="*/ 176 h 322"/>
                <a:gd name="T86" fmla="*/ 58 w 253"/>
                <a:gd name="T87" fmla="*/ 176 h 322"/>
                <a:gd name="T88" fmla="*/ 29 w 253"/>
                <a:gd name="T89" fmla="*/ 205 h 322"/>
                <a:gd name="T90" fmla="*/ 39 w 253"/>
                <a:gd name="T91" fmla="*/ 224 h 3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53"/>
                <a:gd name="T139" fmla="*/ 0 h 322"/>
                <a:gd name="T140" fmla="*/ 253 w 253"/>
                <a:gd name="T141" fmla="*/ 322 h 32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53" h="322">
                  <a:moveTo>
                    <a:pt x="39" y="234"/>
                  </a:moveTo>
                  <a:lnTo>
                    <a:pt x="48" y="234"/>
                  </a:lnTo>
                  <a:lnTo>
                    <a:pt x="58" y="234"/>
                  </a:lnTo>
                  <a:lnTo>
                    <a:pt x="48" y="244"/>
                  </a:lnTo>
                  <a:lnTo>
                    <a:pt x="58" y="263"/>
                  </a:lnTo>
                  <a:lnTo>
                    <a:pt x="48" y="273"/>
                  </a:lnTo>
                  <a:lnTo>
                    <a:pt x="39" y="283"/>
                  </a:lnTo>
                  <a:lnTo>
                    <a:pt x="39" y="302"/>
                  </a:lnTo>
                  <a:lnTo>
                    <a:pt x="39" y="312"/>
                  </a:lnTo>
                  <a:lnTo>
                    <a:pt x="48" y="302"/>
                  </a:lnTo>
                  <a:lnTo>
                    <a:pt x="58" y="312"/>
                  </a:lnTo>
                  <a:lnTo>
                    <a:pt x="68" y="302"/>
                  </a:lnTo>
                  <a:lnTo>
                    <a:pt x="68" y="293"/>
                  </a:lnTo>
                  <a:lnTo>
                    <a:pt x="87" y="293"/>
                  </a:lnTo>
                  <a:lnTo>
                    <a:pt x="97" y="302"/>
                  </a:lnTo>
                  <a:lnTo>
                    <a:pt x="117" y="302"/>
                  </a:lnTo>
                  <a:lnTo>
                    <a:pt x="146" y="322"/>
                  </a:lnTo>
                  <a:lnTo>
                    <a:pt x="166" y="312"/>
                  </a:lnTo>
                  <a:lnTo>
                    <a:pt x="185" y="322"/>
                  </a:lnTo>
                  <a:lnTo>
                    <a:pt x="205" y="322"/>
                  </a:lnTo>
                  <a:lnTo>
                    <a:pt x="205" y="312"/>
                  </a:lnTo>
                  <a:lnTo>
                    <a:pt x="224" y="312"/>
                  </a:lnTo>
                  <a:lnTo>
                    <a:pt x="224" y="302"/>
                  </a:lnTo>
                  <a:lnTo>
                    <a:pt x="224" y="283"/>
                  </a:lnTo>
                  <a:lnTo>
                    <a:pt x="224" y="273"/>
                  </a:lnTo>
                  <a:lnTo>
                    <a:pt x="234" y="263"/>
                  </a:lnTo>
                  <a:lnTo>
                    <a:pt x="214" y="244"/>
                  </a:lnTo>
                  <a:lnTo>
                    <a:pt x="214" y="224"/>
                  </a:lnTo>
                  <a:lnTo>
                    <a:pt x="214" y="205"/>
                  </a:lnTo>
                  <a:lnTo>
                    <a:pt x="205" y="195"/>
                  </a:lnTo>
                  <a:lnTo>
                    <a:pt x="205" y="176"/>
                  </a:lnTo>
                  <a:lnTo>
                    <a:pt x="244" y="146"/>
                  </a:lnTo>
                  <a:lnTo>
                    <a:pt x="253" y="127"/>
                  </a:lnTo>
                  <a:lnTo>
                    <a:pt x="253" y="107"/>
                  </a:lnTo>
                  <a:lnTo>
                    <a:pt x="253" y="97"/>
                  </a:lnTo>
                  <a:lnTo>
                    <a:pt x="253" y="88"/>
                  </a:lnTo>
                  <a:lnTo>
                    <a:pt x="244" y="88"/>
                  </a:lnTo>
                  <a:lnTo>
                    <a:pt x="234" y="68"/>
                  </a:lnTo>
                  <a:lnTo>
                    <a:pt x="224" y="68"/>
                  </a:lnTo>
                  <a:lnTo>
                    <a:pt x="214" y="78"/>
                  </a:lnTo>
                  <a:lnTo>
                    <a:pt x="205" y="78"/>
                  </a:lnTo>
                  <a:lnTo>
                    <a:pt x="195" y="78"/>
                  </a:lnTo>
                  <a:lnTo>
                    <a:pt x="185" y="78"/>
                  </a:lnTo>
                  <a:lnTo>
                    <a:pt x="185" y="58"/>
                  </a:lnTo>
                  <a:lnTo>
                    <a:pt x="166" y="49"/>
                  </a:lnTo>
                  <a:lnTo>
                    <a:pt x="127" y="39"/>
                  </a:lnTo>
                  <a:lnTo>
                    <a:pt x="127" y="19"/>
                  </a:lnTo>
                  <a:lnTo>
                    <a:pt x="127" y="0"/>
                  </a:lnTo>
                  <a:lnTo>
                    <a:pt x="107" y="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58" y="10"/>
                  </a:lnTo>
                  <a:lnTo>
                    <a:pt x="58" y="19"/>
                  </a:lnTo>
                  <a:lnTo>
                    <a:pt x="48" y="29"/>
                  </a:lnTo>
                  <a:lnTo>
                    <a:pt x="19" y="49"/>
                  </a:lnTo>
                  <a:lnTo>
                    <a:pt x="0" y="58"/>
                  </a:lnTo>
                  <a:lnTo>
                    <a:pt x="9" y="78"/>
                  </a:lnTo>
                  <a:lnTo>
                    <a:pt x="9" y="97"/>
                  </a:lnTo>
                  <a:lnTo>
                    <a:pt x="29" y="107"/>
                  </a:lnTo>
                  <a:lnTo>
                    <a:pt x="39" y="117"/>
                  </a:lnTo>
                  <a:lnTo>
                    <a:pt x="48" y="117"/>
                  </a:lnTo>
                  <a:lnTo>
                    <a:pt x="58" y="146"/>
                  </a:lnTo>
                  <a:lnTo>
                    <a:pt x="58" y="176"/>
                  </a:lnTo>
                  <a:lnTo>
                    <a:pt x="97" y="166"/>
                  </a:lnTo>
                  <a:lnTo>
                    <a:pt x="97" y="156"/>
                  </a:lnTo>
                  <a:lnTo>
                    <a:pt x="97" y="146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27" y="127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66" y="127"/>
                  </a:lnTo>
                  <a:lnTo>
                    <a:pt x="175" y="137"/>
                  </a:lnTo>
                  <a:lnTo>
                    <a:pt x="175" y="146"/>
                  </a:lnTo>
                  <a:lnTo>
                    <a:pt x="175" y="156"/>
                  </a:lnTo>
                  <a:lnTo>
                    <a:pt x="175" y="166"/>
                  </a:lnTo>
                  <a:lnTo>
                    <a:pt x="175" y="176"/>
                  </a:lnTo>
                  <a:lnTo>
                    <a:pt x="166" y="185"/>
                  </a:lnTo>
                  <a:lnTo>
                    <a:pt x="156" y="185"/>
                  </a:lnTo>
                  <a:lnTo>
                    <a:pt x="136" y="185"/>
                  </a:lnTo>
                  <a:lnTo>
                    <a:pt x="127" y="185"/>
                  </a:lnTo>
                  <a:lnTo>
                    <a:pt x="117" y="185"/>
                  </a:lnTo>
                  <a:lnTo>
                    <a:pt x="107" y="185"/>
                  </a:lnTo>
                  <a:lnTo>
                    <a:pt x="97" y="176"/>
                  </a:lnTo>
                  <a:lnTo>
                    <a:pt x="97" y="166"/>
                  </a:lnTo>
                  <a:lnTo>
                    <a:pt x="58" y="176"/>
                  </a:lnTo>
                  <a:lnTo>
                    <a:pt x="48" y="185"/>
                  </a:lnTo>
                  <a:lnTo>
                    <a:pt x="29" y="205"/>
                  </a:lnTo>
                  <a:lnTo>
                    <a:pt x="39" y="215"/>
                  </a:lnTo>
                  <a:lnTo>
                    <a:pt x="39" y="224"/>
                  </a:lnTo>
                  <a:lnTo>
                    <a:pt x="39" y="23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380"/>
            <p:cNvSpPr>
              <a:spLocks/>
            </p:cNvSpPr>
            <p:nvPr/>
          </p:nvSpPr>
          <p:spPr bwMode="auto">
            <a:xfrm>
              <a:off x="1943" y="1852"/>
              <a:ext cx="235" cy="197"/>
            </a:xfrm>
            <a:custGeom>
              <a:avLst/>
              <a:gdLst>
                <a:gd name="T0" fmla="*/ 0 w 234"/>
                <a:gd name="T1" fmla="*/ 10 h 195"/>
                <a:gd name="T2" fmla="*/ 10 w 234"/>
                <a:gd name="T3" fmla="*/ 29 h 195"/>
                <a:gd name="T4" fmla="*/ 10 w 234"/>
                <a:gd name="T5" fmla="*/ 39 h 195"/>
                <a:gd name="T6" fmla="*/ 0 w 234"/>
                <a:gd name="T7" fmla="*/ 58 h 195"/>
                <a:gd name="T8" fmla="*/ 10 w 234"/>
                <a:gd name="T9" fmla="*/ 68 h 195"/>
                <a:gd name="T10" fmla="*/ 20 w 234"/>
                <a:gd name="T11" fmla="*/ 68 h 195"/>
                <a:gd name="T12" fmla="*/ 39 w 234"/>
                <a:gd name="T13" fmla="*/ 78 h 195"/>
                <a:gd name="T14" fmla="*/ 49 w 234"/>
                <a:gd name="T15" fmla="*/ 88 h 195"/>
                <a:gd name="T16" fmla="*/ 39 w 234"/>
                <a:gd name="T17" fmla="*/ 107 h 195"/>
                <a:gd name="T18" fmla="*/ 59 w 234"/>
                <a:gd name="T19" fmla="*/ 107 h 195"/>
                <a:gd name="T20" fmla="*/ 59 w 234"/>
                <a:gd name="T21" fmla="*/ 136 h 195"/>
                <a:gd name="T22" fmla="*/ 78 w 234"/>
                <a:gd name="T23" fmla="*/ 156 h 195"/>
                <a:gd name="T24" fmla="*/ 88 w 234"/>
                <a:gd name="T25" fmla="*/ 175 h 195"/>
                <a:gd name="T26" fmla="*/ 107 w 234"/>
                <a:gd name="T27" fmla="*/ 185 h 195"/>
                <a:gd name="T28" fmla="*/ 127 w 234"/>
                <a:gd name="T29" fmla="*/ 195 h 195"/>
                <a:gd name="T30" fmla="*/ 137 w 234"/>
                <a:gd name="T31" fmla="*/ 195 h 195"/>
                <a:gd name="T32" fmla="*/ 137 w 234"/>
                <a:gd name="T33" fmla="*/ 175 h 195"/>
                <a:gd name="T34" fmla="*/ 146 w 234"/>
                <a:gd name="T35" fmla="*/ 175 h 195"/>
                <a:gd name="T36" fmla="*/ 166 w 234"/>
                <a:gd name="T37" fmla="*/ 185 h 195"/>
                <a:gd name="T38" fmla="*/ 185 w 234"/>
                <a:gd name="T39" fmla="*/ 195 h 195"/>
                <a:gd name="T40" fmla="*/ 195 w 234"/>
                <a:gd name="T41" fmla="*/ 195 h 195"/>
                <a:gd name="T42" fmla="*/ 205 w 234"/>
                <a:gd name="T43" fmla="*/ 175 h 195"/>
                <a:gd name="T44" fmla="*/ 215 w 234"/>
                <a:gd name="T45" fmla="*/ 185 h 195"/>
                <a:gd name="T46" fmla="*/ 224 w 234"/>
                <a:gd name="T47" fmla="*/ 175 h 195"/>
                <a:gd name="T48" fmla="*/ 234 w 234"/>
                <a:gd name="T49" fmla="*/ 175 h 195"/>
                <a:gd name="T50" fmla="*/ 234 w 234"/>
                <a:gd name="T51" fmla="*/ 146 h 195"/>
                <a:gd name="T52" fmla="*/ 224 w 234"/>
                <a:gd name="T53" fmla="*/ 156 h 195"/>
                <a:gd name="T54" fmla="*/ 215 w 234"/>
                <a:gd name="T55" fmla="*/ 146 h 195"/>
                <a:gd name="T56" fmla="*/ 195 w 234"/>
                <a:gd name="T57" fmla="*/ 136 h 195"/>
                <a:gd name="T58" fmla="*/ 205 w 234"/>
                <a:gd name="T59" fmla="*/ 127 h 195"/>
                <a:gd name="T60" fmla="*/ 215 w 234"/>
                <a:gd name="T61" fmla="*/ 117 h 195"/>
                <a:gd name="T62" fmla="*/ 215 w 234"/>
                <a:gd name="T63" fmla="*/ 97 h 195"/>
                <a:gd name="T64" fmla="*/ 205 w 234"/>
                <a:gd name="T65" fmla="*/ 97 h 195"/>
                <a:gd name="T66" fmla="*/ 185 w 234"/>
                <a:gd name="T67" fmla="*/ 88 h 195"/>
                <a:gd name="T68" fmla="*/ 176 w 234"/>
                <a:gd name="T69" fmla="*/ 68 h 195"/>
                <a:gd name="T70" fmla="*/ 176 w 234"/>
                <a:gd name="T71" fmla="*/ 58 h 195"/>
                <a:gd name="T72" fmla="*/ 156 w 234"/>
                <a:gd name="T73" fmla="*/ 58 h 195"/>
                <a:gd name="T74" fmla="*/ 146 w 234"/>
                <a:gd name="T75" fmla="*/ 68 h 195"/>
                <a:gd name="T76" fmla="*/ 137 w 234"/>
                <a:gd name="T77" fmla="*/ 68 h 195"/>
                <a:gd name="T78" fmla="*/ 127 w 234"/>
                <a:gd name="T79" fmla="*/ 49 h 195"/>
                <a:gd name="T80" fmla="*/ 98 w 234"/>
                <a:gd name="T81" fmla="*/ 29 h 195"/>
                <a:gd name="T82" fmla="*/ 98 w 234"/>
                <a:gd name="T83" fmla="*/ 19 h 195"/>
                <a:gd name="T84" fmla="*/ 88 w 234"/>
                <a:gd name="T85" fmla="*/ 29 h 195"/>
                <a:gd name="T86" fmla="*/ 78 w 234"/>
                <a:gd name="T87" fmla="*/ 29 h 195"/>
                <a:gd name="T88" fmla="*/ 88 w 234"/>
                <a:gd name="T89" fmla="*/ 10 h 195"/>
                <a:gd name="T90" fmla="*/ 59 w 234"/>
                <a:gd name="T91" fmla="*/ 10 h 195"/>
                <a:gd name="T92" fmla="*/ 49 w 234"/>
                <a:gd name="T93" fmla="*/ 0 h 195"/>
                <a:gd name="T94" fmla="*/ 39 w 234"/>
                <a:gd name="T95" fmla="*/ 10 h 195"/>
                <a:gd name="T96" fmla="*/ 29 w 234"/>
                <a:gd name="T97" fmla="*/ 10 h 195"/>
                <a:gd name="T98" fmla="*/ 10 w 234"/>
                <a:gd name="T99" fmla="*/ 10 h 195"/>
                <a:gd name="T100" fmla="*/ 0 w 234"/>
                <a:gd name="T101" fmla="*/ 10 h 19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34"/>
                <a:gd name="T154" fmla="*/ 0 h 195"/>
                <a:gd name="T155" fmla="*/ 234 w 234"/>
                <a:gd name="T156" fmla="*/ 195 h 19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34" h="195">
                  <a:moveTo>
                    <a:pt x="0" y="10"/>
                  </a:moveTo>
                  <a:lnTo>
                    <a:pt x="10" y="29"/>
                  </a:lnTo>
                  <a:lnTo>
                    <a:pt x="10" y="39"/>
                  </a:lnTo>
                  <a:lnTo>
                    <a:pt x="0" y="58"/>
                  </a:lnTo>
                  <a:lnTo>
                    <a:pt x="10" y="68"/>
                  </a:lnTo>
                  <a:lnTo>
                    <a:pt x="20" y="68"/>
                  </a:lnTo>
                  <a:lnTo>
                    <a:pt x="39" y="78"/>
                  </a:lnTo>
                  <a:lnTo>
                    <a:pt x="4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59" y="136"/>
                  </a:lnTo>
                  <a:lnTo>
                    <a:pt x="78" y="156"/>
                  </a:lnTo>
                  <a:lnTo>
                    <a:pt x="88" y="175"/>
                  </a:lnTo>
                  <a:lnTo>
                    <a:pt x="107" y="185"/>
                  </a:lnTo>
                  <a:lnTo>
                    <a:pt x="127" y="195"/>
                  </a:lnTo>
                  <a:lnTo>
                    <a:pt x="137" y="195"/>
                  </a:lnTo>
                  <a:lnTo>
                    <a:pt x="137" y="175"/>
                  </a:lnTo>
                  <a:lnTo>
                    <a:pt x="146" y="175"/>
                  </a:lnTo>
                  <a:lnTo>
                    <a:pt x="166" y="185"/>
                  </a:lnTo>
                  <a:lnTo>
                    <a:pt x="185" y="195"/>
                  </a:lnTo>
                  <a:lnTo>
                    <a:pt x="195" y="195"/>
                  </a:lnTo>
                  <a:lnTo>
                    <a:pt x="205" y="175"/>
                  </a:lnTo>
                  <a:lnTo>
                    <a:pt x="215" y="185"/>
                  </a:lnTo>
                  <a:lnTo>
                    <a:pt x="224" y="175"/>
                  </a:lnTo>
                  <a:lnTo>
                    <a:pt x="234" y="175"/>
                  </a:lnTo>
                  <a:lnTo>
                    <a:pt x="234" y="146"/>
                  </a:lnTo>
                  <a:lnTo>
                    <a:pt x="224" y="156"/>
                  </a:lnTo>
                  <a:lnTo>
                    <a:pt x="215" y="146"/>
                  </a:lnTo>
                  <a:lnTo>
                    <a:pt x="195" y="136"/>
                  </a:lnTo>
                  <a:lnTo>
                    <a:pt x="205" y="127"/>
                  </a:lnTo>
                  <a:lnTo>
                    <a:pt x="215" y="117"/>
                  </a:lnTo>
                  <a:lnTo>
                    <a:pt x="215" y="97"/>
                  </a:lnTo>
                  <a:lnTo>
                    <a:pt x="205" y="97"/>
                  </a:lnTo>
                  <a:lnTo>
                    <a:pt x="185" y="88"/>
                  </a:lnTo>
                  <a:lnTo>
                    <a:pt x="176" y="68"/>
                  </a:lnTo>
                  <a:lnTo>
                    <a:pt x="176" y="58"/>
                  </a:lnTo>
                  <a:lnTo>
                    <a:pt x="156" y="58"/>
                  </a:lnTo>
                  <a:lnTo>
                    <a:pt x="146" y="68"/>
                  </a:lnTo>
                  <a:lnTo>
                    <a:pt x="137" y="68"/>
                  </a:lnTo>
                  <a:lnTo>
                    <a:pt x="127" y="49"/>
                  </a:lnTo>
                  <a:lnTo>
                    <a:pt x="98" y="29"/>
                  </a:lnTo>
                  <a:lnTo>
                    <a:pt x="98" y="19"/>
                  </a:lnTo>
                  <a:lnTo>
                    <a:pt x="88" y="29"/>
                  </a:lnTo>
                  <a:lnTo>
                    <a:pt x="78" y="29"/>
                  </a:lnTo>
                  <a:lnTo>
                    <a:pt x="88" y="10"/>
                  </a:lnTo>
                  <a:lnTo>
                    <a:pt x="59" y="10"/>
                  </a:lnTo>
                  <a:lnTo>
                    <a:pt x="49" y="0"/>
                  </a:lnTo>
                  <a:lnTo>
                    <a:pt x="39" y="10"/>
                  </a:lnTo>
                  <a:lnTo>
                    <a:pt x="29" y="10"/>
                  </a:lnTo>
                  <a:lnTo>
                    <a:pt x="1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379"/>
            <p:cNvSpPr>
              <a:spLocks/>
            </p:cNvSpPr>
            <p:nvPr/>
          </p:nvSpPr>
          <p:spPr bwMode="auto">
            <a:xfrm>
              <a:off x="1836" y="1815"/>
              <a:ext cx="220" cy="291"/>
            </a:xfrm>
            <a:custGeom>
              <a:avLst/>
              <a:gdLst>
                <a:gd name="T0" fmla="*/ 10 w 224"/>
                <a:gd name="T1" fmla="*/ 195 h 292"/>
                <a:gd name="T2" fmla="*/ 19 w 224"/>
                <a:gd name="T3" fmla="*/ 205 h 292"/>
                <a:gd name="T4" fmla="*/ 19 w 224"/>
                <a:gd name="T5" fmla="*/ 224 h 292"/>
                <a:gd name="T6" fmla="*/ 29 w 224"/>
                <a:gd name="T7" fmla="*/ 224 h 292"/>
                <a:gd name="T8" fmla="*/ 39 w 224"/>
                <a:gd name="T9" fmla="*/ 234 h 292"/>
                <a:gd name="T10" fmla="*/ 39 w 224"/>
                <a:gd name="T11" fmla="*/ 244 h 292"/>
                <a:gd name="T12" fmla="*/ 49 w 224"/>
                <a:gd name="T13" fmla="*/ 253 h 292"/>
                <a:gd name="T14" fmla="*/ 58 w 224"/>
                <a:gd name="T15" fmla="*/ 273 h 292"/>
                <a:gd name="T16" fmla="*/ 58 w 224"/>
                <a:gd name="T17" fmla="*/ 292 h 292"/>
                <a:gd name="T18" fmla="*/ 88 w 224"/>
                <a:gd name="T19" fmla="*/ 283 h 292"/>
                <a:gd name="T20" fmla="*/ 107 w 224"/>
                <a:gd name="T21" fmla="*/ 273 h 292"/>
                <a:gd name="T22" fmla="*/ 127 w 224"/>
                <a:gd name="T23" fmla="*/ 273 h 292"/>
                <a:gd name="T24" fmla="*/ 146 w 224"/>
                <a:gd name="T25" fmla="*/ 273 h 292"/>
                <a:gd name="T26" fmla="*/ 156 w 224"/>
                <a:gd name="T27" fmla="*/ 253 h 292"/>
                <a:gd name="T28" fmla="*/ 166 w 224"/>
                <a:gd name="T29" fmla="*/ 253 h 292"/>
                <a:gd name="T30" fmla="*/ 195 w 224"/>
                <a:gd name="T31" fmla="*/ 263 h 292"/>
                <a:gd name="T32" fmla="*/ 205 w 224"/>
                <a:gd name="T33" fmla="*/ 253 h 292"/>
                <a:gd name="T34" fmla="*/ 205 w 224"/>
                <a:gd name="T35" fmla="*/ 244 h 292"/>
                <a:gd name="T36" fmla="*/ 224 w 224"/>
                <a:gd name="T37" fmla="*/ 234 h 292"/>
                <a:gd name="T38" fmla="*/ 214 w 224"/>
                <a:gd name="T39" fmla="*/ 224 h 292"/>
                <a:gd name="T40" fmla="*/ 195 w 224"/>
                <a:gd name="T41" fmla="*/ 214 h 292"/>
                <a:gd name="T42" fmla="*/ 175 w 224"/>
                <a:gd name="T43" fmla="*/ 195 h 292"/>
                <a:gd name="T44" fmla="*/ 156 w 224"/>
                <a:gd name="T45" fmla="*/ 175 h 292"/>
                <a:gd name="T46" fmla="*/ 156 w 224"/>
                <a:gd name="T47" fmla="*/ 146 h 292"/>
                <a:gd name="T48" fmla="*/ 136 w 224"/>
                <a:gd name="T49" fmla="*/ 146 h 292"/>
                <a:gd name="T50" fmla="*/ 146 w 224"/>
                <a:gd name="T51" fmla="*/ 127 h 292"/>
                <a:gd name="T52" fmla="*/ 136 w 224"/>
                <a:gd name="T53" fmla="*/ 117 h 292"/>
                <a:gd name="T54" fmla="*/ 127 w 224"/>
                <a:gd name="T55" fmla="*/ 107 h 292"/>
                <a:gd name="T56" fmla="*/ 107 w 224"/>
                <a:gd name="T57" fmla="*/ 107 h 292"/>
                <a:gd name="T58" fmla="*/ 107 w 224"/>
                <a:gd name="T59" fmla="*/ 97 h 292"/>
                <a:gd name="T60" fmla="*/ 117 w 224"/>
                <a:gd name="T61" fmla="*/ 78 h 292"/>
                <a:gd name="T62" fmla="*/ 117 w 224"/>
                <a:gd name="T63" fmla="*/ 68 h 292"/>
                <a:gd name="T64" fmla="*/ 107 w 224"/>
                <a:gd name="T65" fmla="*/ 49 h 292"/>
                <a:gd name="T66" fmla="*/ 88 w 224"/>
                <a:gd name="T67" fmla="*/ 49 h 292"/>
                <a:gd name="T68" fmla="*/ 58 w 224"/>
                <a:gd name="T69" fmla="*/ 19 h 292"/>
                <a:gd name="T70" fmla="*/ 58 w 224"/>
                <a:gd name="T71" fmla="*/ 10 h 292"/>
                <a:gd name="T72" fmla="*/ 58 w 224"/>
                <a:gd name="T73" fmla="*/ 0 h 292"/>
                <a:gd name="T74" fmla="*/ 39 w 224"/>
                <a:gd name="T75" fmla="*/ 19 h 292"/>
                <a:gd name="T76" fmla="*/ 10 w 224"/>
                <a:gd name="T77" fmla="*/ 49 h 292"/>
                <a:gd name="T78" fmla="*/ 0 w 224"/>
                <a:gd name="T79" fmla="*/ 68 h 292"/>
                <a:gd name="T80" fmla="*/ 19 w 224"/>
                <a:gd name="T81" fmla="*/ 78 h 292"/>
                <a:gd name="T82" fmla="*/ 19 w 224"/>
                <a:gd name="T83" fmla="*/ 97 h 292"/>
                <a:gd name="T84" fmla="*/ 19 w 224"/>
                <a:gd name="T85" fmla="*/ 117 h 292"/>
                <a:gd name="T86" fmla="*/ 39 w 224"/>
                <a:gd name="T87" fmla="*/ 136 h 292"/>
                <a:gd name="T88" fmla="*/ 29 w 224"/>
                <a:gd name="T89" fmla="*/ 146 h 292"/>
                <a:gd name="T90" fmla="*/ 29 w 224"/>
                <a:gd name="T91" fmla="*/ 156 h 292"/>
                <a:gd name="T92" fmla="*/ 29 w 224"/>
                <a:gd name="T93" fmla="*/ 175 h 292"/>
                <a:gd name="T94" fmla="*/ 29 w 224"/>
                <a:gd name="T95" fmla="*/ 185 h 292"/>
                <a:gd name="T96" fmla="*/ 10 w 224"/>
                <a:gd name="T97" fmla="*/ 185 h 292"/>
                <a:gd name="T98" fmla="*/ 10 w 224"/>
                <a:gd name="T99" fmla="*/ 195 h 29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24"/>
                <a:gd name="T151" fmla="*/ 0 h 292"/>
                <a:gd name="T152" fmla="*/ 224 w 224"/>
                <a:gd name="T153" fmla="*/ 292 h 29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24" h="292">
                  <a:moveTo>
                    <a:pt x="10" y="195"/>
                  </a:moveTo>
                  <a:lnTo>
                    <a:pt x="19" y="205"/>
                  </a:lnTo>
                  <a:lnTo>
                    <a:pt x="19" y="224"/>
                  </a:lnTo>
                  <a:lnTo>
                    <a:pt x="29" y="224"/>
                  </a:lnTo>
                  <a:lnTo>
                    <a:pt x="39" y="234"/>
                  </a:lnTo>
                  <a:lnTo>
                    <a:pt x="39" y="244"/>
                  </a:lnTo>
                  <a:lnTo>
                    <a:pt x="49" y="253"/>
                  </a:lnTo>
                  <a:lnTo>
                    <a:pt x="58" y="273"/>
                  </a:lnTo>
                  <a:lnTo>
                    <a:pt x="58" y="292"/>
                  </a:lnTo>
                  <a:lnTo>
                    <a:pt x="88" y="283"/>
                  </a:lnTo>
                  <a:lnTo>
                    <a:pt x="107" y="27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53"/>
                  </a:lnTo>
                  <a:lnTo>
                    <a:pt x="166" y="253"/>
                  </a:lnTo>
                  <a:lnTo>
                    <a:pt x="195" y="263"/>
                  </a:lnTo>
                  <a:lnTo>
                    <a:pt x="205" y="253"/>
                  </a:lnTo>
                  <a:lnTo>
                    <a:pt x="205" y="244"/>
                  </a:lnTo>
                  <a:lnTo>
                    <a:pt x="224" y="234"/>
                  </a:lnTo>
                  <a:lnTo>
                    <a:pt x="214" y="224"/>
                  </a:lnTo>
                  <a:lnTo>
                    <a:pt x="195" y="214"/>
                  </a:lnTo>
                  <a:lnTo>
                    <a:pt x="175" y="195"/>
                  </a:lnTo>
                  <a:lnTo>
                    <a:pt x="156" y="175"/>
                  </a:lnTo>
                  <a:lnTo>
                    <a:pt x="156" y="146"/>
                  </a:lnTo>
                  <a:lnTo>
                    <a:pt x="136" y="146"/>
                  </a:lnTo>
                  <a:lnTo>
                    <a:pt x="146" y="127"/>
                  </a:lnTo>
                  <a:lnTo>
                    <a:pt x="136" y="117"/>
                  </a:lnTo>
                  <a:lnTo>
                    <a:pt x="127" y="107"/>
                  </a:lnTo>
                  <a:lnTo>
                    <a:pt x="107" y="107"/>
                  </a:lnTo>
                  <a:lnTo>
                    <a:pt x="107" y="97"/>
                  </a:lnTo>
                  <a:lnTo>
                    <a:pt x="117" y="78"/>
                  </a:lnTo>
                  <a:lnTo>
                    <a:pt x="117" y="68"/>
                  </a:lnTo>
                  <a:lnTo>
                    <a:pt x="107" y="49"/>
                  </a:lnTo>
                  <a:lnTo>
                    <a:pt x="88" y="49"/>
                  </a:lnTo>
                  <a:lnTo>
                    <a:pt x="58" y="19"/>
                  </a:lnTo>
                  <a:lnTo>
                    <a:pt x="58" y="10"/>
                  </a:lnTo>
                  <a:lnTo>
                    <a:pt x="58" y="0"/>
                  </a:lnTo>
                  <a:lnTo>
                    <a:pt x="39" y="19"/>
                  </a:lnTo>
                  <a:lnTo>
                    <a:pt x="10" y="49"/>
                  </a:lnTo>
                  <a:lnTo>
                    <a:pt x="0" y="68"/>
                  </a:lnTo>
                  <a:lnTo>
                    <a:pt x="19" y="78"/>
                  </a:lnTo>
                  <a:lnTo>
                    <a:pt x="19" y="97"/>
                  </a:lnTo>
                  <a:lnTo>
                    <a:pt x="19" y="117"/>
                  </a:lnTo>
                  <a:lnTo>
                    <a:pt x="39" y="136"/>
                  </a:lnTo>
                  <a:lnTo>
                    <a:pt x="29" y="146"/>
                  </a:lnTo>
                  <a:lnTo>
                    <a:pt x="29" y="156"/>
                  </a:lnTo>
                  <a:lnTo>
                    <a:pt x="29" y="175"/>
                  </a:lnTo>
                  <a:lnTo>
                    <a:pt x="29" y="185"/>
                  </a:lnTo>
                  <a:lnTo>
                    <a:pt x="10" y="185"/>
                  </a:lnTo>
                  <a:lnTo>
                    <a:pt x="10" y="19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378"/>
            <p:cNvSpPr>
              <a:spLocks/>
            </p:cNvSpPr>
            <p:nvPr/>
          </p:nvSpPr>
          <p:spPr bwMode="auto">
            <a:xfrm>
              <a:off x="1892" y="2031"/>
              <a:ext cx="498" cy="273"/>
            </a:xfrm>
            <a:custGeom>
              <a:avLst/>
              <a:gdLst>
                <a:gd name="T0" fmla="*/ 10 w 498"/>
                <a:gd name="T1" fmla="*/ 108 h 274"/>
                <a:gd name="T2" fmla="*/ 0 w 498"/>
                <a:gd name="T3" fmla="*/ 78 h 274"/>
                <a:gd name="T4" fmla="*/ 49 w 498"/>
                <a:gd name="T5" fmla="*/ 59 h 274"/>
                <a:gd name="T6" fmla="*/ 88 w 498"/>
                <a:gd name="T7" fmla="*/ 59 h 274"/>
                <a:gd name="T8" fmla="*/ 117 w 498"/>
                <a:gd name="T9" fmla="*/ 39 h 274"/>
                <a:gd name="T10" fmla="*/ 147 w 498"/>
                <a:gd name="T11" fmla="*/ 39 h 274"/>
                <a:gd name="T12" fmla="*/ 176 w 498"/>
                <a:gd name="T13" fmla="*/ 20 h 274"/>
                <a:gd name="T14" fmla="*/ 186 w 498"/>
                <a:gd name="T15" fmla="*/ 0 h 274"/>
                <a:gd name="T16" fmla="*/ 215 w 498"/>
                <a:gd name="T17" fmla="*/ 10 h 274"/>
                <a:gd name="T18" fmla="*/ 254 w 498"/>
                <a:gd name="T19" fmla="*/ 20 h 274"/>
                <a:gd name="T20" fmla="*/ 264 w 498"/>
                <a:gd name="T21" fmla="*/ 10 h 274"/>
                <a:gd name="T22" fmla="*/ 293 w 498"/>
                <a:gd name="T23" fmla="*/ 0 h 274"/>
                <a:gd name="T24" fmla="*/ 312 w 498"/>
                <a:gd name="T25" fmla="*/ 20 h 274"/>
                <a:gd name="T26" fmla="*/ 381 w 498"/>
                <a:gd name="T27" fmla="*/ 0 h 274"/>
                <a:gd name="T28" fmla="*/ 410 w 498"/>
                <a:gd name="T29" fmla="*/ 0 h 274"/>
                <a:gd name="T30" fmla="*/ 429 w 498"/>
                <a:gd name="T31" fmla="*/ 30 h 274"/>
                <a:gd name="T32" fmla="*/ 459 w 498"/>
                <a:gd name="T33" fmla="*/ 49 h 274"/>
                <a:gd name="T34" fmla="*/ 488 w 498"/>
                <a:gd name="T35" fmla="*/ 88 h 274"/>
                <a:gd name="T36" fmla="*/ 498 w 498"/>
                <a:gd name="T37" fmla="*/ 117 h 274"/>
                <a:gd name="T38" fmla="*/ 459 w 498"/>
                <a:gd name="T39" fmla="*/ 137 h 274"/>
                <a:gd name="T40" fmla="*/ 429 w 498"/>
                <a:gd name="T41" fmla="*/ 117 h 274"/>
                <a:gd name="T42" fmla="*/ 410 w 498"/>
                <a:gd name="T43" fmla="*/ 127 h 274"/>
                <a:gd name="T44" fmla="*/ 400 w 498"/>
                <a:gd name="T45" fmla="*/ 147 h 274"/>
                <a:gd name="T46" fmla="*/ 351 w 498"/>
                <a:gd name="T47" fmla="*/ 137 h 274"/>
                <a:gd name="T48" fmla="*/ 332 w 498"/>
                <a:gd name="T49" fmla="*/ 147 h 274"/>
                <a:gd name="T50" fmla="*/ 312 w 498"/>
                <a:gd name="T51" fmla="*/ 157 h 274"/>
                <a:gd name="T52" fmla="*/ 283 w 498"/>
                <a:gd name="T53" fmla="*/ 157 h 274"/>
                <a:gd name="T54" fmla="*/ 293 w 498"/>
                <a:gd name="T55" fmla="*/ 176 h 274"/>
                <a:gd name="T56" fmla="*/ 273 w 498"/>
                <a:gd name="T57" fmla="*/ 196 h 274"/>
                <a:gd name="T58" fmla="*/ 264 w 498"/>
                <a:gd name="T59" fmla="*/ 205 h 274"/>
                <a:gd name="T60" fmla="*/ 234 w 498"/>
                <a:gd name="T61" fmla="*/ 225 h 274"/>
                <a:gd name="T62" fmla="*/ 234 w 498"/>
                <a:gd name="T63" fmla="*/ 264 h 274"/>
                <a:gd name="T64" fmla="*/ 215 w 498"/>
                <a:gd name="T65" fmla="*/ 274 h 274"/>
                <a:gd name="T66" fmla="*/ 195 w 498"/>
                <a:gd name="T67" fmla="*/ 274 h 274"/>
                <a:gd name="T68" fmla="*/ 176 w 498"/>
                <a:gd name="T69" fmla="*/ 264 h 274"/>
                <a:gd name="T70" fmla="*/ 166 w 498"/>
                <a:gd name="T71" fmla="*/ 244 h 274"/>
                <a:gd name="T72" fmla="*/ 108 w 498"/>
                <a:gd name="T73" fmla="*/ 254 h 274"/>
                <a:gd name="T74" fmla="*/ 98 w 498"/>
                <a:gd name="T75" fmla="*/ 274 h 274"/>
                <a:gd name="T76" fmla="*/ 78 w 498"/>
                <a:gd name="T77" fmla="*/ 254 h 274"/>
                <a:gd name="T78" fmla="*/ 59 w 498"/>
                <a:gd name="T79" fmla="*/ 244 h 274"/>
                <a:gd name="T80" fmla="*/ 69 w 498"/>
                <a:gd name="T81" fmla="*/ 215 h 274"/>
                <a:gd name="T82" fmla="*/ 59 w 498"/>
                <a:gd name="T83" fmla="*/ 186 h 274"/>
                <a:gd name="T84" fmla="*/ 49 w 498"/>
                <a:gd name="T85" fmla="*/ 157 h 274"/>
                <a:gd name="T86" fmla="*/ 20 w 498"/>
                <a:gd name="T87" fmla="*/ 137 h 27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98"/>
                <a:gd name="T133" fmla="*/ 0 h 274"/>
                <a:gd name="T134" fmla="*/ 498 w 498"/>
                <a:gd name="T135" fmla="*/ 274 h 27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98" h="274">
                  <a:moveTo>
                    <a:pt x="10" y="127"/>
                  </a:moveTo>
                  <a:lnTo>
                    <a:pt x="10" y="108"/>
                  </a:lnTo>
                  <a:lnTo>
                    <a:pt x="0" y="98"/>
                  </a:lnTo>
                  <a:lnTo>
                    <a:pt x="0" y="78"/>
                  </a:lnTo>
                  <a:lnTo>
                    <a:pt x="30" y="69"/>
                  </a:lnTo>
                  <a:lnTo>
                    <a:pt x="49" y="59"/>
                  </a:lnTo>
                  <a:lnTo>
                    <a:pt x="69" y="59"/>
                  </a:lnTo>
                  <a:lnTo>
                    <a:pt x="88" y="59"/>
                  </a:lnTo>
                  <a:lnTo>
                    <a:pt x="108" y="39"/>
                  </a:lnTo>
                  <a:lnTo>
                    <a:pt x="117" y="39"/>
                  </a:lnTo>
                  <a:lnTo>
                    <a:pt x="137" y="49"/>
                  </a:lnTo>
                  <a:lnTo>
                    <a:pt x="147" y="39"/>
                  </a:lnTo>
                  <a:lnTo>
                    <a:pt x="147" y="30"/>
                  </a:lnTo>
                  <a:lnTo>
                    <a:pt x="176" y="20"/>
                  </a:lnTo>
                  <a:lnTo>
                    <a:pt x="186" y="20"/>
                  </a:lnTo>
                  <a:lnTo>
                    <a:pt x="186" y="0"/>
                  </a:lnTo>
                  <a:lnTo>
                    <a:pt x="205" y="0"/>
                  </a:lnTo>
                  <a:lnTo>
                    <a:pt x="215" y="10"/>
                  </a:lnTo>
                  <a:lnTo>
                    <a:pt x="234" y="20"/>
                  </a:lnTo>
                  <a:lnTo>
                    <a:pt x="254" y="20"/>
                  </a:lnTo>
                  <a:lnTo>
                    <a:pt x="254" y="0"/>
                  </a:lnTo>
                  <a:lnTo>
                    <a:pt x="264" y="10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293" y="10"/>
                  </a:lnTo>
                  <a:lnTo>
                    <a:pt x="312" y="20"/>
                  </a:lnTo>
                  <a:lnTo>
                    <a:pt x="361" y="20"/>
                  </a:lnTo>
                  <a:lnTo>
                    <a:pt x="381" y="0"/>
                  </a:lnTo>
                  <a:lnTo>
                    <a:pt x="390" y="0"/>
                  </a:lnTo>
                  <a:lnTo>
                    <a:pt x="410" y="0"/>
                  </a:lnTo>
                  <a:lnTo>
                    <a:pt x="410" y="20"/>
                  </a:lnTo>
                  <a:lnTo>
                    <a:pt x="429" y="30"/>
                  </a:lnTo>
                  <a:lnTo>
                    <a:pt x="449" y="39"/>
                  </a:lnTo>
                  <a:lnTo>
                    <a:pt x="459" y="49"/>
                  </a:lnTo>
                  <a:lnTo>
                    <a:pt x="469" y="69"/>
                  </a:lnTo>
                  <a:lnTo>
                    <a:pt x="488" y="88"/>
                  </a:lnTo>
                  <a:lnTo>
                    <a:pt x="498" y="98"/>
                  </a:lnTo>
                  <a:lnTo>
                    <a:pt x="498" y="117"/>
                  </a:lnTo>
                  <a:lnTo>
                    <a:pt x="478" y="127"/>
                  </a:lnTo>
                  <a:lnTo>
                    <a:pt x="459" y="137"/>
                  </a:lnTo>
                  <a:lnTo>
                    <a:pt x="449" y="127"/>
                  </a:lnTo>
                  <a:lnTo>
                    <a:pt x="429" y="117"/>
                  </a:lnTo>
                  <a:lnTo>
                    <a:pt x="420" y="117"/>
                  </a:lnTo>
                  <a:lnTo>
                    <a:pt x="410" y="127"/>
                  </a:lnTo>
                  <a:lnTo>
                    <a:pt x="410" y="137"/>
                  </a:lnTo>
                  <a:lnTo>
                    <a:pt x="400" y="147"/>
                  </a:lnTo>
                  <a:lnTo>
                    <a:pt x="381" y="166"/>
                  </a:lnTo>
                  <a:lnTo>
                    <a:pt x="351" y="137"/>
                  </a:lnTo>
                  <a:lnTo>
                    <a:pt x="342" y="137"/>
                  </a:lnTo>
                  <a:lnTo>
                    <a:pt x="332" y="147"/>
                  </a:lnTo>
                  <a:lnTo>
                    <a:pt x="312" y="147"/>
                  </a:lnTo>
                  <a:lnTo>
                    <a:pt x="312" y="157"/>
                  </a:lnTo>
                  <a:lnTo>
                    <a:pt x="293" y="137"/>
                  </a:lnTo>
                  <a:lnTo>
                    <a:pt x="283" y="157"/>
                  </a:lnTo>
                  <a:lnTo>
                    <a:pt x="293" y="166"/>
                  </a:lnTo>
                  <a:lnTo>
                    <a:pt x="293" y="176"/>
                  </a:lnTo>
                  <a:lnTo>
                    <a:pt x="283" y="176"/>
                  </a:lnTo>
                  <a:lnTo>
                    <a:pt x="273" y="196"/>
                  </a:lnTo>
                  <a:lnTo>
                    <a:pt x="273" y="205"/>
                  </a:lnTo>
                  <a:lnTo>
                    <a:pt x="264" y="205"/>
                  </a:lnTo>
                  <a:lnTo>
                    <a:pt x="254" y="225"/>
                  </a:lnTo>
                  <a:lnTo>
                    <a:pt x="234" y="225"/>
                  </a:lnTo>
                  <a:lnTo>
                    <a:pt x="234" y="235"/>
                  </a:lnTo>
                  <a:lnTo>
                    <a:pt x="234" y="264"/>
                  </a:lnTo>
                  <a:lnTo>
                    <a:pt x="215" y="27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76" y="274"/>
                  </a:lnTo>
                  <a:lnTo>
                    <a:pt x="176" y="264"/>
                  </a:lnTo>
                  <a:lnTo>
                    <a:pt x="176" y="254"/>
                  </a:lnTo>
                  <a:lnTo>
                    <a:pt x="166" y="244"/>
                  </a:lnTo>
                  <a:lnTo>
                    <a:pt x="137" y="264"/>
                  </a:lnTo>
                  <a:lnTo>
                    <a:pt x="108" y="254"/>
                  </a:lnTo>
                  <a:lnTo>
                    <a:pt x="108" y="264"/>
                  </a:lnTo>
                  <a:lnTo>
                    <a:pt x="98" y="274"/>
                  </a:lnTo>
                  <a:lnTo>
                    <a:pt x="88" y="274"/>
                  </a:lnTo>
                  <a:lnTo>
                    <a:pt x="78" y="254"/>
                  </a:lnTo>
                  <a:lnTo>
                    <a:pt x="78" y="244"/>
                  </a:lnTo>
                  <a:lnTo>
                    <a:pt x="59" y="244"/>
                  </a:lnTo>
                  <a:lnTo>
                    <a:pt x="59" y="225"/>
                  </a:lnTo>
                  <a:lnTo>
                    <a:pt x="69" y="215"/>
                  </a:lnTo>
                  <a:lnTo>
                    <a:pt x="69" y="196"/>
                  </a:lnTo>
                  <a:lnTo>
                    <a:pt x="59" y="186"/>
                  </a:lnTo>
                  <a:lnTo>
                    <a:pt x="59" y="166"/>
                  </a:lnTo>
                  <a:lnTo>
                    <a:pt x="49" y="157"/>
                  </a:lnTo>
                  <a:lnTo>
                    <a:pt x="39" y="147"/>
                  </a:lnTo>
                  <a:lnTo>
                    <a:pt x="20" y="137"/>
                  </a:lnTo>
                  <a:lnTo>
                    <a:pt x="10" y="12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377"/>
            <p:cNvSpPr>
              <a:spLocks/>
            </p:cNvSpPr>
            <p:nvPr/>
          </p:nvSpPr>
          <p:spPr bwMode="auto">
            <a:xfrm>
              <a:off x="2165" y="2167"/>
              <a:ext cx="256" cy="202"/>
            </a:xfrm>
            <a:custGeom>
              <a:avLst/>
              <a:gdLst>
                <a:gd name="T0" fmla="*/ 0 w 254"/>
                <a:gd name="T1" fmla="*/ 68 h 205"/>
                <a:gd name="T2" fmla="*/ 0 w 254"/>
                <a:gd name="T3" fmla="*/ 59 h 205"/>
                <a:gd name="T4" fmla="*/ 0 w 254"/>
                <a:gd name="T5" fmla="*/ 39 h 205"/>
                <a:gd name="T6" fmla="*/ 10 w 254"/>
                <a:gd name="T7" fmla="*/ 39 h 205"/>
                <a:gd name="T8" fmla="*/ 20 w 254"/>
                <a:gd name="T9" fmla="*/ 29 h 205"/>
                <a:gd name="T10" fmla="*/ 10 w 254"/>
                <a:gd name="T11" fmla="*/ 20 h 205"/>
                <a:gd name="T12" fmla="*/ 20 w 254"/>
                <a:gd name="T13" fmla="*/ 10 h 205"/>
                <a:gd name="T14" fmla="*/ 39 w 254"/>
                <a:gd name="T15" fmla="*/ 20 h 205"/>
                <a:gd name="T16" fmla="*/ 39 w 254"/>
                <a:gd name="T17" fmla="*/ 10 h 205"/>
                <a:gd name="T18" fmla="*/ 49 w 254"/>
                <a:gd name="T19" fmla="*/ 10 h 205"/>
                <a:gd name="T20" fmla="*/ 69 w 254"/>
                <a:gd name="T21" fmla="*/ 0 h 205"/>
                <a:gd name="T22" fmla="*/ 78 w 254"/>
                <a:gd name="T23" fmla="*/ 10 h 205"/>
                <a:gd name="T24" fmla="*/ 108 w 254"/>
                <a:gd name="T25" fmla="*/ 29 h 205"/>
                <a:gd name="T26" fmla="*/ 117 w 254"/>
                <a:gd name="T27" fmla="*/ 29 h 205"/>
                <a:gd name="T28" fmla="*/ 117 w 254"/>
                <a:gd name="T29" fmla="*/ 39 h 205"/>
                <a:gd name="T30" fmla="*/ 117 w 254"/>
                <a:gd name="T31" fmla="*/ 49 h 205"/>
                <a:gd name="T32" fmla="*/ 117 w 254"/>
                <a:gd name="T33" fmla="*/ 59 h 205"/>
                <a:gd name="T34" fmla="*/ 137 w 254"/>
                <a:gd name="T35" fmla="*/ 59 h 205"/>
                <a:gd name="T36" fmla="*/ 156 w 254"/>
                <a:gd name="T37" fmla="*/ 59 h 205"/>
                <a:gd name="T38" fmla="*/ 166 w 254"/>
                <a:gd name="T39" fmla="*/ 68 h 205"/>
                <a:gd name="T40" fmla="*/ 196 w 254"/>
                <a:gd name="T41" fmla="*/ 78 h 205"/>
                <a:gd name="T42" fmla="*/ 215 w 254"/>
                <a:gd name="T43" fmla="*/ 78 h 205"/>
                <a:gd name="T44" fmla="*/ 225 w 254"/>
                <a:gd name="T45" fmla="*/ 98 h 205"/>
                <a:gd name="T46" fmla="*/ 235 w 254"/>
                <a:gd name="T47" fmla="*/ 88 h 205"/>
                <a:gd name="T48" fmla="*/ 244 w 254"/>
                <a:gd name="T49" fmla="*/ 98 h 205"/>
                <a:gd name="T50" fmla="*/ 235 w 254"/>
                <a:gd name="T51" fmla="*/ 117 h 205"/>
                <a:gd name="T52" fmla="*/ 254 w 254"/>
                <a:gd name="T53" fmla="*/ 127 h 205"/>
                <a:gd name="T54" fmla="*/ 244 w 254"/>
                <a:gd name="T55" fmla="*/ 137 h 205"/>
                <a:gd name="T56" fmla="*/ 244 w 254"/>
                <a:gd name="T57" fmla="*/ 156 h 205"/>
                <a:gd name="T58" fmla="*/ 244 w 254"/>
                <a:gd name="T59" fmla="*/ 166 h 205"/>
                <a:gd name="T60" fmla="*/ 235 w 254"/>
                <a:gd name="T61" fmla="*/ 185 h 205"/>
                <a:gd name="T62" fmla="*/ 244 w 254"/>
                <a:gd name="T63" fmla="*/ 195 h 205"/>
                <a:gd name="T64" fmla="*/ 225 w 254"/>
                <a:gd name="T65" fmla="*/ 205 h 205"/>
                <a:gd name="T66" fmla="*/ 215 w 254"/>
                <a:gd name="T67" fmla="*/ 185 h 205"/>
                <a:gd name="T68" fmla="*/ 205 w 254"/>
                <a:gd name="T69" fmla="*/ 176 h 205"/>
                <a:gd name="T70" fmla="*/ 186 w 254"/>
                <a:gd name="T71" fmla="*/ 176 h 205"/>
                <a:gd name="T72" fmla="*/ 176 w 254"/>
                <a:gd name="T73" fmla="*/ 176 h 205"/>
                <a:gd name="T74" fmla="*/ 147 w 254"/>
                <a:gd name="T75" fmla="*/ 176 h 205"/>
                <a:gd name="T76" fmla="*/ 117 w 254"/>
                <a:gd name="T77" fmla="*/ 176 h 205"/>
                <a:gd name="T78" fmla="*/ 108 w 254"/>
                <a:gd name="T79" fmla="*/ 176 h 205"/>
                <a:gd name="T80" fmla="*/ 88 w 254"/>
                <a:gd name="T81" fmla="*/ 176 h 205"/>
                <a:gd name="T82" fmla="*/ 78 w 254"/>
                <a:gd name="T83" fmla="*/ 156 h 205"/>
                <a:gd name="T84" fmla="*/ 88 w 254"/>
                <a:gd name="T85" fmla="*/ 137 h 205"/>
                <a:gd name="T86" fmla="*/ 69 w 254"/>
                <a:gd name="T87" fmla="*/ 127 h 205"/>
                <a:gd name="T88" fmla="*/ 59 w 254"/>
                <a:gd name="T89" fmla="*/ 117 h 205"/>
                <a:gd name="T90" fmla="*/ 69 w 254"/>
                <a:gd name="T91" fmla="*/ 107 h 205"/>
                <a:gd name="T92" fmla="*/ 69 w 254"/>
                <a:gd name="T93" fmla="*/ 88 h 205"/>
                <a:gd name="T94" fmla="*/ 59 w 254"/>
                <a:gd name="T95" fmla="*/ 88 h 205"/>
                <a:gd name="T96" fmla="*/ 49 w 254"/>
                <a:gd name="T97" fmla="*/ 88 h 205"/>
                <a:gd name="T98" fmla="*/ 20 w 254"/>
                <a:gd name="T99" fmla="*/ 78 h 205"/>
                <a:gd name="T100" fmla="*/ 0 w 254"/>
                <a:gd name="T101" fmla="*/ 68 h 20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4"/>
                <a:gd name="T154" fmla="*/ 0 h 205"/>
                <a:gd name="T155" fmla="*/ 254 w 254"/>
                <a:gd name="T156" fmla="*/ 205 h 20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4" h="205">
                  <a:moveTo>
                    <a:pt x="0" y="68"/>
                  </a:moveTo>
                  <a:lnTo>
                    <a:pt x="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29"/>
                  </a:lnTo>
                  <a:lnTo>
                    <a:pt x="10" y="20"/>
                  </a:lnTo>
                  <a:lnTo>
                    <a:pt x="20" y="10"/>
                  </a:lnTo>
                  <a:lnTo>
                    <a:pt x="39" y="20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17" y="39"/>
                  </a:lnTo>
                  <a:lnTo>
                    <a:pt x="117" y="49"/>
                  </a:lnTo>
                  <a:lnTo>
                    <a:pt x="117" y="59"/>
                  </a:lnTo>
                  <a:lnTo>
                    <a:pt x="137" y="59"/>
                  </a:lnTo>
                  <a:lnTo>
                    <a:pt x="156" y="59"/>
                  </a:lnTo>
                  <a:lnTo>
                    <a:pt x="166" y="68"/>
                  </a:lnTo>
                  <a:lnTo>
                    <a:pt x="196" y="78"/>
                  </a:lnTo>
                  <a:lnTo>
                    <a:pt x="215" y="78"/>
                  </a:lnTo>
                  <a:lnTo>
                    <a:pt x="225" y="98"/>
                  </a:lnTo>
                  <a:lnTo>
                    <a:pt x="235" y="88"/>
                  </a:lnTo>
                  <a:lnTo>
                    <a:pt x="244" y="98"/>
                  </a:lnTo>
                  <a:lnTo>
                    <a:pt x="235" y="117"/>
                  </a:lnTo>
                  <a:lnTo>
                    <a:pt x="254" y="127"/>
                  </a:lnTo>
                  <a:lnTo>
                    <a:pt x="244" y="137"/>
                  </a:lnTo>
                  <a:lnTo>
                    <a:pt x="244" y="156"/>
                  </a:lnTo>
                  <a:lnTo>
                    <a:pt x="244" y="166"/>
                  </a:lnTo>
                  <a:lnTo>
                    <a:pt x="235" y="185"/>
                  </a:lnTo>
                  <a:lnTo>
                    <a:pt x="244" y="195"/>
                  </a:lnTo>
                  <a:lnTo>
                    <a:pt x="225" y="205"/>
                  </a:lnTo>
                  <a:lnTo>
                    <a:pt x="215" y="185"/>
                  </a:lnTo>
                  <a:lnTo>
                    <a:pt x="205" y="176"/>
                  </a:lnTo>
                  <a:lnTo>
                    <a:pt x="186" y="176"/>
                  </a:lnTo>
                  <a:lnTo>
                    <a:pt x="176" y="176"/>
                  </a:lnTo>
                  <a:lnTo>
                    <a:pt x="147" y="176"/>
                  </a:lnTo>
                  <a:lnTo>
                    <a:pt x="117" y="176"/>
                  </a:lnTo>
                  <a:lnTo>
                    <a:pt x="108" y="176"/>
                  </a:lnTo>
                  <a:lnTo>
                    <a:pt x="88" y="176"/>
                  </a:lnTo>
                  <a:lnTo>
                    <a:pt x="78" y="156"/>
                  </a:lnTo>
                  <a:lnTo>
                    <a:pt x="88" y="137"/>
                  </a:lnTo>
                  <a:lnTo>
                    <a:pt x="69" y="127"/>
                  </a:lnTo>
                  <a:lnTo>
                    <a:pt x="59" y="117"/>
                  </a:lnTo>
                  <a:lnTo>
                    <a:pt x="69" y="107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49" y="88"/>
                  </a:lnTo>
                  <a:lnTo>
                    <a:pt x="20" y="78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376"/>
            <p:cNvSpPr>
              <a:spLocks/>
            </p:cNvSpPr>
            <p:nvPr/>
          </p:nvSpPr>
          <p:spPr bwMode="auto">
            <a:xfrm>
              <a:off x="2603" y="633"/>
              <a:ext cx="423" cy="595"/>
            </a:xfrm>
            <a:custGeom>
              <a:avLst/>
              <a:gdLst>
                <a:gd name="T0" fmla="*/ 30 w 420"/>
                <a:gd name="T1" fmla="*/ 137 h 595"/>
                <a:gd name="T2" fmla="*/ 117 w 420"/>
                <a:gd name="T3" fmla="*/ 137 h 595"/>
                <a:gd name="T4" fmla="*/ 147 w 420"/>
                <a:gd name="T5" fmla="*/ 98 h 595"/>
                <a:gd name="T6" fmla="*/ 147 w 420"/>
                <a:gd name="T7" fmla="*/ 49 h 595"/>
                <a:gd name="T8" fmla="*/ 215 w 420"/>
                <a:gd name="T9" fmla="*/ 20 h 595"/>
                <a:gd name="T10" fmla="*/ 254 w 420"/>
                <a:gd name="T11" fmla="*/ 10 h 595"/>
                <a:gd name="T12" fmla="*/ 313 w 420"/>
                <a:gd name="T13" fmla="*/ 29 h 595"/>
                <a:gd name="T14" fmla="*/ 322 w 420"/>
                <a:gd name="T15" fmla="*/ 49 h 595"/>
                <a:gd name="T16" fmla="*/ 361 w 420"/>
                <a:gd name="T17" fmla="*/ 49 h 595"/>
                <a:gd name="T18" fmla="*/ 381 w 420"/>
                <a:gd name="T19" fmla="*/ 68 h 595"/>
                <a:gd name="T20" fmla="*/ 400 w 420"/>
                <a:gd name="T21" fmla="*/ 78 h 595"/>
                <a:gd name="T22" fmla="*/ 391 w 420"/>
                <a:gd name="T23" fmla="*/ 127 h 595"/>
                <a:gd name="T24" fmla="*/ 381 w 420"/>
                <a:gd name="T25" fmla="*/ 98 h 595"/>
                <a:gd name="T26" fmla="*/ 371 w 420"/>
                <a:gd name="T27" fmla="*/ 108 h 595"/>
                <a:gd name="T28" fmla="*/ 371 w 420"/>
                <a:gd name="T29" fmla="*/ 137 h 595"/>
                <a:gd name="T30" fmla="*/ 381 w 420"/>
                <a:gd name="T31" fmla="*/ 147 h 595"/>
                <a:gd name="T32" fmla="*/ 361 w 420"/>
                <a:gd name="T33" fmla="*/ 156 h 595"/>
                <a:gd name="T34" fmla="*/ 332 w 420"/>
                <a:gd name="T35" fmla="*/ 156 h 595"/>
                <a:gd name="T36" fmla="*/ 371 w 420"/>
                <a:gd name="T37" fmla="*/ 166 h 595"/>
                <a:gd name="T38" fmla="*/ 391 w 420"/>
                <a:gd name="T39" fmla="*/ 215 h 595"/>
                <a:gd name="T40" fmla="*/ 420 w 420"/>
                <a:gd name="T41" fmla="*/ 234 h 595"/>
                <a:gd name="T42" fmla="*/ 420 w 420"/>
                <a:gd name="T43" fmla="*/ 312 h 595"/>
                <a:gd name="T44" fmla="*/ 400 w 420"/>
                <a:gd name="T45" fmla="*/ 381 h 595"/>
                <a:gd name="T46" fmla="*/ 410 w 420"/>
                <a:gd name="T47" fmla="*/ 459 h 595"/>
                <a:gd name="T48" fmla="*/ 410 w 420"/>
                <a:gd name="T49" fmla="*/ 478 h 595"/>
                <a:gd name="T50" fmla="*/ 400 w 420"/>
                <a:gd name="T51" fmla="*/ 498 h 595"/>
                <a:gd name="T52" fmla="*/ 391 w 420"/>
                <a:gd name="T53" fmla="*/ 537 h 595"/>
                <a:gd name="T54" fmla="*/ 371 w 420"/>
                <a:gd name="T55" fmla="*/ 566 h 595"/>
                <a:gd name="T56" fmla="*/ 352 w 420"/>
                <a:gd name="T57" fmla="*/ 576 h 595"/>
                <a:gd name="T58" fmla="*/ 293 w 420"/>
                <a:gd name="T59" fmla="*/ 586 h 595"/>
                <a:gd name="T60" fmla="*/ 244 w 420"/>
                <a:gd name="T61" fmla="*/ 586 h 595"/>
                <a:gd name="T62" fmla="*/ 176 w 420"/>
                <a:gd name="T63" fmla="*/ 537 h 595"/>
                <a:gd name="T64" fmla="*/ 147 w 420"/>
                <a:gd name="T65" fmla="*/ 439 h 595"/>
                <a:gd name="T66" fmla="*/ 137 w 420"/>
                <a:gd name="T67" fmla="*/ 381 h 595"/>
                <a:gd name="T68" fmla="*/ 127 w 420"/>
                <a:gd name="T69" fmla="*/ 351 h 595"/>
                <a:gd name="T70" fmla="*/ 127 w 420"/>
                <a:gd name="T71" fmla="*/ 322 h 595"/>
                <a:gd name="T72" fmla="*/ 117 w 420"/>
                <a:gd name="T73" fmla="*/ 293 h 595"/>
                <a:gd name="T74" fmla="*/ 127 w 420"/>
                <a:gd name="T75" fmla="*/ 264 h 595"/>
                <a:gd name="T76" fmla="*/ 117 w 420"/>
                <a:gd name="T77" fmla="*/ 244 h 595"/>
                <a:gd name="T78" fmla="*/ 98 w 420"/>
                <a:gd name="T79" fmla="*/ 293 h 595"/>
                <a:gd name="T80" fmla="*/ 78 w 420"/>
                <a:gd name="T81" fmla="*/ 293 h 595"/>
                <a:gd name="T82" fmla="*/ 30 w 420"/>
                <a:gd name="T83" fmla="*/ 273 h 595"/>
                <a:gd name="T84" fmla="*/ 0 w 420"/>
                <a:gd name="T85" fmla="*/ 156 h 5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20"/>
                <a:gd name="T130" fmla="*/ 0 h 595"/>
                <a:gd name="T131" fmla="*/ 420 w 420"/>
                <a:gd name="T132" fmla="*/ 595 h 5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20" h="595">
                  <a:moveTo>
                    <a:pt x="0" y="156"/>
                  </a:moveTo>
                  <a:lnTo>
                    <a:pt x="10" y="147"/>
                  </a:lnTo>
                  <a:lnTo>
                    <a:pt x="30" y="137"/>
                  </a:lnTo>
                  <a:lnTo>
                    <a:pt x="39" y="137"/>
                  </a:lnTo>
                  <a:lnTo>
                    <a:pt x="88" y="137"/>
                  </a:lnTo>
                  <a:lnTo>
                    <a:pt x="117" y="137"/>
                  </a:lnTo>
                  <a:lnTo>
                    <a:pt x="117" y="127"/>
                  </a:lnTo>
                  <a:lnTo>
                    <a:pt x="127" y="117"/>
                  </a:lnTo>
                  <a:lnTo>
                    <a:pt x="147" y="98"/>
                  </a:lnTo>
                  <a:lnTo>
                    <a:pt x="147" y="88"/>
                  </a:lnTo>
                  <a:lnTo>
                    <a:pt x="147" y="59"/>
                  </a:lnTo>
                  <a:lnTo>
                    <a:pt x="147" y="49"/>
                  </a:lnTo>
                  <a:lnTo>
                    <a:pt x="176" y="29"/>
                  </a:lnTo>
                  <a:lnTo>
                    <a:pt x="186" y="20"/>
                  </a:lnTo>
                  <a:lnTo>
                    <a:pt x="215" y="20"/>
                  </a:lnTo>
                  <a:lnTo>
                    <a:pt x="215" y="10"/>
                  </a:lnTo>
                  <a:lnTo>
                    <a:pt x="225" y="0"/>
                  </a:lnTo>
                  <a:lnTo>
                    <a:pt x="254" y="10"/>
                  </a:lnTo>
                  <a:lnTo>
                    <a:pt x="264" y="20"/>
                  </a:lnTo>
                  <a:lnTo>
                    <a:pt x="273" y="20"/>
                  </a:lnTo>
                  <a:lnTo>
                    <a:pt x="313" y="29"/>
                  </a:lnTo>
                  <a:lnTo>
                    <a:pt x="322" y="29"/>
                  </a:lnTo>
                  <a:lnTo>
                    <a:pt x="332" y="39"/>
                  </a:lnTo>
                  <a:lnTo>
                    <a:pt x="322" y="49"/>
                  </a:lnTo>
                  <a:lnTo>
                    <a:pt x="332" y="59"/>
                  </a:lnTo>
                  <a:lnTo>
                    <a:pt x="342" y="49"/>
                  </a:lnTo>
                  <a:lnTo>
                    <a:pt x="361" y="49"/>
                  </a:lnTo>
                  <a:lnTo>
                    <a:pt x="361" y="68"/>
                  </a:lnTo>
                  <a:lnTo>
                    <a:pt x="371" y="78"/>
                  </a:lnTo>
                  <a:lnTo>
                    <a:pt x="381" y="68"/>
                  </a:lnTo>
                  <a:lnTo>
                    <a:pt x="391" y="78"/>
                  </a:lnTo>
                  <a:lnTo>
                    <a:pt x="400" y="68"/>
                  </a:lnTo>
                  <a:lnTo>
                    <a:pt x="400" y="78"/>
                  </a:lnTo>
                  <a:lnTo>
                    <a:pt x="400" y="98"/>
                  </a:lnTo>
                  <a:lnTo>
                    <a:pt x="400" y="108"/>
                  </a:lnTo>
                  <a:lnTo>
                    <a:pt x="391" y="127"/>
                  </a:lnTo>
                  <a:lnTo>
                    <a:pt x="391" y="117"/>
                  </a:lnTo>
                  <a:lnTo>
                    <a:pt x="381" y="108"/>
                  </a:lnTo>
                  <a:lnTo>
                    <a:pt x="381" y="98"/>
                  </a:lnTo>
                  <a:lnTo>
                    <a:pt x="381" y="88"/>
                  </a:lnTo>
                  <a:lnTo>
                    <a:pt x="371" y="88"/>
                  </a:lnTo>
                  <a:lnTo>
                    <a:pt x="371" y="108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1" y="137"/>
                  </a:lnTo>
                  <a:lnTo>
                    <a:pt x="361" y="137"/>
                  </a:lnTo>
                  <a:lnTo>
                    <a:pt x="371" y="147"/>
                  </a:lnTo>
                  <a:lnTo>
                    <a:pt x="381" y="147"/>
                  </a:lnTo>
                  <a:lnTo>
                    <a:pt x="381" y="156"/>
                  </a:lnTo>
                  <a:lnTo>
                    <a:pt x="371" y="156"/>
                  </a:lnTo>
                  <a:lnTo>
                    <a:pt x="361" y="156"/>
                  </a:lnTo>
                  <a:lnTo>
                    <a:pt x="342" y="156"/>
                  </a:lnTo>
                  <a:lnTo>
                    <a:pt x="332" y="156"/>
                  </a:lnTo>
                  <a:lnTo>
                    <a:pt x="342" y="166"/>
                  </a:lnTo>
                  <a:lnTo>
                    <a:pt x="361" y="176"/>
                  </a:lnTo>
                  <a:lnTo>
                    <a:pt x="371" y="166"/>
                  </a:lnTo>
                  <a:lnTo>
                    <a:pt x="381" y="176"/>
                  </a:lnTo>
                  <a:lnTo>
                    <a:pt x="391" y="195"/>
                  </a:lnTo>
                  <a:lnTo>
                    <a:pt x="391" y="215"/>
                  </a:lnTo>
                  <a:lnTo>
                    <a:pt x="400" y="225"/>
                  </a:lnTo>
                  <a:lnTo>
                    <a:pt x="410" y="225"/>
                  </a:lnTo>
                  <a:lnTo>
                    <a:pt x="420" y="234"/>
                  </a:lnTo>
                  <a:lnTo>
                    <a:pt x="420" y="254"/>
                  </a:lnTo>
                  <a:lnTo>
                    <a:pt x="420" y="283"/>
                  </a:lnTo>
                  <a:lnTo>
                    <a:pt x="420" y="312"/>
                  </a:lnTo>
                  <a:lnTo>
                    <a:pt x="420" y="342"/>
                  </a:lnTo>
                  <a:lnTo>
                    <a:pt x="410" y="361"/>
                  </a:lnTo>
                  <a:lnTo>
                    <a:pt x="400" y="381"/>
                  </a:lnTo>
                  <a:lnTo>
                    <a:pt x="410" y="400"/>
                  </a:lnTo>
                  <a:lnTo>
                    <a:pt x="410" y="429"/>
                  </a:lnTo>
                  <a:lnTo>
                    <a:pt x="410" y="459"/>
                  </a:lnTo>
                  <a:lnTo>
                    <a:pt x="420" y="459"/>
                  </a:lnTo>
                  <a:lnTo>
                    <a:pt x="420" y="469"/>
                  </a:lnTo>
                  <a:lnTo>
                    <a:pt x="410" y="478"/>
                  </a:lnTo>
                  <a:lnTo>
                    <a:pt x="410" y="488"/>
                  </a:lnTo>
                  <a:lnTo>
                    <a:pt x="400" y="498"/>
                  </a:lnTo>
                  <a:lnTo>
                    <a:pt x="410" y="508"/>
                  </a:lnTo>
                  <a:lnTo>
                    <a:pt x="410" y="527"/>
                  </a:lnTo>
                  <a:lnTo>
                    <a:pt x="391" y="537"/>
                  </a:lnTo>
                  <a:lnTo>
                    <a:pt x="391" y="547"/>
                  </a:lnTo>
                  <a:lnTo>
                    <a:pt x="391" y="556"/>
                  </a:lnTo>
                  <a:lnTo>
                    <a:pt x="371" y="566"/>
                  </a:lnTo>
                  <a:lnTo>
                    <a:pt x="371" y="576"/>
                  </a:lnTo>
                  <a:lnTo>
                    <a:pt x="361" y="576"/>
                  </a:lnTo>
                  <a:lnTo>
                    <a:pt x="352" y="576"/>
                  </a:lnTo>
                  <a:lnTo>
                    <a:pt x="332" y="586"/>
                  </a:lnTo>
                  <a:lnTo>
                    <a:pt x="313" y="586"/>
                  </a:lnTo>
                  <a:lnTo>
                    <a:pt x="293" y="586"/>
                  </a:lnTo>
                  <a:lnTo>
                    <a:pt x="273" y="595"/>
                  </a:lnTo>
                  <a:lnTo>
                    <a:pt x="254" y="586"/>
                  </a:lnTo>
                  <a:lnTo>
                    <a:pt x="244" y="586"/>
                  </a:lnTo>
                  <a:lnTo>
                    <a:pt x="225" y="576"/>
                  </a:lnTo>
                  <a:lnTo>
                    <a:pt x="205" y="576"/>
                  </a:lnTo>
                  <a:lnTo>
                    <a:pt x="176" y="537"/>
                  </a:lnTo>
                  <a:lnTo>
                    <a:pt x="176" y="517"/>
                  </a:lnTo>
                  <a:lnTo>
                    <a:pt x="156" y="469"/>
                  </a:lnTo>
                  <a:lnTo>
                    <a:pt x="147" y="439"/>
                  </a:lnTo>
                  <a:lnTo>
                    <a:pt x="137" y="410"/>
                  </a:lnTo>
                  <a:lnTo>
                    <a:pt x="137" y="390"/>
                  </a:lnTo>
                  <a:lnTo>
                    <a:pt x="137" y="381"/>
                  </a:lnTo>
                  <a:lnTo>
                    <a:pt x="117" y="371"/>
                  </a:lnTo>
                  <a:lnTo>
                    <a:pt x="127" y="361"/>
                  </a:lnTo>
                  <a:lnTo>
                    <a:pt x="127" y="351"/>
                  </a:lnTo>
                  <a:lnTo>
                    <a:pt x="127" y="342"/>
                  </a:lnTo>
                  <a:lnTo>
                    <a:pt x="117" y="332"/>
                  </a:lnTo>
                  <a:lnTo>
                    <a:pt x="127" y="322"/>
                  </a:lnTo>
                  <a:lnTo>
                    <a:pt x="108" y="322"/>
                  </a:lnTo>
                  <a:lnTo>
                    <a:pt x="108" y="303"/>
                  </a:lnTo>
                  <a:lnTo>
                    <a:pt x="117" y="293"/>
                  </a:lnTo>
                  <a:lnTo>
                    <a:pt x="117" y="283"/>
                  </a:lnTo>
                  <a:lnTo>
                    <a:pt x="127" y="273"/>
                  </a:lnTo>
                  <a:lnTo>
                    <a:pt x="127" y="264"/>
                  </a:lnTo>
                  <a:lnTo>
                    <a:pt x="127" y="254"/>
                  </a:lnTo>
                  <a:lnTo>
                    <a:pt x="117" y="244"/>
                  </a:lnTo>
                  <a:lnTo>
                    <a:pt x="117" y="264"/>
                  </a:lnTo>
                  <a:lnTo>
                    <a:pt x="108" y="273"/>
                  </a:lnTo>
                  <a:lnTo>
                    <a:pt x="98" y="293"/>
                  </a:lnTo>
                  <a:lnTo>
                    <a:pt x="88" y="293"/>
                  </a:lnTo>
                  <a:lnTo>
                    <a:pt x="88" y="312"/>
                  </a:lnTo>
                  <a:lnTo>
                    <a:pt x="78" y="293"/>
                  </a:lnTo>
                  <a:lnTo>
                    <a:pt x="59" y="293"/>
                  </a:lnTo>
                  <a:lnTo>
                    <a:pt x="39" y="293"/>
                  </a:lnTo>
                  <a:lnTo>
                    <a:pt x="30" y="273"/>
                  </a:lnTo>
                  <a:lnTo>
                    <a:pt x="39" y="254"/>
                  </a:lnTo>
                  <a:lnTo>
                    <a:pt x="49" y="244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375"/>
            <p:cNvSpPr>
              <a:spLocks/>
            </p:cNvSpPr>
            <p:nvPr/>
          </p:nvSpPr>
          <p:spPr bwMode="auto">
            <a:xfrm>
              <a:off x="2069" y="2233"/>
              <a:ext cx="186" cy="176"/>
            </a:xfrm>
            <a:custGeom>
              <a:avLst/>
              <a:gdLst>
                <a:gd name="T0" fmla="*/ 0 w 185"/>
                <a:gd name="T1" fmla="*/ 117 h 176"/>
                <a:gd name="T2" fmla="*/ 0 w 185"/>
                <a:gd name="T3" fmla="*/ 98 h 176"/>
                <a:gd name="T4" fmla="*/ 10 w 185"/>
                <a:gd name="T5" fmla="*/ 88 h 176"/>
                <a:gd name="T6" fmla="*/ 10 w 185"/>
                <a:gd name="T7" fmla="*/ 69 h 176"/>
                <a:gd name="T8" fmla="*/ 29 w 185"/>
                <a:gd name="T9" fmla="*/ 59 h 176"/>
                <a:gd name="T10" fmla="*/ 39 w 185"/>
                <a:gd name="T11" fmla="*/ 69 h 176"/>
                <a:gd name="T12" fmla="*/ 58 w 185"/>
                <a:gd name="T13" fmla="*/ 59 h 176"/>
                <a:gd name="T14" fmla="*/ 58 w 185"/>
                <a:gd name="T15" fmla="*/ 59 h 176"/>
                <a:gd name="T16" fmla="*/ 58 w 185"/>
                <a:gd name="T17" fmla="*/ 30 h 176"/>
                <a:gd name="T18" fmla="*/ 58 w 185"/>
                <a:gd name="T19" fmla="*/ 20 h 176"/>
                <a:gd name="T20" fmla="*/ 78 w 185"/>
                <a:gd name="T21" fmla="*/ 10 h 176"/>
                <a:gd name="T22" fmla="*/ 88 w 185"/>
                <a:gd name="T23" fmla="*/ 0 h 176"/>
                <a:gd name="T24" fmla="*/ 97 w 185"/>
                <a:gd name="T25" fmla="*/ 0 h 176"/>
                <a:gd name="T26" fmla="*/ 117 w 185"/>
                <a:gd name="T27" fmla="*/ 10 h 176"/>
                <a:gd name="T28" fmla="*/ 146 w 185"/>
                <a:gd name="T29" fmla="*/ 20 h 176"/>
                <a:gd name="T30" fmla="*/ 166 w 185"/>
                <a:gd name="T31" fmla="*/ 20 h 176"/>
                <a:gd name="T32" fmla="*/ 175 w 185"/>
                <a:gd name="T33" fmla="*/ 20 h 176"/>
                <a:gd name="T34" fmla="*/ 175 w 185"/>
                <a:gd name="T35" fmla="*/ 39 h 176"/>
                <a:gd name="T36" fmla="*/ 166 w 185"/>
                <a:gd name="T37" fmla="*/ 49 h 176"/>
                <a:gd name="T38" fmla="*/ 175 w 185"/>
                <a:gd name="T39" fmla="*/ 59 h 176"/>
                <a:gd name="T40" fmla="*/ 185 w 185"/>
                <a:gd name="T41" fmla="*/ 69 h 176"/>
                <a:gd name="T42" fmla="*/ 175 w 185"/>
                <a:gd name="T43" fmla="*/ 88 h 176"/>
                <a:gd name="T44" fmla="*/ 185 w 185"/>
                <a:gd name="T45" fmla="*/ 108 h 176"/>
                <a:gd name="T46" fmla="*/ 156 w 185"/>
                <a:gd name="T47" fmla="*/ 117 h 176"/>
                <a:gd name="T48" fmla="*/ 127 w 185"/>
                <a:gd name="T49" fmla="*/ 117 h 176"/>
                <a:gd name="T50" fmla="*/ 117 w 185"/>
                <a:gd name="T51" fmla="*/ 108 h 176"/>
                <a:gd name="T52" fmla="*/ 107 w 185"/>
                <a:gd name="T53" fmla="*/ 127 h 176"/>
                <a:gd name="T54" fmla="*/ 117 w 185"/>
                <a:gd name="T55" fmla="*/ 127 h 176"/>
                <a:gd name="T56" fmla="*/ 117 w 185"/>
                <a:gd name="T57" fmla="*/ 137 h 176"/>
                <a:gd name="T58" fmla="*/ 107 w 185"/>
                <a:gd name="T59" fmla="*/ 147 h 176"/>
                <a:gd name="T60" fmla="*/ 107 w 185"/>
                <a:gd name="T61" fmla="*/ 147 h 176"/>
                <a:gd name="T62" fmla="*/ 97 w 185"/>
                <a:gd name="T63" fmla="*/ 156 h 176"/>
                <a:gd name="T64" fmla="*/ 78 w 185"/>
                <a:gd name="T65" fmla="*/ 176 h 176"/>
                <a:gd name="T66" fmla="*/ 58 w 185"/>
                <a:gd name="T67" fmla="*/ 176 h 176"/>
                <a:gd name="T68" fmla="*/ 58 w 185"/>
                <a:gd name="T69" fmla="*/ 166 h 176"/>
                <a:gd name="T70" fmla="*/ 49 w 185"/>
                <a:gd name="T71" fmla="*/ 156 h 176"/>
                <a:gd name="T72" fmla="*/ 29 w 185"/>
                <a:gd name="T73" fmla="*/ 156 h 176"/>
                <a:gd name="T74" fmla="*/ 29 w 185"/>
                <a:gd name="T75" fmla="*/ 147 h 176"/>
                <a:gd name="T76" fmla="*/ 19 w 185"/>
                <a:gd name="T77" fmla="*/ 137 h 176"/>
                <a:gd name="T78" fmla="*/ 10 w 185"/>
                <a:gd name="T79" fmla="*/ 127 h 176"/>
                <a:gd name="T80" fmla="*/ 0 w 185"/>
                <a:gd name="T81" fmla="*/ 117 h 17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5"/>
                <a:gd name="T124" fmla="*/ 0 h 176"/>
                <a:gd name="T125" fmla="*/ 185 w 185"/>
                <a:gd name="T126" fmla="*/ 176 h 17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5" h="176">
                  <a:moveTo>
                    <a:pt x="0" y="117"/>
                  </a:moveTo>
                  <a:lnTo>
                    <a:pt x="0" y="98"/>
                  </a:lnTo>
                  <a:lnTo>
                    <a:pt x="10" y="88"/>
                  </a:lnTo>
                  <a:lnTo>
                    <a:pt x="10" y="69"/>
                  </a:lnTo>
                  <a:lnTo>
                    <a:pt x="29" y="59"/>
                  </a:lnTo>
                  <a:lnTo>
                    <a:pt x="39" y="69"/>
                  </a:lnTo>
                  <a:lnTo>
                    <a:pt x="58" y="59"/>
                  </a:lnTo>
                  <a:lnTo>
                    <a:pt x="58" y="30"/>
                  </a:lnTo>
                  <a:lnTo>
                    <a:pt x="58" y="20"/>
                  </a:lnTo>
                  <a:lnTo>
                    <a:pt x="78" y="10"/>
                  </a:lnTo>
                  <a:lnTo>
                    <a:pt x="88" y="0"/>
                  </a:lnTo>
                  <a:lnTo>
                    <a:pt x="97" y="0"/>
                  </a:lnTo>
                  <a:lnTo>
                    <a:pt x="117" y="10"/>
                  </a:lnTo>
                  <a:lnTo>
                    <a:pt x="146" y="20"/>
                  </a:lnTo>
                  <a:lnTo>
                    <a:pt x="166" y="20"/>
                  </a:lnTo>
                  <a:lnTo>
                    <a:pt x="175" y="2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75" y="59"/>
                  </a:lnTo>
                  <a:lnTo>
                    <a:pt x="185" y="69"/>
                  </a:lnTo>
                  <a:lnTo>
                    <a:pt x="175" y="88"/>
                  </a:lnTo>
                  <a:lnTo>
                    <a:pt x="185" y="108"/>
                  </a:lnTo>
                  <a:lnTo>
                    <a:pt x="156" y="117"/>
                  </a:lnTo>
                  <a:lnTo>
                    <a:pt x="127" y="117"/>
                  </a:lnTo>
                  <a:lnTo>
                    <a:pt x="117" y="108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17" y="137"/>
                  </a:lnTo>
                  <a:lnTo>
                    <a:pt x="107" y="147"/>
                  </a:lnTo>
                  <a:lnTo>
                    <a:pt x="97" y="156"/>
                  </a:lnTo>
                  <a:lnTo>
                    <a:pt x="78" y="176"/>
                  </a:lnTo>
                  <a:lnTo>
                    <a:pt x="58" y="176"/>
                  </a:lnTo>
                  <a:lnTo>
                    <a:pt x="58" y="166"/>
                  </a:lnTo>
                  <a:lnTo>
                    <a:pt x="49" y="156"/>
                  </a:lnTo>
                  <a:lnTo>
                    <a:pt x="29" y="156"/>
                  </a:lnTo>
                  <a:lnTo>
                    <a:pt x="29" y="147"/>
                  </a:lnTo>
                  <a:lnTo>
                    <a:pt x="19" y="137"/>
                  </a:lnTo>
                  <a:lnTo>
                    <a:pt x="10" y="12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374"/>
            <p:cNvSpPr>
              <a:spLocks/>
            </p:cNvSpPr>
            <p:nvPr/>
          </p:nvSpPr>
          <p:spPr bwMode="auto">
            <a:xfrm>
              <a:off x="1795" y="2156"/>
              <a:ext cx="281" cy="244"/>
            </a:xfrm>
            <a:custGeom>
              <a:avLst/>
              <a:gdLst>
                <a:gd name="T0" fmla="*/ 0 w 283"/>
                <a:gd name="T1" fmla="*/ 69 h 244"/>
                <a:gd name="T2" fmla="*/ 19 w 283"/>
                <a:gd name="T3" fmla="*/ 69 h 244"/>
                <a:gd name="T4" fmla="*/ 19 w 283"/>
                <a:gd name="T5" fmla="*/ 59 h 244"/>
                <a:gd name="T6" fmla="*/ 29 w 283"/>
                <a:gd name="T7" fmla="*/ 49 h 244"/>
                <a:gd name="T8" fmla="*/ 29 w 283"/>
                <a:gd name="T9" fmla="*/ 49 h 244"/>
                <a:gd name="T10" fmla="*/ 29 w 283"/>
                <a:gd name="T11" fmla="*/ 69 h 244"/>
                <a:gd name="T12" fmla="*/ 49 w 283"/>
                <a:gd name="T13" fmla="*/ 49 h 244"/>
                <a:gd name="T14" fmla="*/ 39 w 283"/>
                <a:gd name="T15" fmla="*/ 49 h 244"/>
                <a:gd name="T16" fmla="*/ 39 w 283"/>
                <a:gd name="T17" fmla="*/ 39 h 244"/>
                <a:gd name="T18" fmla="*/ 49 w 283"/>
                <a:gd name="T19" fmla="*/ 39 h 244"/>
                <a:gd name="T20" fmla="*/ 68 w 283"/>
                <a:gd name="T21" fmla="*/ 49 h 244"/>
                <a:gd name="T22" fmla="*/ 78 w 283"/>
                <a:gd name="T23" fmla="*/ 39 h 244"/>
                <a:gd name="T24" fmla="*/ 78 w 283"/>
                <a:gd name="T25" fmla="*/ 30 h 244"/>
                <a:gd name="T26" fmla="*/ 88 w 283"/>
                <a:gd name="T27" fmla="*/ 20 h 244"/>
                <a:gd name="T28" fmla="*/ 88 w 283"/>
                <a:gd name="T29" fmla="*/ 10 h 244"/>
                <a:gd name="T30" fmla="*/ 97 w 283"/>
                <a:gd name="T31" fmla="*/ 0 h 244"/>
                <a:gd name="T32" fmla="*/ 107 w 283"/>
                <a:gd name="T33" fmla="*/ 0 h 244"/>
                <a:gd name="T34" fmla="*/ 117 w 283"/>
                <a:gd name="T35" fmla="*/ 10 h 244"/>
                <a:gd name="T36" fmla="*/ 136 w 283"/>
                <a:gd name="T37" fmla="*/ 20 h 244"/>
                <a:gd name="T38" fmla="*/ 146 w 283"/>
                <a:gd name="T39" fmla="*/ 30 h 244"/>
                <a:gd name="T40" fmla="*/ 156 w 283"/>
                <a:gd name="T41" fmla="*/ 39 h 244"/>
                <a:gd name="T42" fmla="*/ 156 w 283"/>
                <a:gd name="T43" fmla="*/ 59 h 244"/>
                <a:gd name="T44" fmla="*/ 166 w 283"/>
                <a:gd name="T45" fmla="*/ 69 h 244"/>
                <a:gd name="T46" fmla="*/ 166 w 283"/>
                <a:gd name="T47" fmla="*/ 88 h 244"/>
                <a:gd name="T48" fmla="*/ 156 w 283"/>
                <a:gd name="T49" fmla="*/ 98 h 244"/>
                <a:gd name="T50" fmla="*/ 156 w 283"/>
                <a:gd name="T51" fmla="*/ 117 h 244"/>
                <a:gd name="T52" fmla="*/ 175 w 283"/>
                <a:gd name="T53" fmla="*/ 117 h 244"/>
                <a:gd name="T54" fmla="*/ 175 w 283"/>
                <a:gd name="T55" fmla="*/ 127 h 244"/>
                <a:gd name="T56" fmla="*/ 185 w 283"/>
                <a:gd name="T57" fmla="*/ 147 h 244"/>
                <a:gd name="T58" fmla="*/ 185 w 283"/>
                <a:gd name="T59" fmla="*/ 147 h 244"/>
                <a:gd name="T60" fmla="*/ 195 w 283"/>
                <a:gd name="T61" fmla="*/ 137 h 244"/>
                <a:gd name="T62" fmla="*/ 205 w 283"/>
                <a:gd name="T63" fmla="*/ 127 h 244"/>
                <a:gd name="T64" fmla="*/ 234 w 283"/>
                <a:gd name="T65" fmla="*/ 137 h 244"/>
                <a:gd name="T66" fmla="*/ 263 w 283"/>
                <a:gd name="T67" fmla="*/ 117 h 244"/>
                <a:gd name="T68" fmla="*/ 273 w 283"/>
                <a:gd name="T69" fmla="*/ 127 h 244"/>
                <a:gd name="T70" fmla="*/ 273 w 283"/>
                <a:gd name="T71" fmla="*/ 137 h 244"/>
                <a:gd name="T72" fmla="*/ 273 w 283"/>
                <a:gd name="T73" fmla="*/ 147 h 244"/>
                <a:gd name="T74" fmla="*/ 283 w 283"/>
                <a:gd name="T75" fmla="*/ 147 h 244"/>
                <a:gd name="T76" fmla="*/ 283 w 283"/>
                <a:gd name="T77" fmla="*/ 166 h 244"/>
                <a:gd name="T78" fmla="*/ 273 w 283"/>
                <a:gd name="T79" fmla="*/ 186 h 244"/>
                <a:gd name="T80" fmla="*/ 273 w 283"/>
                <a:gd name="T81" fmla="*/ 195 h 244"/>
                <a:gd name="T82" fmla="*/ 273 w 283"/>
                <a:gd name="T83" fmla="*/ 225 h 244"/>
                <a:gd name="T84" fmla="*/ 253 w 283"/>
                <a:gd name="T85" fmla="*/ 244 h 244"/>
                <a:gd name="T86" fmla="*/ 234 w 283"/>
                <a:gd name="T87" fmla="*/ 244 h 244"/>
                <a:gd name="T88" fmla="*/ 214 w 283"/>
                <a:gd name="T89" fmla="*/ 234 h 244"/>
                <a:gd name="T90" fmla="*/ 185 w 283"/>
                <a:gd name="T91" fmla="*/ 234 h 244"/>
                <a:gd name="T92" fmla="*/ 166 w 283"/>
                <a:gd name="T93" fmla="*/ 234 h 244"/>
                <a:gd name="T94" fmla="*/ 156 w 283"/>
                <a:gd name="T95" fmla="*/ 215 h 244"/>
                <a:gd name="T96" fmla="*/ 146 w 283"/>
                <a:gd name="T97" fmla="*/ 195 h 244"/>
                <a:gd name="T98" fmla="*/ 136 w 283"/>
                <a:gd name="T99" fmla="*/ 186 h 244"/>
                <a:gd name="T100" fmla="*/ 127 w 283"/>
                <a:gd name="T101" fmla="*/ 176 h 244"/>
                <a:gd name="T102" fmla="*/ 117 w 283"/>
                <a:gd name="T103" fmla="*/ 186 h 244"/>
                <a:gd name="T104" fmla="*/ 107 w 283"/>
                <a:gd name="T105" fmla="*/ 186 h 244"/>
                <a:gd name="T106" fmla="*/ 97 w 283"/>
                <a:gd name="T107" fmla="*/ 186 h 244"/>
                <a:gd name="T108" fmla="*/ 78 w 283"/>
                <a:gd name="T109" fmla="*/ 156 h 244"/>
                <a:gd name="T110" fmla="*/ 78 w 283"/>
                <a:gd name="T111" fmla="*/ 137 h 244"/>
                <a:gd name="T112" fmla="*/ 78 w 283"/>
                <a:gd name="T113" fmla="*/ 127 h 244"/>
                <a:gd name="T114" fmla="*/ 68 w 283"/>
                <a:gd name="T115" fmla="*/ 108 h 244"/>
                <a:gd name="T116" fmla="*/ 49 w 283"/>
                <a:gd name="T117" fmla="*/ 98 h 244"/>
                <a:gd name="T118" fmla="*/ 29 w 283"/>
                <a:gd name="T119" fmla="*/ 98 h 244"/>
                <a:gd name="T120" fmla="*/ 0 w 283"/>
                <a:gd name="T121" fmla="*/ 69 h 24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83"/>
                <a:gd name="T184" fmla="*/ 0 h 244"/>
                <a:gd name="T185" fmla="*/ 283 w 283"/>
                <a:gd name="T186" fmla="*/ 244 h 24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83" h="244">
                  <a:moveTo>
                    <a:pt x="0" y="69"/>
                  </a:moveTo>
                  <a:lnTo>
                    <a:pt x="19" y="6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29" y="69"/>
                  </a:lnTo>
                  <a:lnTo>
                    <a:pt x="49" y="49"/>
                  </a:lnTo>
                  <a:lnTo>
                    <a:pt x="39" y="49"/>
                  </a:lnTo>
                  <a:lnTo>
                    <a:pt x="39" y="39"/>
                  </a:lnTo>
                  <a:lnTo>
                    <a:pt x="49" y="39"/>
                  </a:lnTo>
                  <a:lnTo>
                    <a:pt x="68" y="49"/>
                  </a:lnTo>
                  <a:lnTo>
                    <a:pt x="78" y="39"/>
                  </a:lnTo>
                  <a:lnTo>
                    <a:pt x="7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7" y="0"/>
                  </a:lnTo>
                  <a:lnTo>
                    <a:pt x="107" y="0"/>
                  </a:lnTo>
                  <a:lnTo>
                    <a:pt x="117" y="10"/>
                  </a:lnTo>
                  <a:lnTo>
                    <a:pt x="136" y="20"/>
                  </a:lnTo>
                  <a:lnTo>
                    <a:pt x="146" y="30"/>
                  </a:lnTo>
                  <a:lnTo>
                    <a:pt x="156" y="39"/>
                  </a:lnTo>
                  <a:lnTo>
                    <a:pt x="156" y="59"/>
                  </a:lnTo>
                  <a:lnTo>
                    <a:pt x="166" y="69"/>
                  </a:lnTo>
                  <a:lnTo>
                    <a:pt x="166" y="88"/>
                  </a:lnTo>
                  <a:lnTo>
                    <a:pt x="156" y="98"/>
                  </a:lnTo>
                  <a:lnTo>
                    <a:pt x="156" y="117"/>
                  </a:lnTo>
                  <a:lnTo>
                    <a:pt x="175" y="117"/>
                  </a:lnTo>
                  <a:lnTo>
                    <a:pt x="175" y="127"/>
                  </a:lnTo>
                  <a:lnTo>
                    <a:pt x="185" y="147"/>
                  </a:lnTo>
                  <a:lnTo>
                    <a:pt x="195" y="137"/>
                  </a:lnTo>
                  <a:lnTo>
                    <a:pt x="205" y="127"/>
                  </a:lnTo>
                  <a:lnTo>
                    <a:pt x="234" y="137"/>
                  </a:lnTo>
                  <a:lnTo>
                    <a:pt x="263" y="117"/>
                  </a:lnTo>
                  <a:lnTo>
                    <a:pt x="273" y="127"/>
                  </a:lnTo>
                  <a:lnTo>
                    <a:pt x="273" y="137"/>
                  </a:lnTo>
                  <a:lnTo>
                    <a:pt x="273" y="147"/>
                  </a:lnTo>
                  <a:lnTo>
                    <a:pt x="283" y="147"/>
                  </a:lnTo>
                  <a:lnTo>
                    <a:pt x="283" y="166"/>
                  </a:lnTo>
                  <a:lnTo>
                    <a:pt x="273" y="186"/>
                  </a:lnTo>
                  <a:lnTo>
                    <a:pt x="273" y="195"/>
                  </a:lnTo>
                  <a:lnTo>
                    <a:pt x="273" y="225"/>
                  </a:lnTo>
                  <a:lnTo>
                    <a:pt x="253" y="244"/>
                  </a:lnTo>
                  <a:lnTo>
                    <a:pt x="234" y="244"/>
                  </a:lnTo>
                  <a:lnTo>
                    <a:pt x="214" y="234"/>
                  </a:lnTo>
                  <a:lnTo>
                    <a:pt x="185" y="234"/>
                  </a:lnTo>
                  <a:lnTo>
                    <a:pt x="166" y="234"/>
                  </a:lnTo>
                  <a:lnTo>
                    <a:pt x="156" y="215"/>
                  </a:lnTo>
                  <a:lnTo>
                    <a:pt x="146" y="195"/>
                  </a:lnTo>
                  <a:lnTo>
                    <a:pt x="136" y="186"/>
                  </a:lnTo>
                  <a:lnTo>
                    <a:pt x="127" y="17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86"/>
                  </a:lnTo>
                  <a:lnTo>
                    <a:pt x="78" y="156"/>
                  </a:lnTo>
                  <a:lnTo>
                    <a:pt x="78" y="137"/>
                  </a:lnTo>
                  <a:lnTo>
                    <a:pt x="78" y="127"/>
                  </a:lnTo>
                  <a:lnTo>
                    <a:pt x="68" y="108"/>
                  </a:lnTo>
                  <a:lnTo>
                    <a:pt x="49" y="98"/>
                  </a:lnTo>
                  <a:lnTo>
                    <a:pt x="29" y="98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373"/>
            <p:cNvSpPr>
              <a:spLocks/>
            </p:cNvSpPr>
            <p:nvPr/>
          </p:nvSpPr>
          <p:spPr bwMode="auto">
            <a:xfrm>
              <a:off x="2088" y="2332"/>
              <a:ext cx="459" cy="390"/>
            </a:xfrm>
            <a:custGeom>
              <a:avLst/>
              <a:gdLst>
                <a:gd name="T0" fmla="*/ 156 w 459"/>
                <a:gd name="T1" fmla="*/ 234 h 390"/>
                <a:gd name="T2" fmla="*/ 176 w 459"/>
                <a:gd name="T3" fmla="*/ 254 h 390"/>
                <a:gd name="T4" fmla="*/ 195 w 459"/>
                <a:gd name="T5" fmla="*/ 234 h 390"/>
                <a:gd name="T6" fmla="*/ 225 w 459"/>
                <a:gd name="T7" fmla="*/ 254 h 390"/>
                <a:gd name="T8" fmla="*/ 225 w 459"/>
                <a:gd name="T9" fmla="*/ 312 h 390"/>
                <a:gd name="T10" fmla="*/ 254 w 459"/>
                <a:gd name="T11" fmla="*/ 312 h 390"/>
                <a:gd name="T12" fmla="*/ 264 w 459"/>
                <a:gd name="T13" fmla="*/ 341 h 390"/>
                <a:gd name="T14" fmla="*/ 293 w 459"/>
                <a:gd name="T15" fmla="*/ 351 h 390"/>
                <a:gd name="T16" fmla="*/ 274 w 459"/>
                <a:gd name="T17" fmla="*/ 361 h 390"/>
                <a:gd name="T18" fmla="*/ 293 w 459"/>
                <a:gd name="T19" fmla="*/ 380 h 390"/>
                <a:gd name="T20" fmla="*/ 332 w 459"/>
                <a:gd name="T21" fmla="*/ 351 h 390"/>
                <a:gd name="T22" fmla="*/ 361 w 459"/>
                <a:gd name="T23" fmla="*/ 322 h 390"/>
                <a:gd name="T24" fmla="*/ 352 w 459"/>
                <a:gd name="T25" fmla="*/ 293 h 390"/>
                <a:gd name="T26" fmla="*/ 371 w 459"/>
                <a:gd name="T27" fmla="*/ 302 h 390"/>
                <a:gd name="T28" fmla="*/ 439 w 459"/>
                <a:gd name="T29" fmla="*/ 293 h 390"/>
                <a:gd name="T30" fmla="*/ 439 w 459"/>
                <a:gd name="T31" fmla="*/ 254 h 390"/>
                <a:gd name="T32" fmla="*/ 430 w 459"/>
                <a:gd name="T33" fmla="*/ 234 h 390"/>
                <a:gd name="T34" fmla="*/ 449 w 459"/>
                <a:gd name="T35" fmla="*/ 205 h 390"/>
                <a:gd name="T36" fmla="*/ 459 w 459"/>
                <a:gd name="T37" fmla="*/ 185 h 390"/>
                <a:gd name="T38" fmla="*/ 430 w 459"/>
                <a:gd name="T39" fmla="*/ 185 h 390"/>
                <a:gd name="T40" fmla="*/ 449 w 459"/>
                <a:gd name="T41" fmla="*/ 166 h 390"/>
                <a:gd name="T42" fmla="*/ 459 w 459"/>
                <a:gd name="T43" fmla="*/ 146 h 390"/>
                <a:gd name="T44" fmla="*/ 410 w 459"/>
                <a:gd name="T45" fmla="*/ 156 h 390"/>
                <a:gd name="T46" fmla="*/ 400 w 459"/>
                <a:gd name="T47" fmla="*/ 175 h 390"/>
                <a:gd name="T48" fmla="*/ 361 w 459"/>
                <a:gd name="T49" fmla="*/ 166 h 390"/>
                <a:gd name="T50" fmla="*/ 322 w 459"/>
                <a:gd name="T51" fmla="*/ 136 h 390"/>
                <a:gd name="T52" fmla="*/ 322 w 459"/>
                <a:gd name="T53" fmla="*/ 97 h 390"/>
                <a:gd name="T54" fmla="*/ 322 w 459"/>
                <a:gd name="T55" fmla="*/ 68 h 390"/>
                <a:gd name="T56" fmla="*/ 322 w 459"/>
                <a:gd name="T57" fmla="*/ 29 h 390"/>
                <a:gd name="T58" fmla="*/ 293 w 459"/>
                <a:gd name="T59" fmla="*/ 19 h 390"/>
                <a:gd name="T60" fmla="*/ 264 w 459"/>
                <a:gd name="T61" fmla="*/ 10 h 390"/>
                <a:gd name="T62" fmla="*/ 225 w 459"/>
                <a:gd name="T63" fmla="*/ 10 h 390"/>
                <a:gd name="T64" fmla="*/ 186 w 459"/>
                <a:gd name="T65" fmla="*/ 10 h 390"/>
                <a:gd name="T66" fmla="*/ 137 w 459"/>
                <a:gd name="T67" fmla="*/ 10 h 390"/>
                <a:gd name="T68" fmla="*/ 98 w 459"/>
                <a:gd name="T69" fmla="*/ 10 h 390"/>
                <a:gd name="T70" fmla="*/ 98 w 459"/>
                <a:gd name="T71" fmla="*/ 29 h 390"/>
                <a:gd name="T72" fmla="*/ 88 w 459"/>
                <a:gd name="T73" fmla="*/ 49 h 390"/>
                <a:gd name="T74" fmla="*/ 78 w 459"/>
                <a:gd name="T75" fmla="*/ 58 h 390"/>
                <a:gd name="T76" fmla="*/ 49 w 459"/>
                <a:gd name="T77" fmla="*/ 78 h 390"/>
                <a:gd name="T78" fmla="*/ 30 w 459"/>
                <a:gd name="T79" fmla="*/ 58 h 390"/>
                <a:gd name="T80" fmla="*/ 0 w 459"/>
                <a:gd name="T81" fmla="*/ 78 h 390"/>
                <a:gd name="T82" fmla="*/ 39 w 459"/>
                <a:gd name="T83" fmla="*/ 88 h 390"/>
                <a:gd name="T84" fmla="*/ 59 w 459"/>
                <a:gd name="T85" fmla="*/ 107 h 390"/>
                <a:gd name="T86" fmla="*/ 78 w 459"/>
                <a:gd name="T87" fmla="*/ 136 h 390"/>
                <a:gd name="T88" fmla="*/ 98 w 459"/>
                <a:gd name="T89" fmla="*/ 127 h 390"/>
                <a:gd name="T90" fmla="*/ 137 w 459"/>
                <a:gd name="T91" fmla="*/ 136 h 390"/>
                <a:gd name="T92" fmla="*/ 137 w 459"/>
                <a:gd name="T93" fmla="*/ 175 h 390"/>
                <a:gd name="T94" fmla="*/ 147 w 459"/>
                <a:gd name="T95" fmla="*/ 215 h 39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59"/>
                <a:gd name="T145" fmla="*/ 0 h 390"/>
                <a:gd name="T146" fmla="*/ 459 w 459"/>
                <a:gd name="T147" fmla="*/ 390 h 39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59" h="390">
                  <a:moveTo>
                    <a:pt x="147" y="215"/>
                  </a:moveTo>
                  <a:lnTo>
                    <a:pt x="156" y="234"/>
                  </a:lnTo>
                  <a:lnTo>
                    <a:pt x="176" y="234"/>
                  </a:lnTo>
                  <a:lnTo>
                    <a:pt x="176" y="254"/>
                  </a:lnTo>
                  <a:lnTo>
                    <a:pt x="195" y="254"/>
                  </a:lnTo>
                  <a:lnTo>
                    <a:pt x="195" y="234"/>
                  </a:lnTo>
                  <a:lnTo>
                    <a:pt x="215" y="244"/>
                  </a:lnTo>
                  <a:lnTo>
                    <a:pt x="225" y="254"/>
                  </a:lnTo>
                  <a:lnTo>
                    <a:pt x="225" y="283"/>
                  </a:lnTo>
                  <a:lnTo>
                    <a:pt x="225" y="312"/>
                  </a:lnTo>
                  <a:lnTo>
                    <a:pt x="244" y="302"/>
                  </a:lnTo>
                  <a:lnTo>
                    <a:pt x="254" y="312"/>
                  </a:lnTo>
                  <a:lnTo>
                    <a:pt x="254" y="322"/>
                  </a:lnTo>
                  <a:lnTo>
                    <a:pt x="264" y="341"/>
                  </a:lnTo>
                  <a:lnTo>
                    <a:pt x="274" y="351"/>
                  </a:lnTo>
                  <a:lnTo>
                    <a:pt x="293" y="351"/>
                  </a:lnTo>
                  <a:lnTo>
                    <a:pt x="293" y="361"/>
                  </a:lnTo>
                  <a:lnTo>
                    <a:pt x="274" y="361"/>
                  </a:lnTo>
                  <a:lnTo>
                    <a:pt x="283" y="390"/>
                  </a:lnTo>
                  <a:lnTo>
                    <a:pt x="293" y="380"/>
                  </a:lnTo>
                  <a:lnTo>
                    <a:pt x="313" y="351"/>
                  </a:lnTo>
                  <a:lnTo>
                    <a:pt x="332" y="351"/>
                  </a:lnTo>
                  <a:lnTo>
                    <a:pt x="352" y="351"/>
                  </a:lnTo>
                  <a:lnTo>
                    <a:pt x="361" y="322"/>
                  </a:lnTo>
                  <a:lnTo>
                    <a:pt x="352" y="302"/>
                  </a:lnTo>
                  <a:lnTo>
                    <a:pt x="352" y="293"/>
                  </a:lnTo>
                  <a:lnTo>
                    <a:pt x="361" y="293"/>
                  </a:lnTo>
                  <a:lnTo>
                    <a:pt x="371" y="302"/>
                  </a:lnTo>
                  <a:lnTo>
                    <a:pt x="420" y="293"/>
                  </a:lnTo>
                  <a:lnTo>
                    <a:pt x="439" y="293"/>
                  </a:lnTo>
                  <a:lnTo>
                    <a:pt x="449" y="273"/>
                  </a:lnTo>
                  <a:lnTo>
                    <a:pt x="439" y="254"/>
                  </a:lnTo>
                  <a:lnTo>
                    <a:pt x="430" y="234"/>
                  </a:lnTo>
                  <a:lnTo>
                    <a:pt x="430" y="224"/>
                  </a:lnTo>
                  <a:lnTo>
                    <a:pt x="449" y="205"/>
                  </a:lnTo>
                  <a:lnTo>
                    <a:pt x="459" y="195"/>
                  </a:lnTo>
                  <a:lnTo>
                    <a:pt x="459" y="185"/>
                  </a:lnTo>
                  <a:lnTo>
                    <a:pt x="439" y="195"/>
                  </a:lnTo>
                  <a:lnTo>
                    <a:pt x="430" y="185"/>
                  </a:lnTo>
                  <a:lnTo>
                    <a:pt x="430" y="166"/>
                  </a:lnTo>
                  <a:lnTo>
                    <a:pt x="449" y="166"/>
                  </a:lnTo>
                  <a:lnTo>
                    <a:pt x="459" y="156"/>
                  </a:lnTo>
                  <a:lnTo>
                    <a:pt x="459" y="146"/>
                  </a:lnTo>
                  <a:lnTo>
                    <a:pt x="439" y="146"/>
                  </a:lnTo>
                  <a:lnTo>
                    <a:pt x="410" y="156"/>
                  </a:lnTo>
                  <a:lnTo>
                    <a:pt x="410" y="175"/>
                  </a:lnTo>
                  <a:lnTo>
                    <a:pt x="400" y="175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56"/>
                  </a:lnTo>
                  <a:lnTo>
                    <a:pt x="322" y="136"/>
                  </a:lnTo>
                  <a:lnTo>
                    <a:pt x="332" y="117"/>
                  </a:lnTo>
                  <a:lnTo>
                    <a:pt x="322" y="97"/>
                  </a:lnTo>
                  <a:lnTo>
                    <a:pt x="332" y="78"/>
                  </a:lnTo>
                  <a:lnTo>
                    <a:pt x="322" y="68"/>
                  </a:lnTo>
                  <a:lnTo>
                    <a:pt x="322" y="29"/>
                  </a:lnTo>
                  <a:lnTo>
                    <a:pt x="303" y="39"/>
                  </a:lnTo>
                  <a:lnTo>
                    <a:pt x="293" y="19"/>
                  </a:lnTo>
                  <a:lnTo>
                    <a:pt x="283" y="10"/>
                  </a:lnTo>
                  <a:lnTo>
                    <a:pt x="264" y="10"/>
                  </a:lnTo>
                  <a:lnTo>
                    <a:pt x="254" y="0"/>
                  </a:lnTo>
                  <a:lnTo>
                    <a:pt x="225" y="10"/>
                  </a:lnTo>
                  <a:lnTo>
                    <a:pt x="205" y="10"/>
                  </a:lnTo>
                  <a:lnTo>
                    <a:pt x="186" y="10"/>
                  </a:lnTo>
                  <a:lnTo>
                    <a:pt x="166" y="10"/>
                  </a:lnTo>
                  <a:lnTo>
                    <a:pt x="137" y="10"/>
                  </a:lnTo>
                  <a:lnTo>
                    <a:pt x="108" y="10"/>
                  </a:lnTo>
                  <a:lnTo>
                    <a:pt x="98" y="10"/>
                  </a:lnTo>
                  <a:lnTo>
                    <a:pt x="88" y="19"/>
                  </a:lnTo>
                  <a:lnTo>
                    <a:pt x="98" y="29"/>
                  </a:lnTo>
                  <a:lnTo>
                    <a:pt x="98" y="39"/>
                  </a:lnTo>
                  <a:lnTo>
                    <a:pt x="88" y="49"/>
                  </a:lnTo>
                  <a:lnTo>
                    <a:pt x="78" y="58"/>
                  </a:lnTo>
                  <a:lnTo>
                    <a:pt x="59" y="78"/>
                  </a:lnTo>
                  <a:lnTo>
                    <a:pt x="49" y="78"/>
                  </a:lnTo>
                  <a:lnTo>
                    <a:pt x="39" y="68"/>
                  </a:lnTo>
                  <a:lnTo>
                    <a:pt x="30" y="58"/>
                  </a:lnTo>
                  <a:lnTo>
                    <a:pt x="10" y="58"/>
                  </a:lnTo>
                  <a:lnTo>
                    <a:pt x="0" y="78"/>
                  </a:lnTo>
                  <a:lnTo>
                    <a:pt x="20" y="88"/>
                  </a:lnTo>
                  <a:lnTo>
                    <a:pt x="3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69" y="127"/>
                  </a:lnTo>
                  <a:lnTo>
                    <a:pt x="78" y="136"/>
                  </a:lnTo>
                  <a:lnTo>
                    <a:pt x="88" y="136"/>
                  </a:lnTo>
                  <a:lnTo>
                    <a:pt x="98" y="127"/>
                  </a:lnTo>
                  <a:lnTo>
                    <a:pt x="117" y="136"/>
                  </a:lnTo>
                  <a:lnTo>
                    <a:pt x="137" y="136"/>
                  </a:lnTo>
                  <a:lnTo>
                    <a:pt x="147" y="156"/>
                  </a:lnTo>
                  <a:lnTo>
                    <a:pt x="137" y="175"/>
                  </a:lnTo>
                  <a:lnTo>
                    <a:pt x="147" y="195"/>
                  </a:lnTo>
                  <a:lnTo>
                    <a:pt x="147" y="215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372"/>
            <p:cNvSpPr>
              <a:spLocks/>
            </p:cNvSpPr>
            <p:nvPr/>
          </p:nvSpPr>
          <p:spPr bwMode="auto">
            <a:xfrm>
              <a:off x="2352" y="2567"/>
              <a:ext cx="469" cy="576"/>
            </a:xfrm>
            <a:custGeom>
              <a:avLst/>
              <a:gdLst>
                <a:gd name="T0" fmla="*/ 68 w 468"/>
                <a:gd name="T1" fmla="*/ 117 h 576"/>
                <a:gd name="T2" fmla="*/ 88 w 468"/>
                <a:gd name="T3" fmla="*/ 88 h 576"/>
                <a:gd name="T4" fmla="*/ 88 w 468"/>
                <a:gd name="T5" fmla="*/ 59 h 576"/>
                <a:gd name="T6" fmla="*/ 107 w 468"/>
                <a:gd name="T7" fmla="*/ 68 h 576"/>
                <a:gd name="T8" fmla="*/ 175 w 468"/>
                <a:gd name="T9" fmla="*/ 59 h 576"/>
                <a:gd name="T10" fmla="*/ 175 w 468"/>
                <a:gd name="T11" fmla="*/ 20 h 576"/>
                <a:gd name="T12" fmla="*/ 166 w 468"/>
                <a:gd name="T13" fmla="*/ 0 h 576"/>
                <a:gd name="T14" fmla="*/ 205 w 468"/>
                <a:gd name="T15" fmla="*/ 0 h 576"/>
                <a:gd name="T16" fmla="*/ 253 w 468"/>
                <a:gd name="T17" fmla="*/ 0 h 576"/>
                <a:gd name="T18" fmla="*/ 283 w 468"/>
                <a:gd name="T19" fmla="*/ 29 h 576"/>
                <a:gd name="T20" fmla="*/ 331 w 468"/>
                <a:gd name="T21" fmla="*/ 39 h 576"/>
                <a:gd name="T22" fmla="*/ 331 w 468"/>
                <a:gd name="T23" fmla="*/ 49 h 576"/>
                <a:gd name="T24" fmla="*/ 331 w 468"/>
                <a:gd name="T25" fmla="*/ 68 h 576"/>
                <a:gd name="T26" fmla="*/ 361 w 468"/>
                <a:gd name="T27" fmla="*/ 117 h 576"/>
                <a:gd name="T28" fmla="*/ 390 w 468"/>
                <a:gd name="T29" fmla="*/ 137 h 576"/>
                <a:gd name="T30" fmla="*/ 419 w 468"/>
                <a:gd name="T31" fmla="*/ 156 h 576"/>
                <a:gd name="T32" fmla="*/ 439 w 468"/>
                <a:gd name="T33" fmla="*/ 176 h 576"/>
                <a:gd name="T34" fmla="*/ 458 w 468"/>
                <a:gd name="T35" fmla="*/ 195 h 576"/>
                <a:gd name="T36" fmla="*/ 468 w 468"/>
                <a:gd name="T37" fmla="*/ 215 h 576"/>
                <a:gd name="T38" fmla="*/ 448 w 468"/>
                <a:gd name="T39" fmla="*/ 234 h 576"/>
                <a:gd name="T40" fmla="*/ 448 w 468"/>
                <a:gd name="T41" fmla="*/ 254 h 576"/>
                <a:gd name="T42" fmla="*/ 419 w 468"/>
                <a:gd name="T43" fmla="*/ 254 h 576"/>
                <a:gd name="T44" fmla="*/ 409 w 468"/>
                <a:gd name="T45" fmla="*/ 273 h 576"/>
                <a:gd name="T46" fmla="*/ 380 w 468"/>
                <a:gd name="T47" fmla="*/ 263 h 576"/>
                <a:gd name="T48" fmla="*/ 361 w 468"/>
                <a:gd name="T49" fmla="*/ 273 h 576"/>
                <a:gd name="T50" fmla="*/ 341 w 468"/>
                <a:gd name="T51" fmla="*/ 254 h 576"/>
                <a:gd name="T52" fmla="*/ 361 w 468"/>
                <a:gd name="T53" fmla="*/ 234 h 576"/>
                <a:gd name="T54" fmla="*/ 331 w 468"/>
                <a:gd name="T55" fmla="*/ 205 h 576"/>
                <a:gd name="T56" fmla="*/ 283 w 468"/>
                <a:gd name="T57" fmla="*/ 244 h 576"/>
                <a:gd name="T58" fmla="*/ 273 w 468"/>
                <a:gd name="T59" fmla="*/ 273 h 576"/>
                <a:gd name="T60" fmla="*/ 322 w 468"/>
                <a:gd name="T61" fmla="*/ 302 h 576"/>
                <a:gd name="T62" fmla="*/ 351 w 468"/>
                <a:gd name="T63" fmla="*/ 322 h 576"/>
                <a:gd name="T64" fmla="*/ 390 w 468"/>
                <a:gd name="T65" fmla="*/ 332 h 576"/>
                <a:gd name="T66" fmla="*/ 429 w 468"/>
                <a:gd name="T67" fmla="*/ 332 h 576"/>
                <a:gd name="T68" fmla="*/ 419 w 468"/>
                <a:gd name="T69" fmla="*/ 361 h 576"/>
                <a:gd name="T70" fmla="*/ 390 w 468"/>
                <a:gd name="T71" fmla="*/ 381 h 576"/>
                <a:gd name="T72" fmla="*/ 361 w 468"/>
                <a:gd name="T73" fmla="*/ 381 h 576"/>
                <a:gd name="T74" fmla="*/ 322 w 468"/>
                <a:gd name="T75" fmla="*/ 381 h 576"/>
                <a:gd name="T76" fmla="*/ 283 w 468"/>
                <a:gd name="T77" fmla="*/ 410 h 576"/>
                <a:gd name="T78" fmla="*/ 263 w 468"/>
                <a:gd name="T79" fmla="*/ 439 h 576"/>
                <a:gd name="T80" fmla="*/ 253 w 468"/>
                <a:gd name="T81" fmla="*/ 468 h 576"/>
                <a:gd name="T82" fmla="*/ 234 w 468"/>
                <a:gd name="T83" fmla="*/ 478 h 576"/>
                <a:gd name="T84" fmla="*/ 214 w 468"/>
                <a:gd name="T85" fmla="*/ 517 h 576"/>
                <a:gd name="T86" fmla="*/ 185 w 468"/>
                <a:gd name="T87" fmla="*/ 537 h 576"/>
                <a:gd name="T88" fmla="*/ 166 w 468"/>
                <a:gd name="T89" fmla="*/ 546 h 576"/>
                <a:gd name="T90" fmla="*/ 127 w 468"/>
                <a:gd name="T91" fmla="*/ 576 h 576"/>
                <a:gd name="T92" fmla="*/ 107 w 468"/>
                <a:gd name="T93" fmla="*/ 546 h 576"/>
                <a:gd name="T94" fmla="*/ 68 w 468"/>
                <a:gd name="T95" fmla="*/ 537 h 576"/>
                <a:gd name="T96" fmla="*/ 49 w 468"/>
                <a:gd name="T97" fmla="*/ 517 h 576"/>
                <a:gd name="T98" fmla="*/ 29 w 468"/>
                <a:gd name="T99" fmla="*/ 517 h 576"/>
                <a:gd name="T100" fmla="*/ 39 w 468"/>
                <a:gd name="T101" fmla="*/ 488 h 576"/>
                <a:gd name="T102" fmla="*/ 29 w 468"/>
                <a:gd name="T103" fmla="*/ 449 h 576"/>
                <a:gd name="T104" fmla="*/ 49 w 468"/>
                <a:gd name="T105" fmla="*/ 429 h 576"/>
                <a:gd name="T106" fmla="*/ 58 w 468"/>
                <a:gd name="T107" fmla="*/ 400 h 576"/>
                <a:gd name="T108" fmla="*/ 19 w 468"/>
                <a:gd name="T109" fmla="*/ 410 h 576"/>
                <a:gd name="T110" fmla="*/ 10 w 468"/>
                <a:gd name="T111" fmla="*/ 371 h 576"/>
                <a:gd name="T112" fmla="*/ 29 w 468"/>
                <a:gd name="T113" fmla="*/ 361 h 576"/>
                <a:gd name="T114" fmla="*/ 10 w 468"/>
                <a:gd name="T115" fmla="*/ 342 h 576"/>
                <a:gd name="T116" fmla="*/ 29 w 468"/>
                <a:gd name="T117" fmla="*/ 273 h 576"/>
                <a:gd name="T118" fmla="*/ 29 w 468"/>
                <a:gd name="T119" fmla="*/ 254 h 576"/>
                <a:gd name="T120" fmla="*/ 10 w 468"/>
                <a:gd name="T121" fmla="*/ 224 h 576"/>
                <a:gd name="T122" fmla="*/ 19 w 468"/>
                <a:gd name="T123" fmla="*/ 176 h 576"/>
                <a:gd name="T124" fmla="*/ 49 w 468"/>
                <a:gd name="T125" fmla="*/ 117 h 57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576"/>
                <a:gd name="T191" fmla="*/ 468 w 468"/>
                <a:gd name="T192" fmla="*/ 576 h 57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576">
                  <a:moveTo>
                    <a:pt x="49" y="117"/>
                  </a:moveTo>
                  <a:lnTo>
                    <a:pt x="68" y="117"/>
                  </a:lnTo>
                  <a:lnTo>
                    <a:pt x="88" y="117"/>
                  </a:lnTo>
                  <a:lnTo>
                    <a:pt x="88" y="88"/>
                  </a:lnTo>
                  <a:lnTo>
                    <a:pt x="88" y="68"/>
                  </a:lnTo>
                  <a:lnTo>
                    <a:pt x="88" y="59"/>
                  </a:lnTo>
                  <a:lnTo>
                    <a:pt x="107" y="68"/>
                  </a:lnTo>
                  <a:lnTo>
                    <a:pt x="156" y="59"/>
                  </a:lnTo>
                  <a:lnTo>
                    <a:pt x="175" y="59"/>
                  </a:lnTo>
                  <a:lnTo>
                    <a:pt x="185" y="49"/>
                  </a:lnTo>
                  <a:lnTo>
                    <a:pt x="175" y="20"/>
                  </a:lnTo>
                  <a:lnTo>
                    <a:pt x="166" y="0"/>
                  </a:lnTo>
                  <a:lnTo>
                    <a:pt x="175" y="0"/>
                  </a:lnTo>
                  <a:lnTo>
                    <a:pt x="205" y="0"/>
                  </a:lnTo>
                  <a:lnTo>
                    <a:pt x="234" y="0"/>
                  </a:lnTo>
                  <a:lnTo>
                    <a:pt x="253" y="0"/>
                  </a:lnTo>
                  <a:lnTo>
                    <a:pt x="263" y="20"/>
                  </a:lnTo>
                  <a:lnTo>
                    <a:pt x="283" y="29"/>
                  </a:lnTo>
                  <a:lnTo>
                    <a:pt x="302" y="39"/>
                  </a:lnTo>
                  <a:lnTo>
                    <a:pt x="331" y="39"/>
                  </a:lnTo>
                  <a:lnTo>
                    <a:pt x="341" y="49"/>
                  </a:lnTo>
                  <a:lnTo>
                    <a:pt x="331" y="49"/>
                  </a:lnTo>
                  <a:lnTo>
                    <a:pt x="331" y="59"/>
                  </a:lnTo>
                  <a:lnTo>
                    <a:pt x="331" y="68"/>
                  </a:lnTo>
                  <a:lnTo>
                    <a:pt x="351" y="78"/>
                  </a:lnTo>
                  <a:lnTo>
                    <a:pt x="361" y="117"/>
                  </a:lnTo>
                  <a:lnTo>
                    <a:pt x="380" y="117"/>
                  </a:lnTo>
                  <a:lnTo>
                    <a:pt x="390" y="137"/>
                  </a:lnTo>
                  <a:lnTo>
                    <a:pt x="400" y="137"/>
                  </a:lnTo>
                  <a:lnTo>
                    <a:pt x="419" y="156"/>
                  </a:lnTo>
                  <a:lnTo>
                    <a:pt x="419" y="166"/>
                  </a:lnTo>
                  <a:lnTo>
                    <a:pt x="439" y="176"/>
                  </a:lnTo>
                  <a:lnTo>
                    <a:pt x="458" y="185"/>
                  </a:lnTo>
                  <a:lnTo>
                    <a:pt x="458" y="195"/>
                  </a:lnTo>
                  <a:lnTo>
                    <a:pt x="468" y="195"/>
                  </a:lnTo>
                  <a:lnTo>
                    <a:pt x="468" y="215"/>
                  </a:lnTo>
                  <a:lnTo>
                    <a:pt x="448" y="224"/>
                  </a:lnTo>
                  <a:lnTo>
                    <a:pt x="448" y="234"/>
                  </a:lnTo>
                  <a:lnTo>
                    <a:pt x="439" y="244"/>
                  </a:lnTo>
                  <a:lnTo>
                    <a:pt x="448" y="254"/>
                  </a:lnTo>
                  <a:lnTo>
                    <a:pt x="448" y="263"/>
                  </a:lnTo>
                  <a:lnTo>
                    <a:pt x="419" y="254"/>
                  </a:lnTo>
                  <a:lnTo>
                    <a:pt x="419" y="273"/>
                  </a:lnTo>
                  <a:lnTo>
                    <a:pt x="409" y="273"/>
                  </a:lnTo>
                  <a:lnTo>
                    <a:pt x="400" y="263"/>
                  </a:lnTo>
                  <a:lnTo>
                    <a:pt x="380" y="263"/>
                  </a:lnTo>
                  <a:lnTo>
                    <a:pt x="380" y="273"/>
                  </a:lnTo>
                  <a:lnTo>
                    <a:pt x="361" y="273"/>
                  </a:lnTo>
                  <a:lnTo>
                    <a:pt x="361" y="254"/>
                  </a:lnTo>
                  <a:lnTo>
                    <a:pt x="341" y="254"/>
                  </a:lnTo>
                  <a:lnTo>
                    <a:pt x="331" y="244"/>
                  </a:lnTo>
                  <a:lnTo>
                    <a:pt x="361" y="234"/>
                  </a:lnTo>
                  <a:lnTo>
                    <a:pt x="351" y="215"/>
                  </a:lnTo>
                  <a:lnTo>
                    <a:pt x="331" y="205"/>
                  </a:lnTo>
                  <a:lnTo>
                    <a:pt x="292" y="215"/>
                  </a:lnTo>
                  <a:lnTo>
                    <a:pt x="283" y="244"/>
                  </a:lnTo>
                  <a:lnTo>
                    <a:pt x="273" y="254"/>
                  </a:lnTo>
                  <a:lnTo>
                    <a:pt x="273" y="273"/>
                  </a:lnTo>
                  <a:lnTo>
                    <a:pt x="292" y="302"/>
                  </a:lnTo>
                  <a:lnTo>
                    <a:pt x="322" y="302"/>
                  </a:lnTo>
                  <a:lnTo>
                    <a:pt x="341" y="332"/>
                  </a:lnTo>
                  <a:lnTo>
                    <a:pt x="351" y="322"/>
                  </a:lnTo>
                  <a:lnTo>
                    <a:pt x="370" y="332"/>
                  </a:lnTo>
                  <a:lnTo>
                    <a:pt x="390" y="332"/>
                  </a:lnTo>
                  <a:lnTo>
                    <a:pt x="419" y="332"/>
                  </a:lnTo>
                  <a:lnTo>
                    <a:pt x="429" y="332"/>
                  </a:lnTo>
                  <a:lnTo>
                    <a:pt x="429" y="342"/>
                  </a:lnTo>
                  <a:lnTo>
                    <a:pt x="419" y="361"/>
                  </a:lnTo>
                  <a:lnTo>
                    <a:pt x="400" y="361"/>
                  </a:lnTo>
                  <a:lnTo>
                    <a:pt x="390" y="381"/>
                  </a:lnTo>
                  <a:lnTo>
                    <a:pt x="370" y="390"/>
                  </a:lnTo>
                  <a:lnTo>
                    <a:pt x="361" y="381"/>
                  </a:lnTo>
                  <a:lnTo>
                    <a:pt x="341" y="381"/>
                  </a:lnTo>
                  <a:lnTo>
                    <a:pt x="322" y="381"/>
                  </a:lnTo>
                  <a:lnTo>
                    <a:pt x="302" y="400"/>
                  </a:lnTo>
                  <a:lnTo>
                    <a:pt x="283" y="410"/>
                  </a:lnTo>
                  <a:lnTo>
                    <a:pt x="273" y="420"/>
                  </a:lnTo>
                  <a:lnTo>
                    <a:pt x="263" y="439"/>
                  </a:lnTo>
                  <a:lnTo>
                    <a:pt x="253" y="459"/>
                  </a:lnTo>
                  <a:lnTo>
                    <a:pt x="253" y="468"/>
                  </a:lnTo>
                  <a:lnTo>
                    <a:pt x="244" y="478"/>
                  </a:lnTo>
                  <a:lnTo>
                    <a:pt x="234" y="478"/>
                  </a:lnTo>
                  <a:lnTo>
                    <a:pt x="224" y="498"/>
                  </a:lnTo>
                  <a:lnTo>
                    <a:pt x="214" y="517"/>
                  </a:lnTo>
                  <a:lnTo>
                    <a:pt x="205" y="537"/>
                  </a:lnTo>
                  <a:lnTo>
                    <a:pt x="185" y="537"/>
                  </a:lnTo>
                  <a:lnTo>
                    <a:pt x="175" y="537"/>
                  </a:lnTo>
                  <a:lnTo>
                    <a:pt x="166" y="546"/>
                  </a:lnTo>
                  <a:lnTo>
                    <a:pt x="146" y="566"/>
                  </a:lnTo>
                  <a:lnTo>
                    <a:pt x="127" y="576"/>
                  </a:lnTo>
                  <a:lnTo>
                    <a:pt x="107" y="566"/>
                  </a:lnTo>
                  <a:lnTo>
                    <a:pt x="107" y="546"/>
                  </a:lnTo>
                  <a:lnTo>
                    <a:pt x="88" y="537"/>
                  </a:lnTo>
                  <a:lnTo>
                    <a:pt x="68" y="537"/>
                  </a:lnTo>
                  <a:lnTo>
                    <a:pt x="49" y="537"/>
                  </a:lnTo>
                  <a:lnTo>
                    <a:pt x="49" y="517"/>
                  </a:lnTo>
                  <a:lnTo>
                    <a:pt x="39" y="517"/>
                  </a:lnTo>
                  <a:lnTo>
                    <a:pt x="29" y="517"/>
                  </a:lnTo>
                  <a:lnTo>
                    <a:pt x="29" y="488"/>
                  </a:lnTo>
                  <a:lnTo>
                    <a:pt x="39" y="488"/>
                  </a:lnTo>
                  <a:lnTo>
                    <a:pt x="39" y="45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9" y="429"/>
                  </a:lnTo>
                  <a:lnTo>
                    <a:pt x="68" y="420"/>
                  </a:lnTo>
                  <a:lnTo>
                    <a:pt x="58" y="400"/>
                  </a:lnTo>
                  <a:lnTo>
                    <a:pt x="39" y="400"/>
                  </a:lnTo>
                  <a:lnTo>
                    <a:pt x="19" y="410"/>
                  </a:lnTo>
                  <a:lnTo>
                    <a:pt x="10" y="390"/>
                  </a:lnTo>
                  <a:lnTo>
                    <a:pt x="10" y="371"/>
                  </a:lnTo>
                  <a:lnTo>
                    <a:pt x="0" y="361"/>
                  </a:lnTo>
                  <a:lnTo>
                    <a:pt x="29" y="361"/>
                  </a:lnTo>
                  <a:lnTo>
                    <a:pt x="29" y="351"/>
                  </a:lnTo>
                  <a:lnTo>
                    <a:pt x="10" y="342"/>
                  </a:lnTo>
                  <a:lnTo>
                    <a:pt x="29" y="293"/>
                  </a:lnTo>
                  <a:lnTo>
                    <a:pt x="29" y="273"/>
                  </a:lnTo>
                  <a:lnTo>
                    <a:pt x="39" y="263"/>
                  </a:lnTo>
                  <a:lnTo>
                    <a:pt x="29" y="254"/>
                  </a:lnTo>
                  <a:lnTo>
                    <a:pt x="10" y="244"/>
                  </a:lnTo>
                  <a:lnTo>
                    <a:pt x="10" y="224"/>
                  </a:lnTo>
                  <a:lnTo>
                    <a:pt x="10" y="205"/>
                  </a:lnTo>
                  <a:lnTo>
                    <a:pt x="19" y="176"/>
                  </a:lnTo>
                  <a:lnTo>
                    <a:pt x="29" y="146"/>
                  </a:lnTo>
                  <a:lnTo>
                    <a:pt x="49" y="11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371"/>
            <p:cNvSpPr>
              <a:spLocks/>
            </p:cNvSpPr>
            <p:nvPr/>
          </p:nvSpPr>
          <p:spPr bwMode="auto">
            <a:xfrm>
              <a:off x="2410" y="2273"/>
              <a:ext cx="324" cy="294"/>
            </a:xfrm>
            <a:custGeom>
              <a:avLst/>
              <a:gdLst>
                <a:gd name="T0" fmla="*/ 10 w 322"/>
                <a:gd name="T1" fmla="*/ 215 h 293"/>
                <a:gd name="T2" fmla="*/ 39 w 322"/>
                <a:gd name="T3" fmla="*/ 225 h 293"/>
                <a:gd name="T4" fmla="*/ 69 w 322"/>
                <a:gd name="T5" fmla="*/ 225 h 293"/>
                <a:gd name="T6" fmla="*/ 78 w 322"/>
                <a:gd name="T7" fmla="*/ 234 h 293"/>
                <a:gd name="T8" fmla="*/ 88 w 322"/>
                <a:gd name="T9" fmla="*/ 234 h 293"/>
                <a:gd name="T10" fmla="*/ 88 w 322"/>
                <a:gd name="T11" fmla="*/ 215 h 293"/>
                <a:gd name="T12" fmla="*/ 117 w 322"/>
                <a:gd name="T13" fmla="*/ 205 h 293"/>
                <a:gd name="T14" fmla="*/ 137 w 322"/>
                <a:gd name="T15" fmla="*/ 205 h 293"/>
                <a:gd name="T16" fmla="*/ 137 w 322"/>
                <a:gd name="T17" fmla="*/ 215 h 293"/>
                <a:gd name="T18" fmla="*/ 127 w 322"/>
                <a:gd name="T19" fmla="*/ 225 h 293"/>
                <a:gd name="T20" fmla="*/ 108 w 322"/>
                <a:gd name="T21" fmla="*/ 225 h 293"/>
                <a:gd name="T22" fmla="*/ 108 w 322"/>
                <a:gd name="T23" fmla="*/ 244 h 293"/>
                <a:gd name="T24" fmla="*/ 117 w 322"/>
                <a:gd name="T25" fmla="*/ 254 h 293"/>
                <a:gd name="T26" fmla="*/ 137 w 322"/>
                <a:gd name="T27" fmla="*/ 244 h 293"/>
                <a:gd name="T28" fmla="*/ 137 w 322"/>
                <a:gd name="T29" fmla="*/ 264 h 293"/>
                <a:gd name="T30" fmla="*/ 127 w 322"/>
                <a:gd name="T31" fmla="*/ 264 h 293"/>
                <a:gd name="T32" fmla="*/ 108 w 322"/>
                <a:gd name="T33" fmla="*/ 283 h 293"/>
                <a:gd name="T34" fmla="*/ 108 w 322"/>
                <a:gd name="T35" fmla="*/ 293 h 293"/>
                <a:gd name="T36" fmla="*/ 127 w 322"/>
                <a:gd name="T37" fmla="*/ 293 h 293"/>
                <a:gd name="T38" fmla="*/ 147 w 322"/>
                <a:gd name="T39" fmla="*/ 293 h 293"/>
                <a:gd name="T40" fmla="*/ 195 w 322"/>
                <a:gd name="T41" fmla="*/ 293 h 293"/>
                <a:gd name="T42" fmla="*/ 195 w 322"/>
                <a:gd name="T43" fmla="*/ 283 h 293"/>
                <a:gd name="T44" fmla="*/ 186 w 322"/>
                <a:gd name="T45" fmla="*/ 254 h 293"/>
                <a:gd name="T46" fmla="*/ 195 w 322"/>
                <a:gd name="T47" fmla="*/ 234 h 293"/>
                <a:gd name="T48" fmla="*/ 205 w 322"/>
                <a:gd name="T49" fmla="*/ 234 h 293"/>
                <a:gd name="T50" fmla="*/ 225 w 322"/>
                <a:gd name="T51" fmla="*/ 234 h 293"/>
                <a:gd name="T52" fmla="*/ 244 w 322"/>
                <a:gd name="T53" fmla="*/ 215 h 293"/>
                <a:gd name="T54" fmla="*/ 234 w 322"/>
                <a:gd name="T55" fmla="*/ 205 h 293"/>
                <a:gd name="T56" fmla="*/ 244 w 322"/>
                <a:gd name="T57" fmla="*/ 176 h 293"/>
                <a:gd name="T58" fmla="*/ 283 w 322"/>
                <a:gd name="T59" fmla="*/ 147 h 293"/>
                <a:gd name="T60" fmla="*/ 303 w 322"/>
                <a:gd name="T61" fmla="*/ 117 h 293"/>
                <a:gd name="T62" fmla="*/ 312 w 322"/>
                <a:gd name="T63" fmla="*/ 88 h 293"/>
                <a:gd name="T64" fmla="*/ 322 w 322"/>
                <a:gd name="T65" fmla="*/ 69 h 293"/>
                <a:gd name="T66" fmla="*/ 303 w 322"/>
                <a:gd name="T67" fmla="*/ 69 h 293"/>
                <a:gd name="T68" fmla="*/ 293 w 322"/>
                <a:gd name="T69" fmla="*/ 39 h 293"/>
                <a:gd name="T70" fmla="*/ 264 w 322"/>
                <a:gd name="T71" fmla="*/ 30 h 293"/>
                <a:gd name="T72" fmla="*/ 244 w 322"/>
                <a:gd name="T73" fmla="*/ 10 h 293"/>
                <a:gd name="T74" fmla="*/ 234 w 322"/>
                <a:gd name="T75" fmla="*/ 0 h 293"/>
                <a:gd name="T76" fmla="*/ 205 w 322"/>
                <a:gd name="T77" fmla="*/ 10 h 293"/>
                <a:gd name="T78" fmla="*/ 186 w 322"/>
                <a:gd name="T79" fmla="*/ 20 h 293"/>
                <a:gd name="T80" fmla="*/ 195 w 322"/>
                <a:gd name="T81" fmla="*/ 39 h 293"/>
                <a:gd name="T82" fmla="*/ 176 w 322"/>
                <a:gd name="T83" fmla="*/ 49 h 293"/>
                <a:gd name="T84" fmla="*/ 166 w 322"/>
                <a:gd name="T85" fmla="*/ 78 h 293"/>
                <a:gd name="T86" fmla="*/ 137 w 322"/>
                <a:gd name="T87" fmla="*/ 88 h 293"/>
                <a:gd name="T88" fmla="*/ 108 w 322"/>
                <a:gd name="T89" fmla="*/ 69 h 293"/>
                <a:gd name="T90" fmla="*/ 88 w 322"/>
                <a:gd name="T91" fmla="*/ 88 h 293"/>
                <a:gd name="T92" fmla="*/ 88 w 322"/>
                <a:gd name="T93" fmla="*/ 108 h 293"/>
                <a:gd name="T94" fmla="*/ 88 w 322"/>
                <a:gd name="T95" fmla="*/ 137 h 293"/>
                <a:gd name="T96" fmla="*/ 59 w 322"/>
                <a:gd name="T97" fmla="*/ 147 h 293"/>
                <a:gd name="T98" fmla="*/ 49 w 322"/>
                <a:gd name="T99" fmla="*/ 137 h 293"/>
                <a:gd name="T100" fmla="*/ 39 w 322"/>
                <a:gd name="T101" fmla="*/ 147 h 293"/>
                <a:gd name="T102" fmla="*/ 49 w 322"/>
                <a:gd name="T103" fmla="*/ 156 h 293"/>
                <a:gd name="T104" fmla="*/ 30 w 322"/>
                <a:gd name="T105" fmla="*/ 176 h 293"/>
                <a:gd name="T106" fmla="*/ 30 w 322"/>
                <a:gd name="T107" fmla="*/ 186 h 293"/>
                <a:gd name="T108" fmla="*/ 10 w 322"/>
                <a:gd name="T109" fmla="*/ 195 h 293"/>
                <a:gd name="T110" fmla="*/ 10 w 322"/>
                <a:gd name="T111" fmla="*/ 176 h 293"/>
                <a:gd name="T112" fmla="*/ 0 w 322"/>
                <a:gd name="T113" fmla="*/ 205 h 293"/>
                <a:gd name="T114" fmla="*/ 10 w 322"/>
                <a:gd name="T115" fmla="*/ 215 h 29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22"/>
                <a:gd name="T175" fmla="*/ 0 h 293"/>
                <a:gd name="T176" fmla="*/ 322 w 322"/>
                <a:gd name="T177" fmla="*/ 293 h 29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22" h="293">
                  <a:moveTo>
                    <a:pt x="10" y="215"/>
                  </a:moveTo>
                  <a:lnTo>
                    <a:pt x="39" y="225"/>
                  </a:lnTo>
                  <a:lnTo>
                    <a:pt x="69" y="225"/>
                  </a:lnTo>
                  <a:lnTo>
                    <a:pt x="78" y="234"/>
                  </a:lnTo>
                  <a:lnTo>
                    <a:pt x="88" y="234"/>
                  </a:lnTo>
                  <a:lnTo>
                    <a:pt x="88" y="215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37" y="215"/>
                  </a:lnTo>
                  <a:lnTo>
                    <a:pt x="127" y="225"/>
                  </a:lnTo>
                  <a:lnTo>
                    <a:pt x="108" y="225"/>
                  </a:lnTo>
                  <a:lnTo>
                    <a:pt x="108" y="244"/>
                  </a:lnTo>
                  <a:lnTo>
                    <a:pt x="117" y="254"/>
                  </a:lnTo>
                  <a:lnTo>
                    <a:pt x="137" y="244"/>
                  </a:lnTo>
                  <a:lnTo>
                    <a:pt x="137" y="264"/>
                  </a:lnTo>
                  <a:lnTo>
                    <a:pt x="127" y="26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93"/>
                  </a:lnTo>
                  <a:lnTo>
                    <a:pt x="147" y="293"/>
                  </a:lnTo>
                  <a:lnTo>
                    <a:pt x="195" y="293"/>
                  </a:lnTo>
                  <a:lnTo>
                    <a:pt x="195" y="283"/>
                  </a:lnTo>
                  <a:lnTo>
                    <a:pt x="186" y="254"/>
                  </a:lnTo>
                  <a:lnTo>
                    <a:pt x="195" y="234"/>
                  </a:lnTo>
                  <a:lnTo>
                    <a:pt x="205" y="234"/>
                  </a:lnTo>
                  <a:lnTo>
                    <a:pt x="225" y="234"/>
                  </a:lnTo>
                  <a:lnTo>
                    <a:pt x="244" y="215"/>
                  </a:lnTo>
                  <a:lnTo>
                    <a:pt x="234" y="205"/>
                  </a:lnTo>
                  <a:lnTo>
                    <a:pt x="244" y="176"/>
                  </a:lnTo>
                  <a:lnTo>
                    <a:pt x="283" y="147"/>
                  </a:lnTo>
                  <a:lnTo>
                    <a:pt x="303" y="117"/>
                  </a:lnTo>
                  <a:lnTo>
                    <a:pt x="312" y="88"/>
                  </a:lnTo>
                  <a:lnTo>
                    <a:pt x="322" y="69"/>
                  </a:lnTo>
                  <a:lnTo>
                    <a:pt x="303" y="69"/>
                  </a:lnTo>
                  <a:lnTo>
                    <a:pt x="293" y="39"/>
                  </a:lnTo>
                  <a:lnTo>
                    <a:pt x="264" y="30"/>
                  </a:lnTo>
                  <a:lnTo>
                    <a:pt x="244" y="10"/>
                  </a:lnTo>
                  <a:lnTo>
                    <a:pt x="234" y="0"/>
                  </a:lnTo>
                  <a:lnTo>
                    <a:pt x="205" y="10"/>
                  </a:lnTo>
                  <a:lnTo>
                    <a:pt x="186" y="20"/>
                  </a:lnTo>
                  <a:lnTo>
                    <a:pt x="195" y="39"/>
                  </a:lnTo>
                  <a:lnTo>
                    <a:pt x="176" y="49"/>
                  </a:lnTo>
                  <a:lnTo>
                    <a:pt x="166" y="78"/>
                  </a:lnTo>
                  <a:lnTo>
                    <a:pt x="137" y="88"/>
                  </a:lnTo>
                  <a:lnTo>
                    <a:pt x="108" y="69"/>
                  </a:lnTo>
                  <a:lnTo>
                    <a:pt x="88" y="88"/>
                  </a:lnTo>
                  <a:lnTo>
                    <a:pt x="88" y="108"/>
                  </a:lnTo>
                  <a:lnTo>
                    <a:pt x="88" y="137"/>
                  </a:lnTo>
                  <a:lnTo>
                    <a:pt x="59" y="147"/>
                  </a:lnTo>
                  <a:lnTo>
                    <a:pt x="49" y="137"/>
                  </a:lnTo>
                  <a:lnTo>
                    <a:pt x="39" y="147"/>
                  </a:lnTo>
                  <a:lnTo>
                    <a:pt x="49" y="156"/>
                  </a:lnTo>
                  <a:lnTo>
                    <a:pt x="30" y="176"/>
                  </a:lnTo>
                  <a:lnTo>
                    <a:pt x="30" y="186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205"/>
                  </a:lnTo>
                  <a:lnTo>
                    <a:pt x="10" y="215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370"/>
            <p:cNvSpPr>
              <a:spLocks/>
            </p:cNvSpPr>
            <p:nvPr/>
          </p:nvSpPr>
          <p:spPr bwMode="auto">
            <a:xfrm>
              <a:off x="2049" y="2654"/>
              <a:ext cx="595" cy="691"/>
            </a:xfrm>
            <a:custGeom>
              <a:avLst/>
              <a:gdLst>
                <a:gd name="T0" fmla="*/ 215 w 595"/>
                <a:gd name="T1" fmla="*/ 58 h 693"/>
                <a:gd name="T2" fmla="*/ 273 w 595"/>
                <a:gd name="T3" fmla="*/ 19 h 693"/>
                <a:gd name="T4" fmla="*/ 303 w 595"/>
                <a:gd name="T5" fmla="*/ 19 h 693"/>
                <a:gd name="T6" fmla="*/ 332 w 595"/>
                <a:gd name="T7" fmla="*/ 39 h 693"/>
                <a:gd name="T8" fmla="*/ 332 w 595"/>
                <a:gd name="T9" fmla="*/ 58 h 693"/>
                <a:gd name="T10" fmla="*/ 313 w 595"/>
                <a:gd name="T11" fmla="*/ 136 h 693"/>
                <a:gd name="T12" fmla="*/ 342 w 595"/>
                <a:gd name="T13" fmla="*/ 175 h 693"/>
                <a:gd name="T14" fmla="*/ 313 w 595"/>
                <a:gd name="T15" fmla="*/ 254 h 693"/>
                <a:gd name="T16" fmla="*/ 303 w 595"/>
                <a:gd name="T17" fmla="*/ 273 h 693"/>
                <a:gd name="T18" fmla="*/ 322 w 595"/>
                <a:gd name="T19" fmla="*/ 322 h 693"/>
                <a:gd name="T20" fmla="*/ 371 w 595"/>
                <a:gd name="T21" fmla="*/ 341 h 693"/>
                <a:gd name="T22" fmla="*/ 332 w 595"/>
                <a:gd name="T23" fmla="*/ 361 h 693"/>
                <a:gd name="T24" fmla="*/ 332 w 595"/>
                <a:gd name="T25" fmla="*/ 400 h 693"/>
                <a:gd name="T26" fmla="*/ 352 w 595"/>
                <a:gd name="T27" fmla="*/ 439 h 693"/>
                <a:gd name="T28" fmla="*/ 391 w 595"/>
                <a:gd name="T29" fmla="*/ 449 h 693"/>
                <a:gd name="T30" fmla="*/ 430 w 595"/>
                <a:gd name="T31" fmla="*/ 488 h 693"/>
                <a:gd name="T32" fmla="*/ 478 w 595"/>
                <a:gd name="T33" fmla="*/ 449 h 693"/>
                <a:gd name="T34" fmla="*/ 517 w 595"/>
                <a:gd name="T35" fmla="*/ 439 h 693"/>
                <a:gd name="T36" fmla="*/ 527 w 595"/>
                <a:gd name="T37" fmla="*/ 458 h 693"/>
                <a:gd name="T38" fmla="*/ 586 w 595"/>
                <a:gd name="T39" fmla="*/ 488 h 693"/>
                <a:gd name="T40" fmla="*/ 547 w 595"/>
                <a:gd name="T41" fmla="*/ 517 h 693"/>
                <a:gd name="T42" fmla="*/ 556 w 595"/>
                <a:gd name="T43" fmla="*/ 556 h 693"/>
                <a:gd name="T44" fmla="*/ 566 w 595"/>
                <a:gd name="T45" fmla="*/ 595 h 693"/>
                <a:gd name="T46" fmla="*/ 595 w 595"/>
                <a:gd name="T47" fmla="*/ 654 h 693"/>
                <a:gd name="T48" fmla="*/ 566 w 595"/>
                <a:gd name="T49" fmla="*/ 683 h 693"/>
                <a:gd name="T50" fmla="*/ 498 w 595"/>
                <a:gd name="T51" fmla="*/ 683 h 693"/>
                <a:gd name="T52" fmla="*/ 469 w 595"/>
                <a:gd name="T53" fmla="*/ 644 h 693"/>
                <a:gd name="T54" fmla="*/ 430 w 595"/>
                <a:gd name="T55" fmla="*/ 634 h 693"/>
                <a:gd name="T56" fmla="*/ 391 w 595"/>
                <a:gd name="T57" fmla="*/ 585 h 693"/>
                <a:gd name="T58" fmla="*/ 391 w 595"/>
                <a:gd name="T59" fmla="*/ 536 h 693"/>
                <a:gd name="T60" fmla="*/ 332 w 595"/>
                <a:gd name="T61" fmla="*/ 527 h 693"/>
                <a:gd name="T62" fmla="*/ 293 w 595"/>
                <a:gd name="T63" fmla="*/ 488 h 693"/>
                <a:gd name="T64" fmla="*/ 254 w 595"/>
                <a:gd name="T65" fmla="*/ 478 h 693"/>
                <a:gd name="T66" fmla="*/ 205 w 595"/>
                <a:gd name="T67" fmla="*/ 488 h 693"/>
                <a:gd name="T68" fmla="*/ 176 w 595"/>
                <a:gd name="T69" fmla="*/ 449 h 693"/>
                <a:gd name="T70" fmla="*/ 147 w 595"/>
                <a:gd name="T71" fmla="*/ 410 h 693"/>
                <a:gd name="T72" fmla="*/ 117 w 595"/>
                <a:gd name="T73" fmla="*/ 419 h 693"/>
                <a:gd name="T74" fmla="*/ 127 w 595"/>
                <a:gd name="T75" fmla="*/ 351 h 693"/>
                <a:gd name="T76" fmla="*/ 127 w 595"/>
                <a:gd name="T77" fmla="*/ 293 h 693"/>
                <a:gd name="T78" fmla="*/ 78 w 595"/>
                <a:gd name="T79" fmla="*/ 263 h 693"/>
                <a:gd name="T80" fmla="*/ 30 w 595"/>
                <a:gd name="T81" fmla="*/ 214 h 693"/>
                <a:gd name="T82" fmla="*/ 20 w 595"/>
                <a:gd name="T83" fmla="*/ 185 h 693"/>
                <a:gd name="T84" fmla="*/ 20 w 595"/>
                <a:gd name="T85" fmla="*/ 156 h 693"/>
                <a:gd name="T86" fmla="*/ 98 w 595"/>
                <a:gd name="T87" fmla="*/ 136 h 693"/>
                <a:gd name="T88" fmla="*/ 117 w 595"/>
                <a:gd name="T89" fmla="*/ 127 h 693"/>
                <a:gd name="T90" fmla="*/ 195 w 595"/>
                <a:gd name="T91" fmla="*/ 107 h 69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595"/>
                <a:gd name="T139" fmla="*/ 0 h 693"/>
                <a:gd name="T140" fmla="*/ 595 w 595"/>
                <a:gd name="T141" fmla="*/ 693 h 69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595" h="693">
                  <a:moveTo>
                    <a:pt x="205" y="97"/>
                  </a:moveTo>
                  <a:lnTo>
                    <a:pt x="215" y="68"/>
                  </a:lnTo>
                  <a:lnTo>
                    <a:pt x="215" y="58"/>
                  </a:lnTo>
                  <a:lnTo>
                    <a:pt x="234" y="49"/>
                  </a:lnTo>
                  <a:lnTo>
                    <a:pt x="264" y="39"/>
                  </a:lnTo>
                  <a:lnTo>
                    <a:pt x="273" y="19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303" y="19"/>
                  </a:lnTo>
                  <a:lnTo>
                    <a:pt x="313" y="29"/>
                  </a:lnTo>
                  <a:lnTo>
                    <a:pt x="332" y="29"/>
                  </a:lnTo>
                  <a:lnTo>
                    <a:pt x="332" y="39"/>
                  </a:lnTo>
                  <a:lnTo>
                    <a:pt x="313" y="39"/>
                  </a:lnTo>
                  <a:lnTo>
                    <a:pt x="322" y="68"/>
                  </a:lnTo>
                  <a:lnTo>
                    <a:pt x="332" y="58"/>
                  </a:lnTo>
                  <a:lnTo>
                    <a:pt x="322" y="88"/>
                  </a:lnTo>
                  <a:lnTo>
                    <a:pt x="313" y="117"/>
                  </a:lnTo>
                  <a:lnTo>
                    <a:pt x="313" y="136"/>
                  </a:lnTo>
                  <a:lnTo>
                    <a:pt x="313" y="156"/>
                  </a:lnTo>
                  <a:lnTo>
                    <a:pt x="332" y="166"/>
                  </a:lnTo>
                  <a:lnTo>
                    <a:pt x="342" y="175"/>
                  </a:lnTo>
                  <a:lnTo>
                    <a:pt x="332" y="185"/>
                  </a:lnTo>
                  <a:lnTo>
                    <a:pt x="332" y="214"/>
                  </a:lnTo>
                  <a:lnTo>
                    <a:pt x="313" y="254"/>
                  </a:lnTo>
                  <a:lnTo>
                    <a:pt x="332" y="263"/>
                  </a:lnTo>
                  <a:lnTo>
                    <a:pt x="332" y="273"/>
                  </a:lnTo>
                  <a:lnTo>
                    <a:pt x="303" y="273"/>
                  </a:lnTo>
                  <a:lnTo>
                    <a:pt x="313" y="293"/>
                  </a:lnTo>
                  <a:lnTo>
                    <a:pt x="313" y="302"/>
                  </a:lnTo>
                  <a:lnTo>
                    <a:pt x="322" y="322"/>
                  </a:lnTo>
                  <a:lnTo>
                    <a:pt x="342" y="312"/>
                  </a:lnTo>
                  <a:lnTo>
                    <a:pt x="361" y="312"/>
                  </a:lnTo>
                  <a:lnTo>
                    <a:pt x="371" y="341"/>
                  </a:lnTo>
                  <a:lnTo>
                    <a:pt x="352" y="341"/>
                  </a:lnTo>
                  <a:lnTo>
                    <a:pt x="342" y="361"/>
                  </a:lnTo>
                  <a:lnTo>
                    <a:pt x="332" y="361"/>
                  </a:lnTo>
                  <a:lnTo>
                    <a:pt x="342" y="371"/>
                  </a:lnTo>
                  <a:lnTo>
                    <a:pt x="342" y="400"/>
                  </a:lnTo>
                  <a:lnTo>
                    <a:pt x="332" y="400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52" y="439"/>
                  </a:lnTo>
                  <a:lnTo>
                    <a:pt x="352" y="449"/>
                  </a:lnTo>
                  <a:lnTo>
                    <a:pt x="371" y="449"/>
                  </a:lnTo>
                  <a:lnTo>
                    <a:pt x="391" y="449"/>
                  </a:lnTo>
                  <a:lnTo>
                    <a:pt x="410" y="458"/>
                  </a:lnTo>
                  <a:lnTo>
                    <a:pt x="410" y="478"/>
                  </a:lnTo>
                  <a:lnTo>
                    <a:pt x="430" y="488"/>
                  </a:lnTo>
                  <a:lnTo>
                    <a:pt x="449" y="478"/>
                  </a:lnTo>
                  <a:lnTo>
                    <a:pt x="469" y="458"/>
                  </a:lnTo>
                  <a:lnTo>
                    <a:pt x="478" y="449"/>
                  </a:lnTo>
                  <a:lnTo>
                    <a:pt x="488" y="449"/>
                  </a:lnTo>
                  <a:lnTo>
                    <a:pt x="508" y="449"/>
                  </a:lnTo>
                  <a:lnTo>
                    <a:pt x="517" y="439"/>
                  </a:lnTo>
                  <a:lnTo>
                    <a:pt x="517" y="449"/>
                  </a:lnTo>
                  <a:lnTo>
                    <a:pt x="517" y="458"/>
                  </a:lnTo>
                  <a:lnTo>
                    <a:pt x="527" y="458"/>
                  </a:lnTo>
                  <a:lnTo>
                    <a:pt x="547" y="458"/>
                  </a:lnTo>
                  <a:lnTo>
                    <a:pt x="566" y="468"/>
                  </a:lnTo>
                  <a:lnTo>
                    <a:pt x="586" y="488"/>
                  </a:lnTo>
                  <a:lnTo>
                    <a:pt x="586" y="497"/>
                  </a:lnTo>
                  <a:lnTo>
                    <a:pt x="556" y="507"/>
                  </a:lnTo>
                  <a:lnTo>
                    <a:pt x="547" y="517"/>
                  </a:lnTo>
                  <a:lnTo>
                    <a:pt x="556" y="527"/>
                  </a:lnTo>
                  <a:lnTo>
                    <a:pt x="547" y="546"/>
                  </a:lnTo>
                  <a:lnTo>
                    <a:pt x="556" y="556"/>
                  </a:lnTo>
                  <a:lnTo>
                    <a:pt x="566" y="575"/>
                  </a:lnTo>
                  <a:lnTo>
                    <a:pt x="556" y="585"/>
                  </a:lnTo>
                  <a:lnTo>
                    <a:pt x="566" y="595"/>
                  </a:lnTo>
                  <a:lnTo>
                    <a:pt x="566" y="605"/>
                  </a:lnTo>
                  <a:lnTo>
                    <a:pt x="586" y="634"/>
                  </a:lnTo>
                  <a:lnTo>
                    <a:pt x="595" y="654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66" y="683"/>
                  </a:lnTo>
                  <a:lnTo>
                    <a:pt x="547" y="693"/>
                  </a:lnTo>
                  <a:lnTo>
                    <a:pt x="527" y="693"/>
                  </a:lnTo>
                  <a:lnTo>
                    <a:pt x="498" y="683"/>
                  </a:lnTo>
                  <a:lnTo>
                    <a:pt x="488" y="663"/>
                  </a:lnTo>
                  <a:lnTo>
                    <a:pt x="478" y="634"/>
                  </a:lnTo>
                  <a:lnTo>
                    <a:pt x="469" y="644"/>
                  </a:lnTo>
                  <a:lnTo>
                    <a:pt x="449" y="654"/>
                  </a:lnTo>
                  <a:lnTo>
                    <a:pt x="420" y="654"/>
                  </a:lnTo>
                  <a:lnTo>
                    <a:pt x="430" y="634"/>
                  </a:lnTo>
                  <a:lnTo>
                    <a:pt x="400" y="615"/>
                  </a:lnTo>
                  <a:lnTo>
                    <a:pt x="391" y="595"/>
                  </a:lnTo>
                  <a:lnTo>
                    <a:pt x="391" y="585"/>
                  </a:lnTo>
                  <a:lnTo>
                    <a:pt x="391" y="575"/>
                  </a:lnTo>
                  <a:lnTo>
                    <a:pt x="400" y="556"/>
                  </a:lnTo>
                  <a:lnTo>
                    <a:pt x="391" y="536"/>
                  </a:lnTo>
                  <a:lnTo>
                    <a:pt x="361" y="517"/>
                  </a:lnTo>
                  <a:lnTo>
                    <a:pt x="342" y="527"/>
                  </a:lnTo>
                  <a:lnTo>
                    <a:pt x="332" y="527"/>
                  </a:lnTo>
                  <a:lnTo>
                    <a:pt x="313" y="517"/>
                  </a:lnTo>
                  <a:lnTo>
                    <a:pt x="322" y="497"/>
                  </a:lnTo>
                  <a:lnTo>
                    <a:pt x="293" y="488"/>
                  </a:lnTo>
                  <a:lnTo>
                    <a:pt x="273" y="488"/>
                  </a:lnTo>
                  <a:lnTo>
                    <a:pt x="273" y="468"/>
                  </a:lnTo>
                  <a:lnTo>
                    <a:pt x="254" y="478"/>
                  </a:lnTo>
                  <a:lnTo>
                    <a:pt x="244" y="468"/>
                  </a:lnTo>
                  <a:lnTo>
                    <a:pt x="234" y="478"/>
                  </a:lnTo>
                  <a:lnTo>
                    <a:pt x="205" y="488"/>
                  </a:lnTo>
                  <a:lnTo>
                    <a:pt x="186" y="468"/>
                  </a:lnTo>
                  <a:lnTo>
                    <a:pt x="186" y="458"/>
                  </a:lnTo>
                  <a:lnTo>
                    <a:pt x="176" y="449"/>
                  </a:lnTo>
                  <a:lnTo>
                    <a:pt x="176" y="390"/>
                  </a:lnTo>
                  <a:lnTo>
                    <a:pt x="166" y="390"/>
                  </a:lnTo>
                  <a:lnTo>
                    <a:pt x="147" y="410"/>
                  </a:lnTo>
                  <a:lnTo>
                    <a:pt x="137" y="419"/>
                  </a:lnTo>
                  <a:lnTo>
                    <a:pt x="117" y="429"/>
                  </a:lnTo>
                  <a:lnTo>
                    <a:pt x="117" y="419"/>
                  </a:lnTo>
                  <a:lnTo>
                    <a:pt x="127" y="410"/>
                  </a:lnTo>
                  <a:lnTo>
                    <a:pt x="127" y="390"/>
                  </a:lnTo>
                  <a:lnTo>
                    <a:pt x="127" y="351"/>
                  </a:lnTo>
                  <a:lnTo>
                    <a:pt x="117" y="341"/>
                  </a:lnTo>
                  <a:lnTo>
                    <a:pt x="127" y="312"/>
                  </a:lnTo>
                  <a:lnTo>
                    <a:pt x="127" y="293"/>
                  </a:lnTo>
                  <a:lnTo>
                    <a:pt x="108" y="283"/>
                  </a:lnTo>
                  <a:lnTo>
                    <a:pt x="88" y="263"/>
                  </a:lnTo>
                  <a:lnTo>
                    <a:pt x="78" y="263"/>
                  </a:lnTo>
                  <a:lnTo>
                    <a:pt x="78" y="224"/>
                  </a:lnTo>
                  <a:lnTo>
                    <a:pt x="49" y="214"/>
                  </a:lnTo>
                  <a:lnTo>
                    <a:pt x="30" y="214"/>
                  </a:lnTo>
                  <a:lnTo>
                    <a:pt x="20" y="214"/>
                  </a:lnTo>
                  <a:lnTo>
                    <a:pt x="0" y="205"/>
                  </a:lnTo>
                  <a:lnTo>
                    <a:pt x="20" y="185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20" y="156"/>
                  </a:lnTo>
                  <a:lnTo>
                    <a:pt x="49" y="156"/>
                  </a:lnTo>
                  <a:lnTo>
                    <a:pt x="78" y="156"/>
                  </a:lnTo>
                  <a:lnTo>
                    <a:pt x="98" y="136"/>
                  </a:lnTo>
                  <a:lnTo>
                    <a:pt x="98" y="127"/>
                  </a:lnTo>
                  <a:lnTo>
                    <a:pt x="108" y="117"/>
                  </a:lnTo>
                  <a:lnTo>
                    <a:pt x="117" y="127"/>
                  </a:lnTo>
                  <a:lnTo>
                    <a:pt x="137" y="107"/>
                  </a:lnTo>
                  <a:lnTo>
                    <a:pt x="166" y="107"/>
                  </a:lnTo>
                  <a:lnTo>
                    <a:pt x="195" y="107"/>
                  </a:lnTo>
                  <a:lnTo>
                    <a:pt x="205" y="9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369"/>
            <p:cNvSpPr>
              <a:spLocks/>
            </p:cNvSpPr>
            <p:nvPr/>
          </p:nvSpPr>
          <p:spPr bwMode="auto">
            <a:xfrm>
              <a:off x="2908" y="2858"/>
              <a:ext cx="430" cy="322"/>
            </a:xfrm>
            <a:custGeom>
              <a:avLst/>
              <a:gdLst>
                <a:gd name="T0" fmla="*/ 78 w 429"/>
                <a:gd name="T1" fmla="*/ 88 h 322"/>
                <a:gd name="T2" fmla="*/ 39 w 429"/>
                <a:gd name="T3" fmla="*/ 97 h 322"/>
                <a:gd name="T4" fmla="*/ 10 w 429"/>
                <a:gd name="T5" fmla="*/ 107 h 322"/>
                <a:gd name="T6" fmla="*/ 0 w 429"/>
                <a:gd name="T7" fmla="*/ 136 h 322"/>
                <a:gd name="T8" fmla="*/ 19 w 429"/>
                <a:gd name="T9" fmla="*/ 156 h 322"/>
                <a:gd name="T10" fmla="*/ 49 w 429"/>
                <a:gd name="T11" fmla="*/ 175 h 322"/>
                <a:gd name="T12" fmla="*/ 49 w 429"/>
                <a:gd name="T13" fmla="*/ 205 h 322"/>
                <a:gd name="T14" fmla="*/ 39 w 429"/>
                <a:gd name="T15" fmla="*/ 214 h 322"/>
                <a:gd name="T16" fmla="*/ 58 w 429"/>
                <a:gd name="T17" fmla="*/ 253 h 322"/>
                <a:gd name="T18" fmla="*/ 78 w 429"/>
                <a:gd name="T19" fmla="*/ 263 h 322"/>
                <a:gd name="T20" fmla="*/ 107 w 429"/>
                <a:gd name="T21" fmla="*/ 263 h 322"/>
                <a:gd name="T22" fmla="*/ 146 w 429"/>
                <a:gd name="T23" fmla="*/ 273 h 322"/>
                <a:gd name="T24" fmla="*/ 156 w 429"/>
                <a:gd name="T25" fmla="*/ 292 h 322"/>
                <a:gd name="T26" fmla="*/ 185 w 429"/>
                <a:gd name="T27" fmla="*/ 273 h 322"/>
                <a:gd name="T28" fmla="*/ 214 w 429"/>
                <a:gd name="T29" fmla="*/ 273 h 322"/>
                <a:gd name="T30" fmla="*/ 234 w 429"/>
                <a:gd name="T31" fmla="*/ 292 h 322"/>
                <a:gd name="T32" fmla="*/ 263 w 429"/>
                <a:gd name="T33" fmla="*/ 292 h 322"/>
                <a:gd name="T34" fmla="*/ 312 w 429"/>
                <a:gd name="T35" fmla="*/ 302 h 322"/>
                <a:gd name="T36" fmla="*/ 341 w 429"/>
                <a:gd name="T37" fmla="*/ 312 h 322"/>
                <a:gd name="T38" fmla="*/ 370 w 429"/>
                <a:gd name="T39" fmla="*/ 322 h 322"/>
                <a:gd name="T40" fmla="*/ 380 w 429"/>
                <a:gd name="T41" fmla="*/ 292 h 322"/>
                <a:gd name="T42" fmla="*/ 409 w 429"/>
                <a:gd name="T43" fmla="*/ 312 h 322"/>
                <a:gd name="T44" fmla="*/ 419 w 429"/>
                <a:gd name="T45" fmla="*/ 273 h 322"/>
                <a:gd name="T46" fmla="*/ 409 w 429"/>
                <a:gd name="T47" fmla="*/ 234 h 322"/>
                <a:gd name="T48" fmla="*/ 370 w 429"/>
                <a:gd name="T49" fmla="*/ 224 h 322"/>
                <a:gd name="T50" fmla="*/ 351 w 429"/>
                <a:gd name="T51" fmla="*/ 205 h 322"/>
                <a:gd name="T52" fmla="*/ 322 w 429"/>
                <a:gd name="T53" fmla="*/ 166 h 322"/>
                <a:gd name="T54" fmla="*/ 292 w 429"/>
                <a:gd name="T55" fmla="*/ 117 h 322"/>
                <a:gd name="T56" fmla="*/ 263 w 429"/>
                <a:gd name="T57" fmla="*/ 78 h 322"/>
                <a:gd name="T58" fmla="*/ 283 w 429"/>
                <a:gd name="T59" fmla="*/ 39 h 322"/>
                <a:gd name="T60" fmla="*/ 263 w 429"/>
                <a:gd name="T61" fmla="*/ 29 h 322"/>
                <a:gd name="T62" fmla="*/ 214 w 429"/>
                <a:gd name="T63" fmla="*/ 49 h 322"/>
                <a:gd name="T64" fmla="*/ 195 w 429"/>
                <a:gd name="T65" fmla="*/ 39 h 322"/>
                <a:gd name="T66" fmla="*/ 175 w 429"/>
                <a:gd name="T67" fmla="*/ 19 h 322"/>
                <a:gd name="T68" fmla="*/ 127 w 429"/>
                <a:gd name="T69" fmla="*/ 0 h 322"/>
                <a:gd name="T70" fmla="*/ 88 w 429"/>
                <a:gd name="T71" fmla="*/ 9 h 322"/>
                <a:gd name="T72" fmla="*/ 88 w 429"/>
                <a:gd name="T73" fmla="*/ 39 h 322"/>
                <a:gd name="T74" fmla="*/ 78 w 429"/>
                <a:gd name="T75" fmla="*/ 68 h 32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29"/>
                <a:gd name="T115" fmla="*/ 0 h 322"/>
                <a:gd name="T116" fmla="*/ 429 w 429"/>
                <a:gd name="T117" fmla="*/ 322 h 32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29" h="322">
                  <a:moveTo>
                    <a:pt x="78" y="68"/>
                  </a:moveTo>
                  <a:lnTo>
                    <a:pt x="78" y="88"/>
                  </a:lnTo>
                  <a:lnTo>
                    <a:pt x="49" y="88"/>
                  </a:lnTo>
                  <a:lnTo>
                    <a:pt x="39" y="97"/>
                  </a:lnTo>
                  <a:lnTo>
                    <a:pt x="29" y="117"/>
                  </a:lnTo>
                  <a:lnTo>
                    <a:pt x="10" y="107"/>
                  </a:lnTo>
                  <a:lnTo>
                    <a:pt x="10" y="127"/>
                  </a:lnTo>
                  <a:lnTo>
                    <a:pt x="0" y="136"/>
                  </a:lnTo>
                  <a:lnTo>
                    <a:pt x="0" y="156"/>
                  </a:lnTo>
                  <a:lnTo>
                    <a:pt x="19" y="156"/>
                  </a:lnTo>
                  <a:lnTo>
                    <a:pt x="29" y="175"/>
                  </a:lnTo>
                  <a:lnTo>
                    <a:pt x="49" y="175"/>
                  </a:lnTo>
                  <a:lnTo>
                    <a:pt x="58" y="185"/>
                  </a:lnTo>
                  <a:lnTo>
                    <a:pt x="49" y="205"/>
                  </a:lnTo>
                  <a:lnTo>
                    <a:pt x="39" y="205"/>
                  </a:lnTo>
                  <a:lnTo>
                    <a:pt x="39" y="214"/>
                  </a:lnTo>
                  <a:lnTo>
                    <a:pt x="49" y="244"/>
                  </a:lnTo>
                  <a:lnTo>
                    <a:pt x="58" y="253"/>
                  </a:lnTo>
                  <a:lnTo>
                    <a:pt x="68" y="273"/>
                  </a:lnTo>
                  <a:lnTo>
                    <a:pt x="78" y="263"/>
                  </a:lnTo>
                  <a:lnTo>
                    <a:pt x="97" y="253"/>
                  </a:lnTo>
                  <a:lnTo>
                    <a:pt x="107" y="26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83"/>
                  </a:lnTo>
                  <a:lnTo>
                    <a:pt x="156" y="292"/>
                  </a:lnTo>
                  <a:lnTo>
                    <a:pt x="166" y="273"/>
                  </a:lnTo>
                  <a:lnTo>
                    <a:pt x="185" y="273"/>
                  </a:lnTo>
                  <a:lnTo>
                    <a:pt x="205" y="283"/>
                  </a:lnTo>
                  <a:lnTo>
                    <a:pt x="214" y="273"/>
                  </a:lnTo>
                  <a:lnTo>
                    <a:pt x="224" y="283"/>
                  </a:lnTo>
                  <a:lnTo>
                    <a:pt x="234" y="292"/>
                  </a:lnTo>
                  <a:lnTo>
                    <a:pt x="253" y="292"/>
                  </a:lnTo>
                  <a:lnTo>
                    <a:pt x="263" y="292"/>
                  </a:lnTo>
                  <a:lnTo>
                    <a:pt x="292" y="302"/>
                  </a:lnTo>
                  <a:lnTo>
                    <a:pt x="312" y="302"/>
                  </a:lnTo>
                  <a:lnTo>
                    <a:pt x="331" y="312"/>
                  </a:lnTo>
                  <a:lnTo>
                    <a:pt x="341" y="312"/>
                  </a:lnTo>
                  <a:lnTo>
                    <a:pt x="351" y="312"/>
                  </a:lnTo>
                  <a:lnTo>
                    <a:pt x="370" y="322"/>
                  </a:lnTo>
                  <a:lnTo>
                    <a:pt x="380" y="312"/>
                  </a:lnTo>
                  <a:lnTo>
                    <a:pt x="380" y="292"/>
                  </a:lnTo>
                  <a:lnTo>
                    <a:pt x="390" y="292"/>
                  </a:lnTo>
                  <a:lnTo>
                    <a:pt x="409" y="312"/>
                  </a:lnTo>
                  <a:lnTo>
                    <a:pt x="429" y="302"/>
                  </a:lnTo>
                  <a:lnTo>
                    <a:pt x="419" y="273"/>
                  </a:lnTo>
                  <a:lnTo>
                    <a:pt x="409" y="253"/>
                  </a:lnTo>
                  <a:lnTo>
                    <a:pt x="409" y="234"/>
                  </a:lnTo>
                  <a:lnTo>
                    <a:pt x="390" y="244"/>
                  </a:lnTo>
                  <a:lnTo>
                    <a:pt x="370" y="224"/>
                  </a:lnTo>
                  <a:lnTo>
                    <a:pt x="351" y="214"/>
                  </a:lnTo>
                  <a:lnTo>
                    <a:pt x="351" y="205"/>
                  </a:lnTo>
                  <a:lnTo>
                    <a:pt x="341" y="175"/>
                  </a:lnTo>
                  <a:lnTo>
                    <a:pt x="322" y="166"/>
                  </a:lnTo>
                  <a:lnTo>
                    <a:pt x="292" y="146"/>
                  </a:lnTo>
                  <a:lnTo>
                    <a:pt x="292" y="117"/>
                  </a:lnTo>
                  <a:lnTo>
                    <a:pt x="273" y="97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39"/>
                  </a:lnTo>
                  <a:lnTo>
                    <a:pt x="283" y="19"/>
                  </a:lnTo>
                  <a:lnTo>
                    <a:pt x="263" y="29"/>
                  </a:lnTo>
                  <a:lnTo>
                    <a:pt x="224" y="39"/>
                  </a:lnTo>
                  <a:lnTo>
                    <a:pt x="214" y="49"/>
                  </a:lnTo>
                  <a:lnTo>
                    <a:pt x="205" y="49"/>
                  </a:lnTo>
                  <a:lnTo>
                    <a:pt x="195" y="39"/>
                  </a:lnTo>
                  <a:lnTo>
                    <a:pt x="195" y="19"/>
                  </a:lnTo>
                  <a:lnTo>
                    <a:pt x="175" y="19"/>
                  </a:lnTo>
                  <a:lnTo>
                    <a:pt x="156" y="0"/>
                  </a:lnTo>
                  <a:lnTo>
                    <a:pt x="127" y="0"/>
                  </a:lnTo>
                  <a:lnTo>
                    <a:pt x="107" y="9"/>
                  </a:lnTo>
                  <a:lnTo>
                    <a:pt x="88" y="9"/>
                  </a:lnTo>
                  <a:lnTo>
                    <a:pt x="78" y="29"/>
                  </a:lnTo>
                  <a:lnTo>
                    <a:pt x="88" y="39"/>
                  </a:lnTo>
                  <a:lnTo>
                    <a:pt x="78" y="49"/>
                  </a:lnTo>
                  <a:lnTo>
                    <a:pt x="78" y="68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368"/>
            <p:cNvSpPr>
              <a:spLocks/>
            </p:cNvSpPr>
            <p:nvPr/>
          </p:nvSpPr>
          <p:spPr bwMode="auto">
            <a:xfrm>
              <a:off x="2734" y="2233"/>
              <a:ext cx="612" cy="675"/>
            </a:xfrm>
            <a:custGeom>
              <a:avLst/>
              <a:gdLst>
                <a:gd name="T0" fmla="*/ 615 w 615"/>
                <a:gd name="T1" fmla="*/ 517 h 674"/>
                <a:gd name="T2" fmla="*/ 605 w 615"/>
                <a:gd name="T3" fmla="*/ 576 h 674"/>
                <a:gd name="T4" fmla="*/ 546 w 615"/>
                <a:gd name="T5" fmla="*/ 576 h 674"/>
                <a:gd name="T6" fmla="*/ 488 w 615"/>
                <a:gd name="T7" fmla="*/ 605 h 674"/>
                <a:gd name="T8" fmla="*/ 488 w 615"/>
                <a:gd name="T9" fmla="*/ 644 h 674"/>
                <a:gd name="T10" fmla="*/ 439 w 615"/>
                <a:gd name="T11" fmla="*/ 654 h 674"/>
                <a:gd name="T12" fmla="*/ 390 w 615"/>
                <a:gd name="T13" fmla="*/ 674 h 674"/>
                <a:gd name="T14" fmla="*/ 371 w 615"/>
                <a:gd name="T15" fmla="*/ 664 h 674"/>
                <a:gd name="T16" fmla="*/ 351 w 615"/>
                <a:gd name="T17" fmla="*/ 634 h 674"/>
                <a:gd name="T18" fmla="*/ 303 w 615"/>
                <a:gd name="T19" fmla="*/ 615 h 674"/>
                <a:gd name="T20" fmla="*/ 264 w 615"/>
                <a:gd name="T21" fmla="*/ 634 h 674"/>
                <a:gd name="T22" fmla="*/ 244 w 615"/>
                <a:gd name="T23" fmla="*/ 595 h 674"/>
                <a:gd name="T24" fmla="*/ 205 w 615"/>
                <a:gd name="T25" fmla="*/ 586 h 674"/>
                <a:gd name="T26" fmla="*/ 156 w 615"/>
                <a:gd name="T27" fmla="*/ 556 h 674"/>
                <a:gd name="T28" fmla="*/ 107 w 615"/>
                <a:gd name="T29" fmla="*/ 517 h 674"/>
                <a:gd name="T30" fmla="*/ 78 w 615"/>
                <a:gd name="T31" fmla="*/ 527 h 674"/>
                <a:gd name="T32" fmla="*/ 59 w 615"/>
                <a:gd name="T33" fmla="*/ 508 h 674"/>
                <a:gd name="T34" fmla="*/ 39 w 615"/>
                <a:gd name="T35" fmla="*/ 488 h 674"/>
                <a:gd name="T36" fmla="*/ 10 w 615"/>
                <a:gd name="T37" fmla="*/ 469 h 674"/>
                <a:gd name="T38" fmla="*/ 10 w 615"/>
                <a:gd name="T39" fmla="*/ 430 h 674"/>
                <a:gd name="T40" fmla="*/ 39 w 615"/>
                <a:gd name="T41" fmla="*/ 400 h 674"/>
                <a:gd name="T42" fmla="*/ 68 w 615"/>
                <a:gd name="T43" fmla="*/ 391 h 674"/>
                <a:gd name="T44" fmla="*/ 98 w 615"/>
                <a:gd name="T45" fmla="*/ 400 h 674"/>
                <a:gd name="T46" fmla="*/ 127 w 615"/>
                <a:gd name="T47" fmla="*/ 361 h 674"/>
                <a:gd name="T48" fmla="*/ 156 w 615"/>
                <a:gd name="T49" fmla="*/ 342 h 674"/>
                <a:gd name="T50" fmla="*/ 166 w 615"/>
                <a:gd name="T51" fmla="*/ 361 h 674"/>
                <a:gd name="T52" fmla="*/ 195 w 615"/>
                <a:gd name="T53" fmla="*/ 361 h 674"/>
                <a:gd name="T54" fmla="*/ 215 w 615"/>
                <a:gd name="T55" fmla="*/ 322 h 674"/>
                <a:gd name="T56" fmla="*/ 254 w 615"/>
                <a:gd name="T57" fmla="*/ 332 h 674"/>
                <a:gd name="T58" fmla="*/ 293 w 615"/>
                <a:gd name="T59" fmla="*/ 293 h 674"/>
                <a:gd name="T60" fmla="*/ 273 w 615"/>
                <a:gd name="T61" fmla="*/ 273 h 674"/>
                <a:gd name="T62" fmla="*/ 303 w 615"/>
                <a:gd name="T63" fmla="*/ 215 h 674"/>
                <a:gd name="T64" fmla="*/ 322 w 615"/>
                <a:gd name="T65" fmla="*/ 176 h 674"/>
                <a:gd name="T66" fmla="*/ 381 w 615"/>
                <a:gd name="T67" fmla="*/ 137 h 674"/>
                <a:gd name="T68" fmla="*/ 439 w 615"/>
                <a:gd name="T69" fmla="*/ 88 h 674"/>
                <a:gd name="T70" fmla="*/ 459 w 615"/>
                <a:gd name="T71" fmla="*/ 49 h 674"/>
                <a:gd name="T72" fmla="*/ 478 w 615"/>
                <a:gd name="T73" fmla="*/ 20 h 674"/>
                <a:gd name="T74" fmla="*/ 507 w 615"/>
                <a:gd name="T75" fmla="*/ 0 h 674"/>
                <a:gd name="T76" fmla="*/ 517 w 615"/>
                <a:gd name="T77" fmla="*/ 20 h 674"/>
                <a:gd name="T78" fmla="*/ 546 w 615"/>
                <a:gd name="T79" fmla="*/ 49 h 674"/>
                <a:gd name="T80" fmla="*/ 605 w 615"/>
                <a:gd name="T81" fmla="*/ 137 h 674"/>
                <a:gd name="T82" fmla="*/ 605 w 615"/>
                <a:gd name="T83" fmla="*/ 186 h 674"/>
                <a:gd name="T84" fmla="*/ 595 w 615"/>
                <a:gd name="T85" fmla="*/ 225 h 674"/>
                <a:gd name="T86" fmla="*/ 595 w 615"/>
                <a:gd name="T87" fmla="*/ 293 h 674"/>
                <a:gd name="T88" fmla="*/ 566 w 615"/>
                <a:gd name="T89" fmla="*/ 361 h 674"/>
                <a:gd name="T90" fmla="*/ 615 w 615"/>
                <a:gd name="T91" fmla="*/ 410 h 674"/>
                <a:gd name="T92" fmla="*/ 605 w 615"/>
                <a:gd name="T93" fmla="*/ 459 h 67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15"/>
                <a:gd name="T142" fmla="*/ 0 h 674"/>
                <a:gd name="T143" fmla="*/ 615 w 615"/>
                <a:gd name="T144" fmla="*/ 674 h 67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15" h="674">
                  <a:moveTo>
                    <a:pt x="615" y="498"/>
                  </a:moveTo>
                  <a:lnTo>
                    <a:pt x="615" y="517"/>
                  </a:lnTo>
                  <a:lnTo>
                    <a:pt x="605" y="547"/>
                  </a:lnTo>
                  <a:lnTo>
                    <a:pt x="605" y="576"/>
                  </a:lnTo>
                  <a:lnTo>
                    <a:pt x="566" y="586"/>
                  </a:lnTo>
                  <a:lnTo>
                    <a:pt x="546" y="576"/>
                  </a:lnTo>
                  <a:lnTo>
                    <a:pt x="498" y="576"/>
                  </a:lnTo>
                  <a:lnTo>
                    <a:pt x="488" y="605"/>
                  </a:lnTo>
                  <a:lnTo>
                    <a:pt x="488" y="625"/>
                  </a:lnTo>
                  <a:lnTo>
                    <a:pt x="488" y="644"/>
                  </a:lnTo>
                  <a:lnTo>
                    <a:pt x="449" y="644"/>
                  </a:lnTo>
                  <a:lnTo>
                    <a:pt x="439" y="654"/>
                  </a:lnTo>
                  <a:lnTo>
                    <a:pt x="400" y="664"/>
                  </a:lnTo>
                  <a:lnTo>
                    <a:pt x="390" y="674"/>
                  </a:lnTo>
                  <a:lnTo>
                    <a:pt x="381" y="674"/>
                  </a:lnTo>
                  <a:lnTo>
                    <a:pt x="371" y="664"/>
                  </a:lnTo>
                  <a:lnTo>
                    <a:pt x="371" y="644"/>
                  </a:lnTo>
                  <a:lnTo>
                    <a:pt x="351" y="634"/>
                  </a:lnTo>
                  <a:lnTo>
                    <a:pt x="322" y="625"/>
                  </a:lnTo>
                  <a:lnTo>
                    <a:pt x="303" y="615"/>
                  </a:lnTo>
                  <a:lnTo>
                    <a:pt x="283" y="625"/>
                  </a:lnTo>
                  <a:lnTo>
                    <a:pt x="264" y="634"/>
                  </a:lnTo>
                  <a:lnTo>
                    <a:pt x="254" y="615"/>
                  </a:lnTo>
                  <a:lnTo>
                    <a:pt x="244" y="595"/>
                  </a:lnTo>
                  <a:lnTo>
                    <a:pt x="225" y="576"/>
                  </a:lnTo>
                  <a:lnTo>
                    <a:pt x="205" y="586"/>
                  </a:lnTo>
                  <a:lnTo>
                    <a:pt x="195" y="586"/>
                  </a:lnTo>
                  <a:lnTo>
                    <a:pt x="156" y="556"/>
                  </a:lnTo>
                  <a:lnTo>
                    <a:pt x="127" y="537"/>
                  </a:lnTo>
                  <a:lnTo>
                    <a:pt x="107" y="517"/>
                  </a:lnTo>
                  <a:lnTo>
                    <a:pt x="88" y="527"/>
                  </a:lnTo>
                  <a:lnTo>
                    <a:pt x="78" y="527"/>
                  </a:lnTo>
                  <a:lnTo>
                    <a:pt x="78" y="517"/>
                  </a:lnTo>
                  <a:lnTo>
                    <a:pt x="59" y="508"/>
                  </a:lnTo>
                  <a:lnTo>
                    <a:pt x="39" y="498"/>
                  </a:lnTo>
                  <a:lnTo>
                    <a:pt x="39" y="488"/>
                  </a:lnTo>
                  <a:lnTo>
                    <a:pt x="20" y="469"/>
                  </a:lnTo>
                  <a:lnTo>
                    <a:pt x="10" y="469"/>
                  </a:lnTo>
                  <a:lnTo>
                    <a:pt x="0" y="449"/>
                  </a:lnTo>
                  <a:lnTo>
                    <a:pt x="10" y="430"/>
                  </a:lnTo>
                  <a:lnTo>
                    <a:pt x="29" y="420"/>
                  </a:lnTo>
                  <a:lnTo>
                    <a:pt x="39" y="400"/>
                  </a:lnTo>
                  <a:lnTo>
                    <a:pt x="49" y="391"/>
                  </a:lnTo>
                  <a:lnTo>
                    <a:pt x="68" y="391"/>
                  </a:lnTo>
                  <a:lnTo>
                    <a:pt x="68" y="400"/>
                  </a:lnTo>
                  <a:lnTo>
                    <a:pt x="98" y="400"/>
                  </a:lnTo>
                  <a:lnTo>
                    <a:pt x="107" y="391"/>
                  </a:lnTo>
                  <a:lnTo>
                    <a:pt x="127" y="361"/>
                  </a:lnTo>
                  <a:lnTo>
                    <a:pt x="146" y="352"/>
                  </a:lnTo>
                  <a:lnTo>
                    <a:pt x="156" y="342"/>
                  </a:lnTo>
                  <a:lnTo>
                    <a:pt x="166" y="352"/>
                  </a:lnTo>
                  <a:lnTo>
                    <a:pt x="166" y="361"/>
                  </a:lnTo>
                  <a:lnTo>
                    <a:pt x="186" y="371"/>
                  </a:lnTo>
                  <a:lnTo>
                    <a:pt x="195" y="361"/>
                  </a:lnTo>
                  <a:lnTo>
                    <a:pt x="205" y="342"/>
                  </a:lnTo>
                  <a:lnTo>
                    <a:pt x="215" y="322"/>
                  </a:lnTo>
                  <a:lnTo>
                    <a:pt x="244" y="322"/>
                  </a:lnTo>
                  <a:lnTo>
                    <a:pt x="254" y="332"/>
                  </a:lnTo>
                  <a:lnTo>
                    <a:pt x="273" y="313"/>
                  </a:lnTo>
                  <a:lnTo>
                    <a:pt x="293" y="293"/>
                  </a:lnTo>
                  <a:lnTo>
                    <a:pt x="283" y="293"/>
                  </a:lnTo>
                  <a:lnTo>
                    <a:pt x="273" y="273"/>
                  </a:lnTo>
                  <a:lnTo>
                    <a:pt x="303" y="234"/>
                  </a:lnTo>
                  <a:lnTo>
                    <a:pt x="303" y="215"/>
                  </a:lnTo>
                  <a:lnTo>
                    <a:pt x="303" y="195"/>
                  </a:lnTo>
                  <a:lnTo>
                    <a:pt x="322" y="176"/>
                  </a:lnTo>
                  <a:lnTo>
                    <a:pt x="351" y="156"/>
                  </a:lnTo>
                  <a:lnTo>
                    <a:pt x="381" y="137"/>
                  </a:lnTo>
                  <a:lnTo>
                    <a:pt x="420" y="127"/>
                  </a:lnTo>
                  <a:lnTo>
                    <a:pt x="439" y="88"/>
                  </a:lnTo>
                  <a:lnTo>
                    <a:pt x="449" y="59"/>
                  </a:lnTo>
                  <a:lnTo>
                    <a:pt x="459" y="49"/>
                  </a:lnTo>
                  <a:lnTo>
                    <a:pt x="478" y="30"/>
                  </a:lnTo>
                  <a:lnTo>
                    <a:pt x="478" y="20"/>
                  </a:lnTo>
                  <a:lnTo>
                    <a:pt x="507" y="0"/>
                  </a:lnTo>
                  <a:lnTo>
                    <a:pt x="517" y="0"/>
                  </a:lnTo>
                  <a:lnTo>
                    <a:pt x="517" y="20"/>
                  </a:lnTo>
                  <a:lnTo>
                    <a:pt x="517" y="39"/>
                  </a:lnTo>
                  <a:lnTo>
                    <a:pt x="546" y="49"/>
                  </a:lnTo>
                  <a:lnTo>
                    <a:pt x="585" y="88"/>
                  </a:lnTo>
                  <a:lnTo>
                    <a:pt x="605" y="137"/>
                  </a:lnTo>
                  <a:lnTo>
                    <a:pt x="605" y="156"/>
                  </a:lnTo>
                  <a:lnTo>
                    <a:pt x="605" y="186"/>
                  </a:lnTo>
                  <a:lnTo>
                    <a:pt x="595" y="215"/>
                  </a:lnTo>
                  <a:lnTo>
                    <a:pt x="595" y="225"/>
                  </a:lnTo>
                  <a:lnTo>
                    <a:pt x="585" y="264"/>
                  </a:lnTo>
                  <a:lnTo>
                    <a:pt x="595" y="293"/>
                  </a:lnTo>
                  <a:lnTo>
                    <a:pt x="576" y="332"/>
                  </a:lnTo>
                  <a:lnTo>
                    <a:pt x="566" y="361"/>
                  </a:lnTo>
                  <a:lnTo>
                    <a:pt x="585" y="391"/>
                  </a:lnTo>
                  <a:lnTo>
                    <a:pt x="615" y="410"/>
                  </a:lnTo>
                  <a:lnTo>
                    <a:pt x="615" y="420"/>
                  </a:lnTo>
                  <a:lnTo>
                    <a:pt x="605" y="459"/>
                  </a:lnTo>
                  <a:lnTo>
                    <a:pt x="615" y="498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367"/>
            <p:cNvSpPr>
              <a:spLocks/>
            </p:cNvSpPr>
            <p:nvPr/>
          </p:nvSpPr>
          <p:spPr bwMode="auto">
            <a:xfrm>
              <a:off x="2596" y="2167"/>
              <a:ext cx="612" cy="517"/>
            </a:xfrm>
            <a:custGeom>
              <a:avLst/>
              <a:gdLst>
                <a:gd name="T0" fmla="*/ 0 w 614"/>
                <a:gd name="T1" fmla="*/ 361 h 517"/>
                <a:gd name="T2" fmla="*/ 19 w 614"/>
                <a:gd name="T3" fmla="*/ 351 h 517"/>
                <a:gd name="T4" fmla="*/ 58 w 614"/>
                <a:gd name="T5" fmla="*/ 332 h 517"/>
                <a:gd name="T6" fmla="*/ 58 w 614"/>
                <a:gd name="T7" fmla="*/ 293 h 517"/>
                <a:gd name="T8" fmla="*/ 117 w 614"/>
                <a:gd name="T9" fmla="*/ 224 h 517"/>
                <a:gd name="T10" fmla="*/ 136 w 614"/>
                <a:gd name="T11" fmla="*/ 185 h 517"/>
                <a:gd name="T12" fmla="*/ 156 w 614"/>
                <a:gd name="T13" fmla="*/ 195 h 517"/>
                <a:gd name="T14" fmla="*/ 195 w 614"/>
                <a:gd name="T15" fmla="*/ 205 h 517"/>
                <a:gd name="T16" fmla="*/ 204 w 614"/>
                <a:gd name="T17" fmla="*/ 195 h 517"/>
                <a:gd name="T18" fmla="*/ 253 w 614"/>
                <a:gd name="T19" fmla="*/ 215 h 517"/>
                <a:gd name="T20" fmla="*/ 282 w 614"/>
                <a:gd name="T21" fmla="*/ 224 h 517"/>
                <a:gd name="T22" fmla="*/ 302 w 614"/>
                <a:gd name="T23" fmla="*/ 205 h 517"/>
                <a:gd name="T24" fmla="*/ 273 w 614"/>
                <a:gd name="T25" fmla="*/ 185 h 517"/>
                <a:gd name="T26" fmla="*/ 282 w 614"/>
                <a:gd name="T27" fmla="*/ 156 h 517"/>
                <a:gd name="T28" fmla="*/ 292 w 614"/>
                <a:gd name="T29" fmla="*/ 146 h 517"/>
                <a:gd name="T30" fmla="*/ 302 w 614"/>
                <a:gd name="T31" fmla="*/ 137 h 517"/>
                <a:gd name="T32" fmla="*/ 312 w 614"/>
                <a:gd name="T33" fmla="*/ 107 h 517"/>
                <a:gd name="T34" fmla="*/ 322 w 614"/>
                <a:gd name="T35" fmla="*/ 107 h 517"/>
                <a:gd name="T36" fmla="*/ 341 w 614"/>
                <a:gd name="T37" fmla="*/ 88 h 517"/>
                <a:gd name="T38" fmla="*/ 341 w 614"/>
                <a:gd name="T39" fmla="*/ 68 h 517"/>
                <a:gd name="T40" fmla="*/ 341 w 614"/>
                <a:gd name="T41" fmla="*/ 49 h 517"/>
                <a:gd name="T42" fmla="*/ 361 w 614"/>
                <a:gd name="T43" fmla="*/ 29 h 517"/>
                <a:gd name="T44" fmla="*/ 400 w 614"/>
                <a:gd name="T45" fmla="*/ 0 h 517"/>
                <a:gd name="T46" fmla="*/ 429 w 614"/>
                <a:gd name="T47" fmla="*/ 10 h 517"/>
                <a:gd name="T48" fmla="*/ 468 w 614"/>
                <a:gd name="T49" fmla="*/ 29 h 517"/>
                <a:gd name="T50" fmla="*/ 497 w 614"/>
                <a:gd name="T51" fmla="*/ 29 h 517"/>
                <a:gd name="T52" fmla="*/ 575 w 614"/>
                <a:gd name="T53" fmla="*/ 68 h 517"/>
                <a:gd name="T54" fmla="*/ 614 w 614"/>
                <a:gd name="T55" fmla="*/ 98 h 517"/>
                <a:gd name="T56" fmla="*/ 595 w 614"/>
                <a:gd name="T57" fmla="*/ 137 h 517"/>
                <a:gd name="T58" fmla="*/ 556 w 614"/>
                <a:gd name="T59" fmla="*/ 195 h 517"/>
                <a:gd name="T60" fmla="*/ 487 w 614"/>
                <a:gd name="T61" fmla="*/ 234 h 517"/>
                <a:gd name="T62" fmla="*/ 439 w 614"/>
                <a:gd name="T63" fmla="*/ 263 h 517"/>
                <a:gd name="T64" fmla="*/ 439 w 614"/>
                <a:gd name="T65" fmla="*/ 302 h 517"/>
                <a:gd name="T66" fmla="*/ 419 w 614"/>
                <a:gd name="T67" fmla="*/ 361 h 517"/>
                <a:gd name="T68" fmla="*/ 409 w 614"/>
                <a:gd name="T69" fmla="*/ 381 h 517"/>
                <a:gd name="T70" fmla="*/ 380 w 614"/>
                <a:gd name="T71" fmla="*/ 390 h 517"/>
                <a:gd name="T72" fmla="*/ 341 w 614"/>
                <a:gd name="T73" fmla="*/ 410 h 517"/>
                <a:gd name="T74" fmla="*/ 322 w 614"/>
                <a:gd name="T75" fmla="*/ 439 h 517"/>
                <a:gd name="T76" fmla="*/ 302 w 614"/>
                <a:gd name="T77" fmla="*/ 420 h 517"/>
                <a:gd name="T78" fmla="*/ 282 w 614"/>
                <a:gd name="T79" fmla="*/ 420 h 517"/>
                <a:gd name="T80" fmla="*/ 243 w 614"/>
                <a:gd name="T81" fmla="*/ 459 h 517"/>
                <a:gd name="T82" fmla="*/ 204 w 614"/>
                <a:gd name="T83" fmla="*/ 468 h 517"/>
                <a:gd name="T84" fmla="*/ 185 w 614"/>
                <a:gd name="T85" fmla="*/ 459 h 517"/>
                <a:gd name="T86" fmla="*/ 165 w 614"/>
                <a:gd name="T87" fmla="*/ 488 h 517"/>
                <a:gd name="T88" fmla="*/ 146 w 614"/>
                <a:gd name="T89" fmla="*/ 517 h 517"/>
                <a:gd name="T90" fmla="*/ 107 w 614"/>
                <a:gd name="T91" fmla="*/ 478 h 517"/>
                <a:gd name="T92" fmla="*/ 87 w 614"/>
                <a:gd name="T93" fmla="*/ 459 h 517"/>
                <a:gd name="T94" fmla="*/ 97 w 614"/>
                <a:gd name="T95" fmla="*/ 449 h 517"/>
                <a:gd name="T96" fmla="*/ 58 w 614"/>
                <a:gd name="T97" fmla="*/ 439 h 517"/>
                <a:gd name="T98" fmla="*/ 19 w 614"/>
                <a:gd name="T99" fmla="*/ 420 h 51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14"/>
                <a:gd name="T151" fmla="*/ 0 h 517"/>
                <a:gd name="T152" fmla="*/ 614 w 614"/>
                <a:gd name="T153" fmla="*/ 517 h 51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14" h="517">
                  <a:moveTo>
                    <a:pt x="0" y="390"/>
                  </a:moveTo>
                  <a:lnTo>
                    <a:pt x="0" y="361"/>
                  </a:lnTo>
                  <a:lnTo>
                    <a:pt x="9" y="341"/>
                  </a:lnTo>
                  <a:lnTo>
                    <a:pt x="19" y="351"/>
                  </a:lnTo>
                  <a:lnTo>
                    <a:pt x="29" y="341"/>
                  </a:lnTo>
                  <a:lnTo>
                    <a:pt x="58" y="332"/>
                  </a:lnTo>
                  <a:lnTo>
                    <a:pt x="39" y="312"/>
                  </a:lnTo>
                  <a:lnTo>
                    <a:pt x="58" y="293"/>
                  </a:lnTo>
                  <a:lnTo>
                    <a:pt x="97" y="254"/>
                  </a:lnTo>
                  <a:lnTo>
                    <a:pt x="117" y="224"/>
                  </a:lnTo>
                  <a:lnTo>
                    <a:pt x="126" y="205"/>
                  </a:lnTo>
                  <a:lnTo>
                    <a:pt x="136" y="185"/>
                  </a:lnTo>
                  <a:lnTo>
                    <a:pt x="146" y="176"/>
                  </a:lnTo>
                  <a:lnTo>
                    <a:pt x="156" y="195"/>
                  </a:lnTo>
                  <a:lnTo>
                    <a:pt x="175" y="215"/>
                  </a:lnTo>
                  <a:lnTo>
                    <a:pt x="195" y="205"/>
                  </a:lnTo>
                  <a:lnTo>
                    <a:pt x="204" y="195"/>
                  </a:lnTo>
                  <a:lnTo>
                    <a:pt x="234" y="215"/>
                  </a:lnTo>
                  <a:lnTo>
                    <a:pt x="253" y="215"/>
                  </a:lnTo>
                  <a:lnTo>
                    <a:pt x="273" y="224"/>
                  </a:lnTo>
                  <a:lnTo>
                    <a:pt x="282" y="224"/>
                  </a:lnTo>
                  <a:lnTo>
                    <a:pt x="292" y="215"/>
                  </a:lnTo>
                  <a:lnTo>
                    <a:pt x="302" y="205"/>
                  </a:lnTo>
                  <a:lnTo>
                    <a:pt x="292" y="195"/>
                  </a:lnTo>
                  <a:lnTo>
                    <a:pt x="273" y="185"/>
                  </a:lnTo>
                  <a:lnTo>
                    <a:pt x="273" y="176"/>
                  </a:lnTo>
                  <a:lnTo>
                    <a:pt x="282" y="156"/>
                  </a:lnTo>
                  <a:lnTo>
                    <a:pt x="282" y="146"/>
                  </a:lnTo>
                  <a:lnTo>
                    <a:pt x="292" y="146"/>
                  </a:lnTo>
                  <a:lnTo>
                    <a:pt x="302" y="137"/>
                  </a:lnTo>
                  <a:lnTo>
                    <a:pt x="302" y="127"/>
                  </a:lnTo>
                  <a:lnTo>
                    <a:pt x="312" y="107"/>
                  </a:lnTo>
                  <a:lnTo>
                    <a:pt x="322" y="107"/>
                  </a:lnTo>
                  <a:lnTo>
                    <a:pt x="341" y="107"/>
                  </a:lnTo>
                  <a:lnTo>
                    <a:pt x="341" y="88"/>
                  </a:lnTo>
                  <a:lnTo>
                    <a:pt x="331" y="78"/>
                  </a:lnTo>
                  <a:lnTo>
                    <a:pt x="341" y="68"/>
                  </a:lnTo>
                  <a:lnTo>
                    <a:pt x="341" y="59"/>
                  </a:lnTo>
                  <a:lnTo>
                    <a:pt x="341" y="49"/>
                  </a:lnTo>
                  <a:lnTo>
                    <a:pt x="351" y="39"/>
                  </a:lnTo>
                  <a:lnTo>
                    <a:pt x="361" y="29"/>
                  </a:lnTo>
                  <a:lnTo>
                    <a:pt x="361" y="10"/>
                  </a:lnTo>
                  <a:lnTo>
                    <a:pt x="400" y="0"/>
                  </a:lnTo>
                  <a:lnTo>
                    <a:pt x="409" y="20"/>
                  </a:lnTo>
                  <a:lnTo>
                    <a:pt x="429" y="10"/>
                  </a:lnTo>
                  <a:lnTo>
                    <a:pt x="439" y="29"/>
                  </a:lnTo>
                  <a:lnTo>
                    <a:pt x="468" y="29"/>
                  </a:lnTo>
                  <a:lnTo>
                    <a:pt x="487" y="20"/>
                  </a:lnTo>
                  <a:lnTo>
                    <a:pt x="497" y="29"/>
                  </a:lnTo>
                  <a:lnTo>
                    <a:pt x="536" y="49"/>
                  </a:lnTo>
                  <a:lnTo>
                    <a:pt x="575" y="68"/>
                  </a:lnTo>
                  <a:lnTo>
                    <a:pt x="614" y="88"/>
                  </a:lnTo>
                  <a:lnTo>
                    <a:pt x="614" y="98"/>
                  </a:lnTo>
                  <a:lnTo>
                    <a:pt x="604" y="117"/>
                  </a:lnTo>
                  <a:lnTo>
                    <a:pt x="595" y="137"/>
                  </a:lnTo>
                  <a:lnTo>
                    <a:pt x="575" y="156"/>
                  </a:lnTo>
                  <a:lnTo>
                    <a:pt x="556" y="195"/>
                  </a:lnTo>
                  <a:lnTo>
                    <a:pt x="517" y="205"/>
                  </a:lnTo>
                  <a:lnTo>
                    <a:pt x="487" y="234"/>
                  </a:lnTo>
                  <a:lnTo>
                    <a:pt x="458" y="244"/>
                  </a:lnTo>
                  <a:lnTo>
                    <a:pt x="439" y="263"/>
                  </a:lnTo>
                  <a:lnTo>
                    <a:pt x="439" y="283"/>
                  </a:lnTo>
                  <a:lnTo>
                    <a:pt x="439" y="302"/>
                  </a:lnTo>
                  <a:lnTo>
                    <a:pt x="409" y="341"/>
                  </a:lnTo>
                  <a:lnTo>
                    <a:pt x="419" y="361"/>
                  </a:lnTo>
                  <a:lnTo>
                    <a:pt x="429" y="371"/>
                  </a:lnTo>
                  <a:lnTo>
                    <a:pt x="409" y="381"/>
                  </a:lnTo>
                  <a:lnTo>
                    <a:pt x="390" y="400"/>
                  </a:lnTo>
                  <a:lnTo>
                    <a:pt x="380" y="390"/>
                  </a:lnTo>
                  <a:lnTo>
                    <a:pt x="351" y="390"/>
                  </a:lnTo>
                  <a:lnTo>
                    <a:pt x="341" y="410"/>
                  </a:lnTo>
                  <a:lnTo>
                    <a:pt x="341" y="429"/>
                  </a:lnTo>
                  <a:lnTo>
                    <a:pt x="322" y="439"/>
                  </a:lnTo>
                  <a:lnTo>
                    <a:pt x="302" y="429"/>
                  </a:lnTo>
                  <a:lnTo>
                    <a:pt x="302" y="420"/>
                  </a:lnTo>
                  <a:lnTo>
                    <a:pt x="302" y="410"/>
                  </a:lnTo>
                  <a:lnTo>
                    <a:pt x="282" y="420"/>
                  </a:lnTo>
                  <a:lnTo>
                    <a:pt x="263" y="429"/>
                  </a:lnTo>
                  <a:lnTo>
                    <a:pt x="243" y="459"/>
                  </a:lnTo>
                  <a:lnTo>
                    <a:pt x="243" y="468"/>
                  </a:lnTo>
                  <a:lnTo>
                    <a:pt x="204" y="468"/>
                  </a:lnTo>
                  <a:lnTo>
                    <a:pt x="204" y="459"/>
                  </a:lnTo>
                  <a:lnTo>
                    <a:pt x="185" y="459"/>
                  </a:lnTo>
                  <a:lnTo>
                    <a:pt x="175" y="468"/>
                  </a:lnTo>
                  <a:lnTo>
                    <a:pt x="165" y="488"/>
                  </a:lnTo>
                  <a:lnTo>
                    <a:pt x="146" y="498"/>
                  </a:lnTo>
                  <a:lnTo>
                    <a:pt x="146" y="517"/>
                  </a:lnTo>
                  <a:lnTo>
                    <a:pt x="117" y="517"/>
                  </a:lnTo>
                  <a:lnTo>
                    <a:pt x="107" y="478"/>
                  </a:lnTo>
                  <a:lnTo>
                    <a:pt x="87" y="468"/>
                  </a:lnTo>
                  <a:lnTo>
                    <a:pt x="87" y="459"/>
                  </a:lnTo>
                  <a:lnTo>
                    <a:pt x="87" y="449"/>
                  </a:lnTo>
                  <a:lnTo>
                    <a:pt x="97" y="449"/>
                  </a:lnTo>
                  <a:lnTo>
                    <a:pt x="87" y="439"/>
                  </a:lnTo>
                  <a:lnTo>
                    <a:pt x="58" y="439"/>
                  </a:lnTo>
                  <a:lnTo>
                    <a:pt x="39" y="429"/>
                  </a:lnTo>
                  <a:lnTo>
                    <a:pt x="19" y="420"/>
                  </a:lnTo>
                  <a:lnTo>
                    <a:pt x="0" y="390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366"/>
            <p:cNvSpPr>
              <a:spLocks/>
            </p:cNvSpPr>
            <p:nvPr/>
          </p:nvSpPr>
          <p:spPr bwMode="auto">
            <a:xfrm>
              <a:off x="2030" y="790"/>
              <a:ext cx="663" cy="675"/>
            </a:xfrm>
            <a:custGeom>
              <a:avLst/>
              <a:gdLst>
                <a:gd name="T0" fmla="*/ 488 w 663"/>
                <a:gd name="T1" fmla="*/ 469 h 674"/>
                <a:gd name="T2" fmla="*/ 449 w 663"/>
                <a:gd name="T3" fmla="*/ 449 h 674"/>
                <a:gd name="T4" fmla="*/ 439 w 663"/>
                <a:gd name="T5" fmla="*/ 478 h 674"/>
                <a:gd name="T6" fmla="*/ 410 w 663"/>
                <a:gd name="T7" fmla="*/ 508 h 674"/>
                <a:gd name="T8" fmla="*/ 400 w 663"/>
                <a:gd name="T9" fmla="*/ 547 h 674"/>
                <a:gd name="T10" fmla="*/ 419 w 663"/>
                <a:gd name="T11" fmla="*/ 576 h 674"/>
                <a:gd name="T12" fmla="*/ 361 w 663"/>
                <a:gd name="T13" fmla="*/ 634 h 674"/>
                <a:gd name="T14" fmla="*/ 351 w 663"/>
                <a:gd name="T15" fmla="*/ 654 h 674"/>
                <a:gd name="T16" fmla="*/ 302 w 663"/>
                <a:gd name="T17" fmla="*/ 674 h 674"/>
                <a:gd name="T18" fmla="*/ 283 w 663"/>
                <a:gd name="T19" fmla="*/ 654 h 674"/>
                <a:gd name="T20" fmla="*/ 283 w 663"/>
                <a:gd name="T21" fmla="*/ 634 h 674"/>
                <a:gd name="T22" fmla="*/ 263 w 663"/>
                <a:gd name="T23" fmla="*/ 615 h 674"/>
                <a:gd name="T24" fmla="*/ 195 w 663"/>
                <a:gd name="T25" fmla="*/ 605 h 674"/>
                <a:gd name="T26" fmla="*/ 195 w 663"/>
                <a:gd name="T27" fmla="*/ 576 h 674"/>
                <a:gd name="T28" fmla="*/ 156 w 663"/>
                <a:gd name="T29" fmla="*/ 537 h 674"/>
                <a:gd name="T30" fmla="*/ 136 w 663"/>
                <a:gd name="T31" fmla="*/ 498 h 674"/>
                <a:gd name="T32" fmla="*/ 127 w 663"/>
                <a:gd name="T33" fmla="*/ 527 h 674"/>
                <a:gd name="T34" fmla="*/ 68 w 663"/>
                <a:gd name="T35" fmla="*/ 517 h 674"/>
                <a:gd name="T36" fmla="*/ 19 w 663"/>
                <a:gd name="T37" fmla="*/ 371 h 674"/>
                <a:gd name="T38" fmla="*/ 19 w 663"/>
                <a:gd name="T39" fmla="*/ 332 h 674"/>
                <a:gd name="T40" fmla="*/ 19 w 663"/>
                <a:gd name="T41" fmla="*/ 303 h 674"/>
                <a:gd name="T42" fmla="*/ 117 w 663"/>
                <a:gd name="T43" fmla="*/ 322 h 674"/>
                <a:gd name="T44" fmla="*/ 214 w 663"/>
                <a:gd name="T45" fmla="*/ 332 h 674"/>
                <a:gd name="T46" fmla="*/ 253 w 663"/>
                <a:gd name="T47" fmla="*/ 322 h 674"/>
                <a:gd name="T48" fmla="*/ 283 w 663"/>
                <a:gd name="T49" fmla="*/ 254 h 674"/>
                <a:gd name="T50" fmla="*/ 283 w 663"/>
                <a:gd name="T51" fmla="*/ 215 h 674"/>
                <a:gd name="T52" fmla="*/ 312 w 663"/>
                <a:gd name="T53" fmla="*/ 205 h 674"/>
                <a:gd name="T54" fmla="*/ 351 w 663"/>
                <a:gd name="T55" fmla="*/ 195 h 674"/>
                <a:gd name="T56" fmla="*/ 361 w 663"/>
                <a:gd name="T57" fmla="*/ 166 h 674"/>
                <a:gd name="T58" fmla="*/ 400 w 663"/>
                <a:gd name="T59" fmla="*/ 137 h 674"/>
                <a:gd name="T60" fmla="*/ 419 w 663"/>
                <a:gd name="T61" fmla="*/ 127 h 674"/>
                <a:gd name="T62" fmla="*/ 449 w 663"/>
                <a:gd name="T63" fmla="*/ 98 h 674"/>
                <a:gd name="T64" fmla="*/ 478 w 663"/>
                <a:gd name="T65" fmla="*/ 88 h 674"/>
                <a:gd name="T66" fmla="*/ 517 w 663"/>
                <a:gd name="T67" fmla="*/ 78 h 674"/>
                <a:gd name="T68" fmla="*/ 556 w 663"/>
                <a:gd name="T69" fmla="*/ 39 h 674"/>
                <a:gd name="T70" fmla="*/ 566 w 663"/>
                <a:gd name="T71" fmla="*/ 10 h 674"/>
                <a:gd name="T72" fmla="*/ 624 w 663"/>
                <a:gd name="T73" fmla="*/ 88 h 674"/>
                <a:gd name="T74" fmla="*/ 605 w 663"/>
                <a:gd name="T75" fmla="*/ 127 h 674"/>
                <a:gd name="T76" fmla="*/ 653 w 663"/>
                <a:gd name="T77" fmla="*/ 137 h 674"/>
                <a:gd name="T78" fmla="*/ 663 w 663"/>
                <a:gd name="T79" fmla="*/ 176 h 674"/>
                <a:gd name="T80" fmla="*/ 653 w 663"/>
                <a:gd name="T81" fmla="*/ 166 h 674"/>
                <a:gd name="T82" fmla="*/ 653 w 663"/>
                <a:gd name="T83" fmla="*/ 186 h 674"/>
                <a:gd name="T84" fmla="*/ 644 w 663"/>
                <a:gd name="T85" fmla="*/ 195 h 674"/>
                <a:gd name="T86" fmla="*/ 653 w 663"/>
                <a:gd name="T87" fmla="*/ 254 h 674"/>
                <a:gd name="T88" fmla="*/ 644 w 663"/>
                <a:gd name="T89" fmla="*/ 273 h 674"/>
                <a:gd name="T90" fmla="*/ 614 w 663"/>
                <a:gd name="T91" fmla="*/ 273 h 674"/>
                <a:gd name="T92" fmla="*/ 595 w 663"/>
                <a:gd name="T93" fmla="*/ 293 h 674"/>
                <a:gd name="T94" fmla="*/ 566 w 663"/>
                <a:gd name="T95" fmla="*/ 293 h 674"/>
                <a:gd name="T96" fmla="*/ 556 w 663"/>
                <a:gd name="T97" fmla="*/ 322 h 674"/>
                <a:gd name="T98" fmla="*/ 517 w 663"/>
                <a:gd name="T99" fmla="*/ 342 h 674"/>
                <a:gd name="T100" fmla="*/ 507 w 663"/>
                <a:gd name="T101" fmla="*/ 352 h 674"/>
                <a:gd name="T102" fmla="*/ 507 w 663"/>
                <a:gd name="T103" fmla="*/ 371 h 674"/>
                <a:gd name="T104" fmla="*/ 497 w 663"/>
                <a:gd name="T105" fmla="*/ 391 h 674"/>
                <a:gd name="T106" fmla="*/ 517 w 663"/>
                <a:gd name="T107" fmla="*/ 400 h 674"/>
                <a:gd name="T108" fmla="*/ 507 w 663"/>
                <a:gd name="T109" fmla="*/ 439 h 674"/>
                <a:gd name="T110" fmla="*/ 497 w 663"/>
                <a:gd name="T111" fmla="*/ 469 h 67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63"/>
                <a:gd name="T169" fmla="*/ 0 h 674"/>
                <a:gd name="T170" fmla="*/ 663 w 663"/>
                <a:gd name="T171" fmla="*/ 674 h 67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63" h="674">
                  <a:moveTo>
                    <a:pt x="497" y="469"/>
                  </a:moveTo>
                  <a:lnTo>
                    <a:pt x="488" y="469"/>
                  </a:lnTo>
                  <a:lnTo>
                    <a:pt x="458" y="478"/>
                  </a:lnTo>
                  <a:lnTo>
                    <a:pt x="449" y="449"/>
                  </a:lnTo>
                  <a:lnTo>
                    <a:pt x="429" y="469"/>
                  </a:lnTo>
                  <a:lnTo>
                    <a:pt x="439" y="478"/>
                  </a:lnTo>
                  <a:lnTo>
                    <a:pt x="419" y="498"/>
                  </a:lnTo>
                  <a:lnTo>
                    <a:pt x="410" y="508"/>
                  </a:lnTo>
                  <a:lnTo>
                    <a:pt x="400" y="527"/>
                  </a:lnTo>
                  <a:lnTo>
                    <a:pt x="400" y="547"/>
                  </a:lnTo>
                  <a:lnTo>
                    <a:pt x="410" y="566"/>
                  </a:lnTo>
                  <a:lnTo>
                    <a:pt x="419" y="576"/>
                  </a:lnTo>
                  <a:lnTo>
                    <a:pt x="419" y="595"/>
                  </a:lnTo>
                  <a:lnTo>
                    <a:pt x="361" y="634"/>
                  </a:lnTo>
                  <a:lnTo>
                    <a:pt x="351" y="634"/>
                  </a:lnTo>
                  <a:lnTo>
                    <a:pt x="351" y="654"/>
                  </a:lnTo>
                  <a:lnTo>
                    <a:pt x="312" y="664"/>
                  </a:lnTo>
                  <a:lnTo>
                    <a:pt x="302" y="674"/>
                  </a:lnTo>
                  <a:lnTo>
                    <a:pt x="292" y="664"/>
                  </a:lnTo>
                  <a:lnTo>
                    <a:pt x="283" y="654"/>
                  </a:lnTo>
                  <a:lnTo>
                    <a:pt x="283" y="644"/>
                  </a:lnTo>
                  <a:lnTo>
                    <a:pt x="283" y="634"/>
                  </a:lnTo>
                  <a:lnTo>
                    <a:pt x="263" y="634"/>
                  </a:lnTo>
                  <a:lnTo>
                    <a:pt x="263" y="615"/>
                  </a:lnTo>
                  <a:lnTo>
                    <a:pt x="253" y="615"/>
                  </a:lnTo>
                  <a:lnTo>
                    <a:pt x="195" y="605"/>
                  </a:lnTo>
                  <a:lnTo>
                    <a:pt x="185" y="595"/>
                  </a:lnTo>
                  <a:lnTo>
                    <a:pt x="195" y="576"/>
                  </a:lnTo>
                  <a:lnTo>
                    <a:pt x="185" y="566"/>
                  </a:lnTo>
                  <a:lnTo>
                    <a:pt x="156" y="537"/>
                  </a:lnTo>
                  <a:lnTo>
                    <a:pt x="156" y="527"/>
                  </a:lnTo>
                  <a:lnTo>
                    <a:pt x="136" y="498"/>
                  </a:lnTo>
                  <a:lnTo>
                    <a:pt x="117" y="498"/>
                  </a:lnTo>
                  <a:lnTo>
                    <a:pt x="127" y="527"/>
                  </a:lnTo>
                  <a:lnTo>
                    <a:pt x="107" y="527"/>
                  </a:lnTo>
                  <a:lnTo>
                    <a:pt x="68" y="517"/>
                  </a:lnTo>
                  <a:lnTo>
                    <a:pt x="0" y="391"/>
                  </a:lnTo>
                  <a:lnTo>
                    <a:pt x="19" y="371"/>
                  </a:lnTo>
                  <a:lnTo>
                    <a:pt x="19" y="352"/>
                  </a:lnTo>
                  <a:lnTo>
                    <a:pt x="19" y="332"/>
                  </a:lnTo>
                  <a:lnTo>
                    <a:pt x="10" y="322"/>
                  </a:lnTo>
                  <a:lnTo>
                    <a:pt x="19" y="303"/>
                  </a:lnTo>
                  <a:lnTo>
                    <a:pt x="78" y="322"/>
                  </a:lnTo>
                  <a:lnTo>
                    <a:pt x="117" y="322"/>
                  </a:lnTo>
                  <a:lnTo>
                    <a:pt x="166" y="322"/>
                  </a:lnTo>
                  <a:lnTo>
                    <a:pt x="214" y="332"/>
                  </a:lnTo>
                  <a:lnTo>
                    <a:pt x="244" y="322"/>
                  </a:lnTo>
                  <a:lnTo>
                    <a:pt x="253" y="322"/>
                  </a:lnTo>
                  <a:lnTo>
                    <a:pt x="263" y="293"/>
                  </a:lnTo>
                  <a:lnTo>
                    <a:pt x="283" y="254"/>
                  </a:lnTo>
                  <a:lnTo>
                    <a:pt x="283" y="225"/>
                  </a:lnTo>
                  <a:lnTo>
                    <a:pt x="283" y="215"/>
                  </a:lnTo>
                  <a:lnTo>
                    <a:pt x="292" y="205"/>
                  </a:lnTo>
                  <a:lnTo>
                    <a:pt x="312" y="205"/>
                  </a:lnTo>
                  <a:lnTo>
                    <a:pt x="341" y="205"/>
                  </a:lnTo>
                  <a:lnTo>
                    <a:pt x="351" y="195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400" y="147"/>
                  </a:lnTo>
                  <a:lnTo>
                    <a:pt x="400" y="137"/>
                  </a:lnTo>
                  <a:lnTo>
                    <a:pt x="410" y="127"/>
                  </a:lnTo>
                  <a:lnTo>
                    <a:pt x="419" y="127"/>
                  </a:lnTo>
                  <a:lnTo>
                    <a:pt x="439" y="108"/>
                  </a:lnTo>
                  <a:lnTo>
                    <a:pt x="449" y="98"/>
                  </a:lnTo>
                  <a:lnTo>
                    <a:pt x="468" y="88"/>
                  </a:lnTo>
                  <a:lnTo>
                    <a:pt x="478" y="88"/>
                  </a:lnTo>
                  <a:lnTo>
                    <a:pt x="497" y="88"/>
                  </a:lnTo>
                  <a:lnTo>
                    <a:pt x="517" y="78"/>
                  </a:lnTo>
                  <a:lnTo>
                    <a:pt x="536" y="59"/>
                  </a:lnTo>
                  <a:lnTo>
                    <a:pt x="556" y="39"/>
                  </a:lnTo>
                  <a:lnTo>
                    <a:pt x="566" y="20"/>
                  </a:lnTo>
                  <a:lnTo>
                    <a:pt x="566" y="10"/>
                  </a:lnTo>
                  <a:lnTo>
                    <a:pt x="575" y="0"/>
                  </a:lnTo>
                  <a:lnTo>
                    <a:pt x="624" y="88"/>
                  </a:lnTo>
                  <a:lnTo>
                    <a:pt x="614" y="108"/>
                  </a:lnTo>
                  <a:lnTo>
                    <a:pt x="605" y="127"/>
                  </a:lnTo>
                  <a:lnTo>
                    <a:pt x="614" y="137"/>
                  </a:lnTo>
                  <a:lnTo>
                    <a:pt x="653" y="137"/>
                  </a:lnTo>
                  <a:lnTo>
                    <a:pt x="663" y="156"/>
                  </a:lnTo>
                  <a:lnTo>
                    <a:pt x="663" y="176"/>
                  </a:lnTo>
                  <a:lnTo>
                    <a:pt x="653" y="166"/>
                  </a:lnTo>
                  <a:lnTo>
                    <a:pt x="653" y="176"/>
                  </a:lnTo>
                  <a:lnTo>
                    <a:pt x="653" y="186"/>
                  </a:lnTo>
                  <a:lnTo>
                    <a:pt x="644" y="186"/>
                  </a:lnTo>
                  <a:lnTo>
                    <a:pt x="644" y="195"/>
                  </a:lnTo>
                  <a:lnTo>
                    <a:pt x="653" y="225"/>
                  </a:lnTo>
                  <a:lnTo>
                    <a:pt x="653" y="254"/>
                  </a:lnTo>
                  <a:lnTo>
                    <a:pt x="634" y="264"/>
                  </a:lnTo>
                  <a:lnTo>
                    <a:pt x="644" y="273"/>
                  </a:lnTo>
                  <a:lnTo>
                    <a:pt x="624" y="283"/>
                  </a:lnTo>
                  <a:lnTo>
                    <a:pt x="614" y="273"/>
                  </a:lnTo>
                  <a:lnTo>
                    <a:pt x="595" y="293"/>
                  </a:lnTo>
                  <a:lnTo>
                    <a:pt x="575" y="293"/>
                  </a:lnTo>
                  <a:lnTo>
                    <a:pt x="566" y="293"/>
                  </a:lnTo>
                  <a:lnTo>
                    <a:pt x="556" y="322"/>
                  </a:lnTo>
                  <a:lnTo>
                    <a:pt x="536" y="342"/>
                  </a:lnTo>
                  <a:lnTo>
                    <a:pt x="517" y="342"/>
                  </a:lnTo>
                  <a:lnTo>
                    <a:pt x="527" y="352"/>
                  </a:lnTo>
                  <a:lnTo>
                    <a:pt x="507" y="352"/>
                  </a:lnTo>
                  <a:lnTo>
                    <a:pt x="497" y="352"/>
                  </a:lnTo>
                  <a:lnTo>
                    <a:pt x="507" y="371"/>
                  </a:lnTo>
                  <a:lnTo>
                    <a:pt x="497" y="391"/>
                  </a:lnTo>
                  <a:lnTo>
                    <a:pt x="507" y="400"/>
                  </a:lnTo>
                  <a:lnTo>
                    <a:pt x="517" y="400"/>
                  </a:lnTo>
                  <a:lnTo>
                    <a:pt x="507" y="420"/>
                  </a:lnTo>
                  <a:lnTo>
                    <a:pt x="507" y="439"/>
                  </a:lnTo>
                  <a:lnTo>
                    <a:pt x="488" y="459"/>
                  </a:lnTo>
                  <a:lnTo>
                    <a:pt x="497" y="469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365"/>
            <p:cNvSpPr>
              <a:spLocks/>
            </p:cNvSpPr>
            <p:nvPr/>
          </p:nvSpPr>
          <p:spPr bwMode="auto">
            <a:xfrm>
              <a:off x="2586" y="1533"/>
              <a:ext cx="1318" cy="722"/>
            </a:xfrm>
            <a:custGeom>
              <a:avLst/>
              <a:gdLst>
                <a:gd name="T0" fmla="*/ 371 w 1317"/>
                <a:gd name="T1" fmla="*/ 644 h 722"/>
                <a:gd name="T2" fmla="*/ 439 w 1317"/>
                <a:gd name="T3" fmla="*/ 644 h 722"/>
                <a:gd name="T4" fmla="*/ 488 w 1317"/>
                <a:gd name="T5" fmla="*/ 654 h 722"/>
                <a:gd name="T6" fmla="*/ 585 w 1317"/>
                <a:gd name="T7" fmla="*/ 702 h 722"/>
                <a:gd name="T8" fmla="*/ 673 w 1317"/>
                <a:gd name="T9" fmla="*/ 673 h 722"/>
                <a:gd name="T10" fmla="*/ 702 w 1317"/>
                <a:gd name="T11" fmla="*/ 644 h 722"/>
                <a:gd name="T12" fmla="*/ 741 w 1317"/>
                <a:gd name="T13" fmla="*/ 566 h 722"/>
                <a:gd name="T14" fmla="*/ 819 w 1317"/>
                <a:gd name="T15" fmla="*/ 507 h 722"/>
                <a:gd name="T16" fmla="*/ 839 w 1317"/>
                <a:gd name="T17" fmla="*/ 458 h 722"/>
                <a:gd name="T18" fmla="*/ 868 w 1317"/>
                <a:gd name="T19" fmla="*/ 419 h 722"/>
                <a:gd name="T20" fmla="*/ 897 w 1317"/>
                <a:gd name="T21" fmla="*/ 439 h 722"/>
                <a:gd name="T22" fmla="*/ 966 w 1317"/>
                <a:gd name="T23" fmla="*/ 419 h 722"/>
                <a:gd name="T24" fmla="*/ 1044 w 1317"/>
                <a:gd name="T25" fmla="*/ 410 h 722"/>
                <a:gd name="T26" fmla="*/ 1092 w 1317"/>
                <a:gd name="T27" fmla="*/ 380 h 722"/>
                <a:gd name="T28" fmla="*/ 1122 w 1317"/>
                <a:gd name="T29" fmla="*/ 361 h 722"/>
                <a:gd name="T30" fmla="*/ 1190 w 1317"/>
                <a:gd name="T31" fmla="*/ 361 h 722"/>
                <a:gd name="T32" fmla="*/ 1239 w 1317"/>
                <a:gd name="T33" fmla="*/ 341 h 722"/>
                <a:gd name="T34" fmla="*/ 1307 w 1317"/>
                <a:gd name="T35" fmla="*/ 322 h 722"/>
                <a:gd name="T36" fmla="*/ 1307 w 1317"/>
                <a:gd name="T37" fmla="*/ 312 h 722"/>
                <a:gd name="T38" fmla="*/ 1307 w 1317"/>
                <a:gd name="T39" fmla="*/ 273 h 722"/>
                <a:gd name="T40" fmla="*/ 1307 w 1317"/>
                <a:gd name="T41" fmla="*/ 224 h 722"/>
                <a:gd name="T42" fmla="*/ 1258 w 1317"/>
                <a:gd name="T43" fmla="*/ 214 h 722"/>
                <a:gd name="T44" fmla="*/ 1229 w 1317"/>
                <a:gd name="T45" fmla="*/ 244 h 722"/>
                <a:gd name="T46" fmla="*/ 1190 w 1317"/>
                <a:gd name="T47" fmla="*/ 234 h 722"/>
                <a:gd name="T48" fmla="*/ 1151 w 1317"/>
                <a:gd name="T49" fmla="*/ 253 h 722"/>
                <a:gd name="T50" fmla="*/ 1092 w 1317"/>
                <a:gd name="T51" fmla="*/ 273 h 722"/>
                <a:gd name="T52" fmla="*/ 1005 w 1317"/>
                <a:gd name="T53" fmla="*/ 234 h 722"/>
                <a:gd name="T54" fmla="*/ 848 w 1317"/>
                <a:gd name="T55" fmla="*/ 127 h 722"/>
                <a:gd name="T56" fmla="*/ 780 w 1317"/>
                <a:gd name="T57" fmla="*/ 68 h 722"/>
                <a:gd name="T58" fmla="*/ 712 w 1317"/>
                <a:gd name="T59" fmla="*/ 19 h 722"/>
                <a:gd name="T60" fmla="*/ 595 w 1317"/>
                <a:gd name="T61" fmla="*/ 10 h 722"/>
                <a:gd name="T62" fmla="*/ 478 w 1317"/>
                <a:gd name="T63" fmla="*/ 58 h 722"/>
                <a:gd name="T64" fmla="*/ 497 w 1317"/>
                <a:gd name="T65" fmla="*/ 107 h 722"/>
                <a:gd name="T66" fmla="*/ 449 w 1317"/>
                <a:gd name="T67" fmla="*/ 175 h 722"/>
                <a:gd name="T68" fmla="*/ 410 w 1317"/>
                <a:gd name="T69" fmla="*/ 136 h 722"/>
                <a:gd name="T70" fmla="*/ 371 w 1317"/>
                <a:gd name="T71" fmla="*/ 136 h 722"/>
                <a:gd name="T72" fmla="*/ 341 w 1317"/>
                <a:gd name="T73" fmla="*/ 97 h 722"/>
                <a:gd name="T74" fmla="*/ 283 w 1317"/>
                <a:gd name="T75" fmla="*/ 49 h 722"/>
                <a:gd name="T76" fmla="*/ 253 w 1317"/>
                <a:gd name="T77" fmla="*/ 49 h 722"/>
                <a:gd name="T78" fmla="*/ 263 w 1317"/>
                <a:gd name="T79" fmla="*/ 136 h 722"/>
                <a:gd name="T80" fmla="*/ 224 w 1317"/>
                <a:gd name="T81" fmla="*/ 166 h 722"/>
                <a:gd name="T82" fmla="*/ 214 w 1317"/>
                <a:gd name="T83" fmla="*/ 195 h 722"/>
                <a:gd name="T84" fmla="*/ 166 w 1317"/>
                <a:gd name="T85" fmla="*/ 224 h 722"/>
                <a:gd name="T86" fmla="*/ 156 w 1317"/>
                <a:gd name="T87" fmla="*/ 263 h 722"/>
                <a:gd name="T88" fmla="*/ 205 w 1317"/>
                <a:gd name="T89" fmla="*/ 283 h 722"/>
                <a:gd name="T90" fmla="*/ 253 w 1317"/>
                <a:gd name="T91" fmla="*/ 253 h 722"/>
                <a:gd name="T92" fmla="*/ 234 w 1317"/>
                <a:gd name="T93" fmla="*/ 341 h 722"/>
                <a:gd name="T94" fmla="*/ 195 w 1317"/>
                <a:gd name="T95" fmla="*/ 390 h 722"/>
                <a:gd name="T96" fmla="*/ 146 w 1317"/>
                <a:gd name="T97" fmla="*/ 410 h 722"/>
                <a:gd name="T98" fmla="*/ 88 w 1317"/>
                <a:gd name="T99" fmla="*/ 400 h 722"/>
                <a:gd name="T100" fmla="*/ 58 w 1317"/>
                <a:gd name="T101" fmla="*/ 468 h 722"/>
                <a:gd name="T102" fmla="*/ 10 w 1317"/>
                <a:gd name="T103" fmla="*/ 488 h 722"/>
                <a:gd name="T104" fmla="*/ 19 w 1317"/>
                <a:gd name="T105" fmla="*/ 527 h 722"/>
                <a:gd name="T106" fmla="*/ 19 w 1317"/>
                <a:gd name="T107" fmla="*/ 566 h 722"/>
                <a:gd name="T108" fmla="*/ 10 w 1317"/>
                <a:gd name="T109" fmla="*/ 595 h 722"/>
                <a:gd name="T110" fmla="*/ 88 w 1317"/>
                <a:gd name="T111" fmla="*/ 566 h 722"/>
                <a:gd name="T112" fmla="*/ 146 w 1317"/>
                <a:gd name="T113" fmla="*/ 585 h 722"/>
                <a:gd name="T114" fmla="*/ 195 w 1317"/>
                <a:gd name="T115" fmla="*/ 595 h 722"/>
                <a:gd name="T116" fmla="*/ 224 w 1317"/>
                <a:gd name="T117" fmla="*/ 556 h 722"/>
                <a:gd name="T118" fmla="*/ 263 w 1317"/>
                <a:gd name="T119" fmla="*/ 546 h 722"/>
                <a:gd name="T120" fmla="*/ 322 w 1317"/>
                <a:gd name="T121" fmla="*/ 575 h 72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17"/>
                <a:gd name="T184" fmla="*/ 0 h 722"/>
                <a:gd name="T185" fmla="*/ 1317 w 1317"/>
                <a:gd name="T186" fmla="*/ 722 h 72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17" h="722">
                  <a:moveTo>
                    <a:pt x="322" y="605"/>
                  </a:moveTo>
                  <a:lnTo>
                    <a:pt x="341" y="595"/>
                  </a:lnTo>
                  <a:lnTo>
                    <a:pt x="371" y="644"/>
                  </a:lnTo>
                  <a:lnTo>
                    <a:pt x="410" y="634"/>
                  </a:lnTo>
                  <a:lnTo>
                    <a:pt x="419" y="654"/>
                  </a:lnTo>
                  <a:lnTo>
                    <a:pt x="439" y="644"/>
                  </a:lnTo>
                  <a:lnTo>
                    <a:pt x="449" y="663"/>
                  </a:lnTo>
                  <a:lnTo>
                    <a:pt x="478" y="663"/>
                  </a:lnTo>
                  <a:lnTo>
                    <a:pt x="488" y="654"/>
                  </a:lnTo>
                  <a:lnTo>
                    <a:pt x="507" y="663"/>
                  </a:lnTo>
                  <a:lnTo>
                    <a:pt x="546" y="683"/>
                  </a:lnTo>
                  <a:lnTo>
                    <a:pt x="585" y="702"/>
                  </a:lnTo>
                  <a:lnTo>
                    <a:pt x="624" y="722"/>
                  </a:lnTo>
                  <a:lnTo>
                    <a:pt x="653" y="702"/>
                  </a:lnTo>
                  <a:lnTo>
                    <a:pt x="673" y="673"/>
                  </a:lnTo>
                  <a:lnTo>
                    <a:pt x="692" y="663"/>
                  </a:lnTo>
                  <a:lnTo>
                    <a:pt x="712" y="654"/>
                  </a:lnTo>
                  <a:lnTo>
                    <a:pt x="702" y="644"/>
                  </a:lnTo>
                  <a:lnTo>
                    <a:pt x="722" y="614"/>
                  </a:lnTo>
                  <a:lnTo>
                    <a:pt x="722" y="585"/>
                  </a:lnTo>
                  <a:lnTo>
                    <a:pt x="741" y="566"/>
                  </a:lnTo>
                  <a:lnTo>
                    <a:pt x="780" y="536"/>
                  </a:lnTo>
                  <a:lnTo>
                    <a:pt x="800" y="527"/>
                  </a:lnTo>
                  <a:lnTo>
                    <a:pt x="819" y="507"/>
                  </a:lnTo>
                  <a:lnTo>
                    <a:pt x="819" y="488"/>
                  </a:lnTo>
                  <a:lnTo>
                    <a:pt x="839" y="468"/>
                  </a:lnTo>
                  <a:lnTo>
                    <a:pt x="839" y="458"/>
                  </a:lnTo>
                  <a:lnTo>
                    <a:pt x="848" y="449"/>
                  </a:lnTo>
                  <a:lnTo>
                    <a:pt x="848" y="429"/>
                  </a:lnTo>
                  <a:lnTo>
                    <a:pt x="868" y="419"/>
                  </a:lnTo>
                  <a:lnTo>
                    <a:pt x="888" y="419"/>
                  </a:lnTo>
                  <a:lnTo>
                    <a:pt x="897" y="429"/>
                  </a:lnTo>
                  <a:lnTo>
                    <a:pt x="897" y="439"/>
                  </a:lnTo>
                  <a:lnTo>
                    <a:pt x="936" y="439"/>
                  </a:lnTo>
                  <a:lnTo>
                    <a:pt x="946" y="439"/>
                  </a:lnTo>
                  <a:lnTo>
                    <a:pt x="966" y="419"/>
                  </a:lnTo>
                  <a:lnTo>
                    <a:pt x="995" y="410"/>
                  </a:lnTo>
                  <a:lnTo>
                    <a:pt x="1024" y="410"/>
                  </a:lnTo>
                  <a:lnTo>
                    <a:pt x="1044" y="410"/>
                  </a:lnTo>
                  <a:lnTo>
                    <a:pt x="1063" y="400"/>
                  </a:lnTo>
                  <a:lnTo>
                    <a:pt x="1073" y="400"/>
                  </a:lnTo>
                  <a:lnTo>
                    <a:pt x="1092" y="380"/>
                  </a:lnTo>
                  <a:lnTo>
                    <a:pt x="1102" y="380"/>
                  </a:lnTo>
                  <a:lnTo>
                    <a:pt x="1122" y="371"/>
                  </a:lnTo>
                  <a:lnTo>
                    <a:pt x="1122" y="361"/>
                  </a:lnTo>
                  <a:lnTo>
                    <a:pt x="1141" y="361"/>
                  </a:lnTo>
                  <a:lnTo>
                    <a:pt x="1161" y="361"/>
                  </a:lnTo>
                  <a:lnTo>
                    <a:pt x="1190" y="361"/>
                  </a:lnTo>
                  <a:lnTo>
                    <a:pt x="1209" y="361"/>
                  </a:lnTo>
                  <a:lnTo>
                    <a:pt x="1229" y="351"/>
                  </a:lnTo>
                  <a:lnTo>
                    <a:pt x="1239" y="341"/>
                  </a:lnTo>
                  <a:lnTo>
                    <a:pt x="1258" y="341"/>
                  </a:lnTo>
                  <a:lnTo>
                    <a:pt x="1287" y="332"/>
                  </a:lnTo>
                  <a:lnTo>
                    <a:pt x="1307" y="322"/>
                  </a:lnTo>
                  <a:lnTo>
                    <a:pt x="1287" y="312"/>
                  </a:lnTo>
                  <a:lnTo>
                    <a:pt x="1307" y="312"/>
                  </a:lnTo>
                  <a:lnTo>
                    <a:pt x="1317" y="302"/>
                  </a:lnTo>
                  <a:lnTo>
                    <a:pt x="1317" y="293"/>
                  </a:lnTo>
                  <a:lnTo>
                    <a:pt x="1307" y="273"/>
                  </a:lnTo>
                  <a:lnTo>
                    <a:pt x="1297" y="253"/>
                  </a:lnTo>
                  <a:lnTo>
                    <a:pt x="1297" y="244"/>
                  </a:lnTo>
                  <a:lnTo>
                    <a:pt x="1307" y="224"/>
                  </a:lnTo>
                  <a:lnTo>
                    <a:pt x="1297" y="214"/>
                  </a:lnTo>
                  <a:lnTo>
                    <a:pt x="1268" y="205"/>
                  </a:lnTo>
                  <a:lnTo>
                    <a:pt x="1258" y="214"/>
                  </a:lnTo>
                  <a:lnTo>
                    <a:pt x="1248" y="224"/>
                  </a:lnTo>
                  <a:lnTo>
                    <a:pt x="1239" y="224"/>
                  </a:lnTo>
                  <a:lnTo>
                    <a:pt x="1229" y="244"/>
                  </a:lnTo>
                  <a:lnTo>
                    <a:pt x="1209" y="244"/>
                  </a:lnTo>
                  <a:lnTo>
                    <a:pt x="1200" y="234"/>
                  </a:lnTo>
                  <a:lnTo>
                    <a:pt x="1190" y="234"/>
                  </a:lnTo>
                  <a:lnTo>
                    <a:pt x="1170" y="234"/>
                  </a:lnTo>
                  <a:lnTo>
                    <a:pt x="1161" y="253"/>
                  </a:lnTo>
                  <a:lnTo>
                    <a:pt x="1151" y="253"/>
                  </a:lnTo>
                  <a:lnTo>
                    <a:pt x="1131" y="263"/>
                  </a:lnTo>
                  <a:lnTo>
                    <a:pt x="1112" y="263"/>
                  </a:lnTo>
                  <a:lnTo>
                    <a:pt x="1092" y="273"/>
                  </a:lnTo>
                  <a:lnTo>
                    <a:pt x="1083" y="273"/>
                  </a:lnTo>
                  <a:lnTo>
                    <a:pt x="1053" y="263"/>
                  </a:lnTo>
                  <a:lnTo>
                    <a:pt x="1005" y="234"/>
                  </a:lnTo>
                  <a:lnTo>
                    <a:pt x="956" y="195"/>
                  </a:lnTo>
                  <a:lnTo>
                    <a:pt x="907" y="166"/>
                  </a:lnTo>
                  <a:lnTo>
                    <a:pt x="848" y="127"/>
                  </a:lnTo>
                  <a:lnTo>
                    <a:pt x="839" y="107"/>
                  </a:lnTo>
                  <a:lnTo>
                    <a:pt x="819" y="97"/>
                  </a:lnTo>
                  <a:lnTo>
                    <a:pt x="780" y="68"/>
                  </a:lnTo>
                  <a:lnTo>
                    <a:pt x="761" y="49"/>
                  </a:lnTo>
                  <a:lnTo>
                    <a:pt x="741" y="19"/>
                  </a:lnTo>
                  <a:lnTo>
                    <a:pt x="712" y="19"/>
                  </a:lnTo>
                  <a:lnTo>
                    <a:pt x="692" y="19"/>
                  </a:lnTo>
                  <a:lnTo>
                    <a:pt x="663" y="19"/>
                  </a:lnTo>
                  <a:lnTo>
                    <a:pt x="595" y="10"/>
                  </a:lnTo>
                  <a:lnTo>
                    <a:pt x="546" y="0"/>
                  </a:lnTo>
                  <a:lnTo>
                    <a:pt x="497" y="49"/>
                  </a:lnTo>
                  <a:lnTo>
                    <a:pt x="478" y="58"/>
                  </a:lnTo>
                  <a:lnTo>
                    <a:pt x="468" y="78"/>
                  </a:lnTo>
                  <a:lnTo>
                    <a:pt x="497" y="88"/>
                  </a:lnTo>
                  <a:lnTo>
                    <a:pt x="497" y="107"/>
                  </a:lnTo>
                  <a:lnTo>
                    <a:pt x="478" y="136"/>
                  </a:lnTo>
                  <a:lnTo>
                    <a:pt x="478" y="156"/>
                  </a:lnTo>
                  <a:lnTo>
                    <a:pt x="449" y="175"/>
                  </a:lnTo>
                  <a:lnTo>
                    <a:pt x="439" y="146"/>
                  </a:lnTo>
                  <a:lnTo>
                    <a:pt x="429" y="156"/>
                  </a:lnTo>
                  <a:lnTo>
                    <a:pt x="410" y="136"/>
                  </a:lnTo>
                  <a:lnTo>
                    <a:pt x="390" y="136"/>
                  </a:lnTo>
                  <a:lnTo>
                    <a:pt x="380" y="136"/>
                  </a:lnTo>
                  <a:lnTo>
                    <a:pt x="371" y="136"/>
                  </a:lnTo>
                  <a:lnTo>
                    <a:pt x="361" y="127"/>
                  </a:lnTo>
                  <a:lnTo>
                    <a:pt x="361" y="117"/>
                  </a:lnTo>
                  <a:lnTo>
                    <a:pt x="341" y="97"/>
                  </a:lnTo>
                  <a:lnTo>
                    <a:pt x="322" y="78"/>
                  </a:lnTo>
                  <a:lnTo>
                    <a:pt x="292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53" y="39"/>
                  </a:lnTo>
                  <a:lnTo>
                    <a:pt x="253" y="49"/>
                  </a:lnTo>
                  <a:lnTo>
                    <a:pt x="253" y="68"/>
                  </a:lnTo>
                  <a:lnTo>
                    <a:pt x="263" y="107"/>
                  </a:lnTo>
                  <a:lnTo>
                    <a:pt x="263" y="136"/>
                  </a:lnTo>
                  <a:lnTo>
                    <a:pt x="253" y="146"/>
                  </a:lnTo>
                  <a:lnTo>
                    <a:pt x="234" y="156"/>
                  </a:lnTo>
                  <a:lnTo>
                    <a:pt x="224" y="166"/>
                  </a:lnTo>
                  <a:lnTo>
                    <a:pt x="244" y="185"/>
                  </a:lnTo>
                  <a:lnTo>
                    <a:pt x="244" y="195"/>
                  </a:lnTo>
                  <a:lnTo>
                    <a:pt x="214" y="195"/>
                  </a:lnTo>
                  <a:lnTo>
                    <a:pt x="195" y="205"/>
                  </a:lnTo>
                  <a:lnTo>
                    <a:pt x="185" y="224"/>
                  </a:lnTo>
                  <a:lnTo>
                    <a:pt x="166" y="224"/>
                  </a:lnTo>
                  <a:lnTo>
                    <a:pt x="166" y="244"/>
                  </a:lnTo>
                  <a:lnTo>
                    <a:pt x="166" y="253"/>
                  </a:lnTo>
                  <a:lnTo>
                    <a:pt x="156" y="263"/>
                  </a:lnTo>
                  <a:lnTo>
                    <a:pt x="166" y="273"/>
                  </a:lnTo>
                  <a:lnTo>
                    <a:pt x="175" y="263"/>
                  </a:lnTo>
                  <a:lnTo>
                    <a:pt x="205" y="283"/>
                  </a:lnTo>
                  <a:lnTo>
                    <a:pt x="234" y="263"/>
                  </a:lnTo>
                  <a:lnTo>
                    <a:pt x="234" y="273"/>
                  </a:lnTo>
                  <a:lnTo>
                    <a:pt x="253" y="253"/>
                  </a:lnTo>
                  <a:lnTo>
                    <a:pt x="292" y="293"/>
                  </a:lnTo>
                  <a:lnTo>
                    <a:pt x="283" y="312"/>
                  </a:lnTo>
                  <a:lnTo>
                    <a:pt x="234" y="341"/>
                  </a:lnTo>
                  <a:lnTo>
                    <a:pt x="195" y="351"/>
                  </a:lnTo>
                  <a:lnTo>
                    <a:pt x="175" y="371"/>
                  </a:lnTo>
                  <a:lnTo>
                    <a:pt x="195" y="390"/>
                  </a:lnTo>
                  <a:lnTo>
                    <a:pt x="166" y="419"/>
                  </a:lnTo>
                  <a:lnTo>
                    <a:pt x="146" y="419"/>
                  </a:lnTo>
                  <a:lnTo>
                    <a:pt x="146" y="410"/>
                  </a:lnTo>
                  <a:lnTo>
                    <a:pt x="127" y="400"/>
                  </a:lnTo>
                  <a:lnTo>
                    <a:pt x="97" y="400"/>
                  </a:lnTo>
                  <a:lnTo>
                    <a:pt x="88" y="400"/>
                  </a:lnTo>
                  <a:lnTo>
                    <a:pt x="68" y="429"/>
                  </a:lnTo>
                  <a:lnTo>
                    <a:pt x="58" y="449"/>
                  </a:lnTo>
                  <a:lnTo>
                    <a:pt x="58" y="468"/>
                  </a:lnTo>
                  <a:lnTo>
                    <a:pt x="49" y="468"/>
                  </a:lnTo>
                  <a:lnTo>
                    <a:pt x="39" y="468"/>
                  </a:lnTo>
                  <a:lnTo>
                    <a:pt x="10" y="488"/>
                  </a:lnTo>
                  <a:lnTo>
                    <a:pt x="10" y="497"/>
                  </a:lnTo>
                  <a:lnTo>
                    <a:pt x="10" y="507"/>
                  </a:lnTo>
                  <a:lnTo>
                    <a:pt x="19" y="527"/>
                  </a:lnTo>
                  <a:lnTo>
                    <a:pt x="10" y="546"/>
                  </a:lnTo>
                  <a:lnTo>
                    <a:pt x="19" y="566"/>
                  </a:lnTo>
                  <a:lnTo>
                    <a:pt x="0" y="575"/>
                  </a:lnTo>
                  <a:lnTo>
                    <a:pt x="10" y="585"/>
                  </a:lnTo>
                  <a:lnTo>
                    <a:pt x="10" y="595"/>
                  </a:lnTo>
                  <a:lnTo>
                    <a:pt x="29" y="575"/>
                  </a:lnTo>
                  <a:lnTo>
                    <a:pt x="58" y="556"/>
                  </a:lnTo>
                  <a:lnTo>
                    <a:pt x="88" y="566"/>
                  </a:lnTo>
                  <a:lnTo>
                    <a:pt x="117" y="585"/>
                  </a:lnTo>
                  <a:lnTo>
                    <a:pt x="136" y="575"/>
                  </a:lnTo>
                  <a:lnTo>
                    <a:pt x="146" y="585"/>
                  </a:lnTo>
                  <a:lnTo>
                    <a:pt x="146" y="605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05" y="614"/>
                  </a:lnTo>
                  <a:lnTo>
                    <a:pt x="224" y="595"/>
                  </a:lnTo>
                  <a:lnTo>
                    <a:pt x="224" y="556"/>
                  </a:lnTo>
                  <a:lnTo>
                    <a:pt x="234" y="546"/>
                  </a:lnTo>
                  <a:lnTo>
                    <a:pt x="253" y="556"/>
                  </a:lnTo>
                  <a:lnTo>
                    <a:pt x="263" y="546"/>
                  </a:lnTo>
                  <a:lnTo>
                    <a:pt x="273" y="556"/>
                  </a:lnTo>
                  <a:lnTo>
                    <a:pt x="292" y="546"/>
                  </a:lnTo>
                  <a:lnTo>
                    <a:pt x="322" y="575"/>
                  </a:lnTo>
                  <a:lnTo>
                    <a:pt x="312" y="585"/>
                  </a:lnTo>
                  <a:lnTo>
                    <a:pt x="322" y="605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364"/>
            <p:cNvSpPr>
              <a:spLocks/>
            </p:cNvSpPr>
            <p:nvPr/>
          </p:nvSpPr>
          <p:spPr bwMode="auto">
            <a:xfrm>
              <a:off x="2294" y="1183"/>
              <a:ext cx="839" cy="769"/>
            </a:xfrm>
            <a:custGeom>
              <a:avLst/>
              <a:gdLst>
                <a:gd name="T0" fmla="*/ 449 w 839"/>
                <a:gd name="T1" fmla="*/ 761 h 770"/>
                <a:gd name="T2" fmla="*/ 478 w 839"/>
                <a:gd name="T3" fmla="*/ 722 h 770"/>
                <a:gd name="T4" fmla="*/ 585 w 839"/>
                <a:gd name="T5" fmla="*/ 644 h 770"/>
                <a:gd name="T6" fmla="*/ 498 w 839"/>
                <a:gd name="T7" fmla="*/ 634 h 770"/>
                <a:gd name="T8" fmla="*/ 459 w 839"/>
                <a:gd name="T9" fmla="*/ 604 h 770"/>
                <a:gd name="T10" fmla="*/ 488 w 839"/>
                <a:gd name="T11" fmla="*/ 556 h 770"/>
                <a:gd name="T12" fmla="*/ 517 w 839"/>
                <a:gd name="T13" fmla="*/ 517 h 770"/>
                <a:gd name="T14" fmla="*/ 556 w 839"/>
                <a:gd name="T15" fmla="*/ 458 h 770"/>
                <a:gd name="T16" fmla="*/ 566 w 839"/>
                <a:gd name="T17" fmla="*/ 390 h 770"/>
                <a:gd name="T18" fmla="*/ 634 w 839"/>
                <a:gd name="T19" fmla="*/ 448 h 770"/>
                <a:gd name="T20" fmla="*/ 673 w 839"/>
                <a:gd name="T21" fmla="*/ 487 h 770"/>
                <a:gd name="T22" fmla="*/ 732 w 839"/>
                <a:gd name="T23" fmla="*/ 497 h 770"/>
                <a:gd name="T24" fmla="*/ 790 w 839"/>
                <a:gd name="T25" fmla="*/ 458 h 770"/>
                <a:gd name="T26" fmla="*/ 790 w 839"/>
                <a:gd name="T27" fmla="*/ 400 h 770"/>
                <a:gd name="T28" fmla="*/ 771 w 839"/>
                <a:gd name="T29" fmla="*/ 331 h 770"/>
                <a:gd name="T30" fmla="*/ 742 w 839"/>
                <a:gd name="T31" fmla="*/ 263 h 770"/>
                <a:gd name="T32" fmla="*/ 693 w 839"/>
                <a:gd name="T33" fmla="*/ 185 h 770"/>
                <a:gd name="T34" fmla="*/ 673 w 839"/>
                <a:gd name="T35" fmla="*/ 185 h 770"/>
                <a:gd name="T36" fmla="*/ 664 w 839"/>
                <a:gd name="T37" fmla="*/ 165 h 770"/>
                <a:gd name="T38" fmla="*/ 654 w 839"/>
                <a:gd name="T39" fmla="*/ 107 h 770"/>
                <a:gd name="T40" fmla="*/ 576 w 839"/>
                <a:gd name="T41" fmla="*/ 97 h 770"/>
                <a:gd name="T42" fmla="*/ 498 w 839"/>
                <a:gd name="T43" fmla="*/ 78 h 770"/>
                <a:gd name="T44" fmla="*/ 449 w 839"/>
                <a:gd name="T45" fmla="*/ 156 h 770"/>
                <a:gd name="T46" fmla="*/ 420 w 839"/>
                <a:gd name="T47" fmla="*/ 156 h 770"/>
                <a:gd name="T48" fmla="*/ 390 w 839"/>
                <a:gd name="T49" fmla="*/ 136 h 770"/>
                <a:gd name="T50" fmla="*/ 361 w 839"/>
                <a:gd name="T51" fmla="*/ 87 h 770"/>
                <a:gd name="T52" fmla="*/ 371 w 839"/>
                <a:gd name="T53" fmla="*/ 78 h 770"/>
                <a:gd name="T54" fmla="*/ 371 w 839"/>
                <a:gd name="T55" fmla="*/ 9 h 770"/>
                <a:gd name="T56" fmla="*/ 332 w 839"/>
                <a:gd name="T57" fmla="*/ 9 h 770"/>
                <a:gd name="T58" fmla="*/ 303 w 839"/>
                <a:gd name="T59" fmla="*/ 48 h 770"/>
                <a:gd name="T60" fmla="*/ 312 w 839"/>
                <a:gd name="T61" fmla="*/ 107 h 770"/>
                <a:gd name="T62" fmla="*/ 264 w 839"/>
                <a:gd name="T63" fmla="*/ 126 h 770"/>
                <a:gd name="T64" fmla="*/ 234 w 839"/>
                <a:gd name="T65" fmla="*/ 78 h 770"/>
                <a:gd name="T66" fmla="*/ 186 w 839"/>
                <a:gd name="T67" fmla="*/ 58 h 770"/>
                <a:gd name="T68" fmla="*/ 147 w 839"/>
                <a:gd name="T69" fmla="*/ 117 h 770"/>
                <a:gd name="T70" fmla="*/ 156 w 839"/>
                <a:gd name="T71" fmla="*/ 185 h 770"/>
                <a:gd name="T72" fmla="*/ 88 w 839"/>
                <a:gd name="T73" fmla="*/ 243 h 770"/>
                <a:gd name="T74" fmla="*/ 20 w 839"/>
                <a:gd name="T75" fmla="*/ 302 h 770"/>
                <a:gd name="T76" fmla="*/ 0 w 839"/>
                <a:gd name="T77" fmla="*/ 380 h 770"/>
                <a:gd name="T78" fmla="*/ 49 w 839"/>
                <a:gd name="T79" fmla="*/ 439 h 770"/>
                <a:gd name="T80" fmla="*/ 88 w 839"/>
                <a:gd name="T81" fmla="*/ 487 h 770"/>
                <a:gd name="T82" fmla="*/ 127 w 839"/>
                <a:gd name="T83" fmla="*/ 517 h 770"/>
                <a:gd name="T84" fmla="*/ 186 w 839"/>
                <a:gd name="T85" fmla="*/ 575 h 770"/>
                <a:gd name="T86" fmla="*/ 225 w 839"/>
                <a:gd name="T87" fmla="*/ 595 h 770"/>
                <a:gd name="T88" fmla="*/ 273 w 839"/>
                <a:gd name="T89" fmla="*/ 624 h 770"/>
                <a:gd name="T90" fmla="*/ 303 w 839"/>
                <a:gd name="T91" fmla="*/ 663 h 770"/>
                <a:gd name="T92" fmla="*/ 332 w 839"/>
                <a:gd name="T93" fmla="*/ 702 h 770"/>
                <a:gd name="T94" fmla="*/ 381 w 839"/>
                <a:gd name="T95" fmla="*/ 751 h 7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39"/>
                <a:gd name="T145" fmla="*/ 0 h 770"/>
                <a:gd name="T146" fmla="*/ 839 w 839"/>
                <a:gd name="T147" fmla="*/ 770 h 7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39" h="770">
                  <a:moveTo>
                    <a:pt x="381" y="751"/>
                  </a:moveTo>
                  <a:lnTo>
                    <a:pt x="390" y="751"/>
                  </a:lnTo>
                  <a:lnTo>
                    <a:pt x="420" y="751"/>
                  </a:lnTo>
                  <a:lnTo>
                    <a:pt x="449" y="761"/>
                  </a:lnTo>
                  <a:lnTo>
                    <a:pt x="449" y="770"/>
                  </a:lnTo>
                  <a:lnTo>
                    <a:pt x="459" y="770"/>
                  </a:lnTo>
                  <a:lnTo>
                    <a:pt x="488" y="741"/>
                  </a:lnTo>
                  <a:lnTo>
                    <a:pt x="478" y="722"/>
                  </a:lnTo>
                  <a:lnTo>
                    <a:pt x="488" y="702"/>
                  </a:lnTo>
                  <a:lnTo>
                    <a:pt x="537" y="692"/>
                  </a:lnTo>
                  <a:lnTo>
                    <a:pt x="576" y="663"/>
                  </a:lnTo>
                  <a:lnTo>
                    <a:pt x="585" y="644"/>
                  </a:lnTo>
                  <a:lnTo>
                    <a:pt x="546" y="614"/>
                  </a:lnTo>
                  <a:lnTo>
                    <a:pt x="537" y="624"/>
                  </a:lnTo>
                  <a:lnTo>
                    <a:pt x="527" y="614"/>
                  </a:lnTo>
                  <a:lnTo>
                    <a:pt x="498" y="634"/>
                  </a:lnTo>
                  <a:lnTo>
                    <a:pt x="478" y="624"/>
                  </a:lnTo>
                  <a:lnTo>
                    <a:pt x="459" y="624"/>
                  </a:lnTo>
                  <a:lnTo>
                    <a:pt x="449" y="614"/>
                  </a:lnTo>
                  <a:lnTo>
                    <a:pt x="459" y="604"/>
                  </a:lnTo>
                  <a:lnTo>
                    <a:pt x="459" y="595"/>
                  </a:lnTo>
                  <a:lnTo>
                    <a:pt x="468" y="575"/>
                  </a:lnTo>
                  <a:lnTo>
                    <a:pt x="478" y="575"/>
                  </a:lnTo>
                  <a:lnTo>
                    <a:pt x="488" y="556"/>
                  </a:lnTo>
                  <a:lnTo>
                    <a:pt x="507" y="556"/>
                  </a:lnTo>
                  <a:lnTo>
                    <a:pt x="537" y="546"/>
                  </a:lnTo>
                  <a:lnTo>
                    <a:pt x="537" y="536"/>
                  </a:lnTo>
                  <a:lnTo>
                    <a:pt x="517" y="517"/>
                  </a:lnTo>
                  <a:lnTo>
                    <a:pt x="537" y="507"/>
                  </a:lnTo>
                  <a:lnTo>
                    <a:pt x="546" y="497"/>
                  </a:lnTo>
                  <a:lnTo>
                    <a:pt x="556" y="487"/>
                  </a:lnTo>
                  <a:lnTo>
                    <a:pt x="556" y="458"/>
                  </a:lnTo>
                  <a:lnTo>
                    <a:pt x="546" y="419"/>
                  </a:lnTo>
                  <a:lnTo>
                    <a:pt x="546" y="400"/>
                  </a:lnTo>
                  <a:lnTo>
                    <a:pt x="546" y="390"/>
                  </a:lnTo>
                  <a:lnTo>
                    <a:pt x="566" y="390"/>
                  </a:lnTo>
                  <a:lnTo>
                    <a:pt x="576" y="400"/>
                  </a:lnTo>
                  <a:lnTo>
                    <a:pt x="595" y="419"/>
                  </a:lnTo>
                  <a:lnTo>
                    <a:pt x="615" y="429"/>
                  </a:lnTo>
                  <a:lnTo>
                    <a:pt x="634" y="448"/>
                  </a:lnTo>
                  <a:lnTo>
                    <a:pt x="654" y="468"/>
                  </a:lnTo>
                  <a:lnTo>
                    <a:pt x="654" y="478"/>
                  </a:lnTo>
                  <a:lnTo>
                    <a:pt x="664" y="487"/>
                  </a:lnTo>
                  <a:lnTo>
                    <a:pt x="673" y="487"/>
                  </a:lnTo>
                  <a:lnTo>
                    <a:pt x="693" y="497"/>
                  </a:lnTo>
                  <a:lnTo>
                    <a:pt x="703" y="487"/>
                  </a:lnTo>
                  <a:lnTo>
                    <a:pt x="722" y="507"/>
                  </a:lnTo>
                  <a:lnTo>
                    <a:pt x="732" y="497"/>
                  </a:lnTo>
                  <a:lnTo>
                    <a:pt x="751" y="526"/>
                  </a:lnTo>
                  <a:lnTo>
                    <a:pt x="781" y="507"/>
                  </a:lnTo>
                  <a:lnTo>
                    <a:pt x="771" y="487"/>
                  </a:lnTo>
                  <a:lnTo>
                    <a:pt x="790" y="458"/>
                  </a:lnTo>
                  <a:lnTo>
                    <a:pt x="790" y="439"/>
                  </a:lnTo>
                  <a:lnTo>
                    <a:pt x="761" y="429"/>
                  </a:lnTo>
                  <a:lnTo>
                    <a:pt x="771" y="419"/>
                  </a:lnTo>
                  <a:lnTo>
                    <a:pt x="790" y="400"/>
                  </a:lnTo>
                  <a:lnTo>
                    <a:pt x="839" y="351"/>
                  </a:lnTo>
                  <a:lnTo>
                    <a:pt x="820" y="341"/>
                  </a:lnTo>
                  <a:lnTo>
                    <a:pt x="800" y="322"/>
                  </a:lnTo>
                  <a:lnTo>
                    <a:pt x="771" y="331"/>
                  </a:lnTo>
                  <a:lnTo>
                    <a:pt x="751" y="312"/>
                  </a:lnTo>
                  <a:lnTo>
                    <a:pt x="742" y="292"/>
                  </a:lnTo>
                  <a:lnTo>
                    <a:pt x="742" y="263"/>
                  </a:lnTo>
                  <a:lnTo>
                    <a:pt x="722" y="243"/>
                  </a:lnTo>
                  <a:lnTo>
                    <a:pt x="712" y="204"/>
                  </a:lnTo>
                  <a:lnTo>
                    <a:pt x="703" y="175"/>
                  </a:lnTo>
                  <a:lnTo>
                    <a:pt x="693" y="185"/>
                  </a:lnTo>
                  <a:lnTo>
                    <a:pt x="673" y="204"/>
                  </a:lnTo>
                  <a:lnTo>
                    <a:pt x="654" y="214"/>
                  </a:lnTo>
                  <a:lnTo>
                    <a:pt x="654" y="204"/>
                  </a:lnTo>
                  <a:lnTo>
                    <a:pt x="673" y="185"/>
                  </a:lnTo>
                  <a:lnTo>
                    <a:pt x="664" y="175"/>
                  </a:lnTo>
                  <a:lnTo>
                    <a:pt x="644" y="175"/>
                  </a:lnTo>
                  <a:lnTo>
                    <a:pt x="644" y="165"/>
                  </a:lnTo>
                  <a:lnTo>
                    <a:pt x="664" y="165"/>
                  </a:lnTo>
                  <a:lnTo>
                    <a:pt x="673" y="165"/>
                  </a:lnTo>
                  <a:lnTo>
                    <a:pt x="673" y="136"/>
                  </a:lnTo>
                  <a:lnTo>
                    <a:pt x="654" y="126"/>
                  </a:lnTo>
                  <a:lnTo>
                    <a:pt x="654" y="107"/>
                  </a:lnTo>
                  <a:lnTo>
                    <a:pt x="644" y="107"/>
                  </a:lnTo>
                  <a:lnTo>
                    <a:pt x="634" y="97"/>
                  </a:lnTo>
                  <a:lnTo>
                    <a:pt x="595" y="97"/>
                  </a:lnTo>
                  <a:lnTo>
                    <a:pt x="576" y="97"/>
                  </a:lnTo>
                  <a:lnTo>
                    <a:pt x="556" y="87"/>
                  </a:lnTo>
                  <a:lnTo>
                    <a:pt x="546" y="87"/>
                  </a:lnTo>
                  <a:lnTo>
                    <a:pt x="517" y="87"/>
                  </a:lnTo>
                  <a:lnTo>
                    <a:pt x="498" y="78"/>
                  </a:lnTo>
                  <a:lnTo>
                    <a:pt x="459" y="97"/>
                  </a:lnTo>
                  <a:lnTo>
                    <a:pt x="459" y="117"/>
                  </a:lnTo>
                  <a:lnTo>
                    <a:pt x="449" y="136"/>
                  </a:lnTo>
                  <a:lnTo>
                    <a:pt x="449" y="156"/>
                  </a:lnTo>
                  <a:lnTo>
                    <a:pt x="429" y="165"/>
                  </a:lnTo>
                  <a:lnTo>
                    <a:pt x="429" y="156"/>
                  </a:lnTo>
                  <a:lnTo>
                    <a:pt x="429" y="146"/>
                  </a:lnTo>
                  <a:lnTo>
                    <a:pt x="420" y="156"/>
                  </a:lnTo>
                  <a:lnTo>
                    <a:pt x="410" y="156"/>
                  </a:lnTo>
                  <a:lnTo>
                    <a:pt x="400" y="156"/>
                  </a:lnTo>
                  <a:lnTo>
                    <a:pt x="390" y="156"/>
                  </a:lnTo>
                  <a:lnTo>
                    <a:pt x="390" y="136"/>
                  </a:lnTo>
                  <a:lnTo>
                    <a:pt x="390" y="126"/>
                  </a:lnTo>
                  <a:lnTo>
                    <a:pt x="371" y="87"/>
                  </a:lnTo>
                  <a:lnTo>
                    <a:pt x="361" y="87"/>
                  </a:lnTo>
                  <a:lnTo>
                    <a:pt x="342" y="87"/>
                  </a:lnTo>
                  <a:lnTo>
                    <a:pt x="351" y="78"/>
                  </a:lnTo>
                  <a:lnTo>
                    <a:pt x="361" y="87"/>
                  </a:lnTo>
                  <a:lnTo>
                    <a:pt x="371" y="78"/>
                  </a:lnTo>
                  <a:lnTo>
                    <a:pt x="371" y="68"/>
                  </a:lnTo>
                  <a:lnTo>
                    <a:pt x="371" y="48"/>
                  </a:lnTo>
                  <a:lnTo>
                    <a:pt x="371" y="29"/>
                  </a:lnTo>
                  <a:lnTo>
                    <a:pt x="371" y="9"/>
                  </a:lnTo>
                  <a:lnTo>
                    <a:pt x="361" y="0"/>
                  </a:lnTo>
                  <a:lnTo>
                    <a:pt x="342" y="9"/>
                  </a:lnTo>
                  <a:lnTo>
                    <a:pt x="332" y="9"/>
                  </a:lnTo>
                  <a:lnTo>
                    <a:pt x="312" y="19"/>
                  </a:lnTo>
                  <a:lnTo>
                    <a:pt x="312" y="29"/>
                  </a:lnTo>
                  <a:lnTo>
                    <a:pt x="303" y="39"/>
                  </a:lnTo>
                  <a:lnTo>
                    <a:pt x="303" y="48"/>
                  </a:lnTo>
                  <a:lnTo>
                    <a:pt x="303" y="68"/>
                  </a:lnTo>
                  <a:lnTo>
                    <a:pt x="312" y="78"/>
                  </a:lnTo>
                  <a:lnTo>
                    <a:pt x="322" y="87"/>
                  </a:lnTo>
                  <a:lnTo>
                    <a:pt x="312" y="107"/>
                  </a:lnTo>
                  <a:lnTo>
                    <a:pt x="293" y="107"/>
                  </a:lnTo>
                  <a:lnTo>
                    <a:pt x="293" y="126"/>
                  </a:lnTo>
                  <a:lnTo>
                    <a:pt x="283" y="126"/>
                  </a:lnTo>
                  <a:lnTo>
                    <a:pt x="264" y="126"/>
                  </a:lnTo>
                  <a:lnTo>
                    <a:pt x="244" y="117"/>
                  </a:lnTo>
                  <a:lnTo>
                    <a:pt x="244" y="107"/>
                  </a:lnTo>
                  <a:lnTo>
                    <a:pt x="244" y="87"/>
                  </a:lnTo>
                  <a:lnTo>
                    <a:pt x="234" y="78"/>
                  </a:lnTo>
                  <a:lnTo>
                    <a:pt x="225" y="78"/>
                  </a:lnTo>
                  <a:lnTo>
                    <a:pt x="205" y="7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76" y="87"/>
                  </a:lnTo>
                  <a:lnTo>
                    <a:pt x="156" y="107"/>
                  </a:lnTo>
                  <a:lnTo>
                    <a:pt x="147" y="117"/>
                  </a:lnTo>
                  <a:lnTo>
                    <a:pt x="137" y="136"/>
                  </a:lnTo>
                  <a:lnTo>
                    <a:pt x="137" y="156"/>
                  </a:lnTo>
                  <a:lnTo>
                    <a:pt x="147" y="175"/>
                  </a:lnTo>
                  <a:lnTo>
                    <a:pt x="156" y="185"/>
                  </a:lnTo>
                  <a:lnTo>
                    <a:pt x="156" y="204"/>
                  </a:lnTo>
                  <a:lnTo>
                    <a:pt x="137" y="214"/>
                  </a:lnTo>
                  <a:lnTo>
                    <a:pt x="98" y="243"/>
                  </a:lnTo>
                  <a:lnTo>
                    <a:pt x="88" y="243"/>
                  </a:lnTo>
                  <a:lnTo>
                    <a:pt x="88" y="263"/>
                  </a:lnTo>
                  <a:lnTo>
                    <a:pt x="49" y="273"/>
                  </a:lnTo>
                  <a:lnTo>
                    <a:pt x="29" y="292"/>
                  </a:lnTo>
                  <a:lnTo>
                    <a:pt x="20" y="302"/>
                  </a:lnTo>
                  <a:lnTo>
                    <a:pt x="20" y="322"/>
                  </a:lnTo>
                  <a:lnTo>
                    <a:pt x="0" y="331"/>
                  </a:lnTo>
                  <a:lnTo>
                    <a:pt x="0" y="361"/>
                  </a:lnTo>
                  <a:lnTo>
                    <a:pt x="0" y="380"/>
                  </a:lnTo>
                  <a:lnTo>
                    <a:pt x="10" y="400"/>
                  </a:lnTo>
                  <a:lnTo>
                    <a:pt x="20" y="409"/>
                  </a:lnTo>
                  <a:lnTo>
                    <a:pt x="29" y="439"/>
                  </a:lnTo>
                  <a:lnTo>
                    <a:pt x="49" y="439"/>
                  </a:lnTo>
                  <a:lnTo>
                    <a:pt x="59" y="448"/>
                  </a:lnTo>
                  <a:lnTo>
                    <a:pt x="69" y="458"/>
                  </a:lnTo>
                  <a:lnTo>
                    <a:pt x="78" y="487"/>
                  </a:lnTo>
                  <a:lnTo>
                    <a:pt x="88" y="487"/>
                  </a:lnTo>
                  <a:lnTo>
                    <a:pt x="108" y="487"/>
                  </a:lnTo>
                  <a:lnTo>
                    <a:pt x="127" y="497"/>
                  </a:lnTo>
                  <a:lnTo>
                    <a:pt x="137" y="507"/>
                  </a:lnTo>
                  <a:lnTo>
                    <a:pt x="127" y="517"/>
                  </a:lnTo>
                  <a:lnTo>
                    <a:pt x="137" y="526"/>
                  </a:lnTo>
                  <a:lnTo>
                    <a:pt x="147" y="536"/>
                  </a:lnTo>
                  <a:lnTo>
                    <a:pt x="156" y="556"/>
                  </a:lnTo>
                  <a:lnTo>
                    <a:pt x="186" y="575"/>
                  </a:lnTo>
                  <a:lnTo>
                    <a:pt x="205" y="575"/>
                  </a:lnTo>
                  <a:lnTo>
                    <a:pt x="215" y="575"/>
                  </a:lnTo>
                  <a:lnTo>
                    <a:pt x="234" y="585"/>
                  </a:lnTo>
                  <a:lnTo>
                    <a:pt x="225" y="595"/>
                  </a:lnTo>
                  <a:lnTo>
                    <a:pt x="234" y="604"/>
                  </a:lnTo>
                  <a:lnTo>
                    <a:pt x="244" y="624"/>
                  </a:lnTo>
                  <a:lnTo>
                    <a:pt x="254" y="634"/>
                  </a:lnTo>
                  <a:lnTo>
                    <a:pt x="273" y="624"/>
                  </a:lnTo>
                  <a:lnTo>
                    <a:pt x="293" y="614"/>
                  </a:lnTo>
                  <a:lnTo>
                    <a:pt x="303" y="634"/>
                  </a:lnTo>
                  <a:lnTo>
                    <a:pt x="293" y="644"/>
                  </a:lnTo>
                  <a:lnTo>
                    <a:pt x="303" y="663"/>
                  </a:lnTo>
                  <a:lnTo>
                    <a:pt x="312" y="673"/>
                  </a:lnTo>
                  <a:lnTo>
                    <a:pt x="322" y="673"/>
                  </a:lnTo>
                  <a:lnTo>
                    <a:pt x="332" y="683"/>
                  </a:lnTo>
                  <a:lnTo>
                    <a:pt x="332" y="702"/>
                  </a:lnTo>
                  <a:lnTo>
                    <a:pt x="351" y="692"/>
                  </a:lnTo>
                  <a:lnTo>
                    <a:pt x="381" y="722"/>
                  </a:lnTo>
                  <a:lnTo>
                    <a:pt x="351" y="741"/>
                  </a:lnTo>
                  <a:lnTo>
                    <a:pt x="381" y="751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363"/>
            <p:cNvSpPr>
              <a:spLocks/>
            </p:cNvSpPr>
            <p:nvPr/>
          </p:nvSpPr>
          <p:spPr bwMode="auto">
            <a:xfrm>
              <a:off x="1200" y="1911"/>
              <a:ext cx="252" cy="275"/>
            </a:xfrm>
            <a:custGeom>
              <a:avLst/>
              <a:gdLst>
                <a:gd name="T0" fmla="*/ 195 w 253"/>
                <a:gd name="T1" fmla="*/ 264 h 274"/>
                <a:gd name="T2" fmla="*/ 175 w 253"/>
                <a:gd name="T3" fmla="*/ 254 h 274"/>
                <a:gd name="T4" fmla="*/ 156 w 253"/>
                <a:gd name="T5" fmla="*/ 225 h 274"/>
                <a:gd name="T6" fmla="*/ 136 w 253"/>
                <a:gd name="T7" fmla="*/ 205 h 274"/>
                <a:gd name="T8" fmla="*/ 117 w 253"/>
                <a:gd name="T9" fmla="*/ 205 h 274"/>
                <a:gd name="T10" fmla="*/ 97 w 253"/>
                <a:gd name="T11" fmla="*/ 186 h 274"/>
                <a:gd name="T12" fmla="*/ 68 w 253"/>
                <a:gd name="T13" fmla="*/ 176 h 274"/>
                <a:gd name="T14" fmla="*/ 68 w 253"/>
                <a:gd name="T15" fmla="*/ 156 h 274"/>
                <a:gd name="T16" fmla="*/ 58 w 253"/>
                <a:gd name="T17" fmla="*/ 156 h 274"/>
                <a:gd name="T18" fmla="*/ 39 w 253"/>
                <a:gd name="T19" fmla="*/ 156 h 274"/>
                <a:gd name="T20" fmla="*/ 29 w 253"/>
                <a:gd name="T21" fmla="*/ 137 h 274"/>
                <a:gd name="T22" fmla="*/ 29 w 253"/>
                <a:gd name="T23" fmla="*/ 137 h 274"/>
                <a:gd name="T24" fmla="*/ 19 w 253"/>
                <a:gd name="T25" fmla="*/ 127 h 274"/>
                <a:gd name="T26" fmla="*/ 19 w 253"/>
                <a:gd name="T27" fmla="*/ 117 h 274"/>
                <a:gd name="T28" fmla="*/ 29 w 253"/>
                <a:gd name="T29" fmla="*/ 117 h 274"/>
                <a:gd name="T30" fmla="*/ 29 w 253"/>
                <a:gd name="T31" fmla="*/ 98 h 274"/>
                <a:gd name="T32" fmla="*/ 29 w 253"/>
                <a:gd name="T33" fmla="*/ 88 h 274"/>
                <a:gd name="T34" fmla="*/ 19 w 253"/>
                <a:gd name="T35" fmla="*/ 78 h 274"/>
                <a:gd name="T36" fmla="*/ 19 w 253"/>
                <a:gd name="T37" fmla="*/ 69 h 274"/>
                <a:gd name="T38" fmla="*/ 10 w 253"/>
                <a:gd name="T39" fmla="*/ 59 h 274"/>
                <a:gd name="T40" fmla="*/ 0 w 253"/>
                <a:gd name="T41" fmla="*/ 39 h 274"/>
                <a:gd name="T42" fmla="*/ 0 w 253"/>
                <a:gd name="T43" fmla="*/ 39 h 274"/>
                <a:gd name="T44" fmla="*/ 10 w 253"/>
                <a:gd name="T45" fmla="*/ 39 h 274"/>
                <a:gd name="T46" fmla="*/ 19 w 253"/>
                <a:gd name="T47" fmla="*/ 39 h 274"/>
                <a:gd name="T48" fmla="*/ 29 w 253"/>
                <a:gd name="T49" fmla="*/ 30 h 274"/>
                <a:gd name="T50" fmla="*/ 39 w 253"/>
                <a:gd name="T51" fmla="*/ 20 h 274"/>
                <a:gd name="T52" fmla="*/ 49 w 253"/>
                <a:gd name="T53" fmla="*/ 30 h 274"/>
                <a:gd name="T54" fmla="*/ 58 w 253"/>
                <a:gd name="T55" fmla="*/ 39 h 274"/>
                <a:gd name="T56" fmla="*/ 68 w 253"/>
                <a:gd name="T57" fmla="*/ 30 h 274"/>
                <a:gd name="T58" fmla="*/ 68 w 253"/>
                <a:gd name="T59" fmla="*/ 10 h 274"/>
                <a:gd name="T60" fmla="*/ 68 w 253"/>
                <a:gd name="T61" fmla="*/ 0 h 274"/>
                <a:gd name="T62" fmla="*/ 107 w 253"/>
                <a:gd name="T63" fmla="*/ 10 h 274"/>
                <a:gd name="T64" fmla="*/ 117 w 253"/>
                <a:gd name="T65" fmla="*/ 10 h 274"/>
                <a:gd name="T66" fmla="*/ 127 w 253"/>
                <a:gd name="T67" fmla="*/ 10 h 274"/>
                <a:gd name="T68" fmla="*/ 136 w 253"/>
                <a:gd name="T69" fmla="*/ 10 h 274"/>
                <a:gd name="T70" fmla="*/ 136 w 253"/>
                <a:gd name="T71" fmla="*/ 10 h 274"/>
                <a:gd name="T72" fmla="*/ 156 w 253"/>
                <a:gd name="T73" fmla="*/ 30 h 274"/>
                <a:gd name="T74" fmla="*/ 175 w 253"/>
                <a:gd name="T75" fmla="*/ 39 h 274"/>
                <a:gd name="T76" fmla="*/ 166 w 253"/>
                <a:gd name="T77" fmla="*/ 49 h 274"/>
                <a:gd name="T78" fmla="*/ 156 w 253"/>
                <a:gd name="T79" fmla="*/ 59 h 274"/>
                <a:gd name="T80" fmla="*/ 156 w 253"/>
                <a:gd name="T81" fmla="*/ 59 h 274"/>
                <a:gd name="T82" fmla="*/ 175 w 253"/>
                <a:gd name="T83" fmla="*/ 69 h 274"/>
                <a:gd name="T84" fmla="*/ 195 w 253"/>
                <a:gd name="T85" fmla="*/ 78 h 274"/>
                <a:gd name="T86" fmla="*/ 195 w 253"/>
                <a:gd name="T87" fmla="*/ 108 h 274"/>
                <a:gd name="T88" fmla="*/ 205 w 253"/>
                <a:gd name="T89" fmla="*/ 127 h 274"/>
                <a:gd name="T90" fmla="*/ 205 w 253"/>
                <a:gd name="T91" fmla="*/ 156 h 274"/>
                <a:gd name="T92" fmla="*/ 205 w 253"/>
                <a:gd name="T93" fmla="*/ 176 h 274"/>
                <a:gd name="T94" fmla="*/ 205 w 253"/>
                <a:gd name="T95" fmla="*/ 156 h 274"/>
                <a:gd name="T96" fmla="*/ 205 w 253"/>
                <a:gd name="T97" fmla="*/ 176 h 274"/>
                <a:gd name="T98" fmla="*/ 224 w 253"/>
                <a:gd name="T99" fmla="*/ 186 h 274"/>
                <a:gd name="T100" fmla="*/ 224 w 253"/>
                <a:gd name="T101" fmla="*/ 205 h 274"/>
                <a:gd name="T102" fmla="*/ 224 w 253"/>
                <a:gd name="T103" fmla="*/ 205 h 274"/>
                <a:gd name="T104" fmla="*/ 253 w 253"/>
                <a:gd name="T105" fmla="*/ 215 h 274"/>
                <a:gd name="T106" fmla="*/ 253 w 253"/>
                <a:gd name="T107" fmla="*/ 225 h 274"/>
                <a:gd name="T108" fmla="*/ 244 w 253"/>
                <a:gd name="T109" fmla="*/ 234 h 274"/>
                <a:gd name="T110" fmla="*/ 244 w 253"/>
                <a:gd name="T111" fmla="*/ 254 h 274"/>
                <a:gd name="T112" fmla="*/ 234 w 253"/>
                <a:gd name="T113" fmla="*/ 244 h 274"/>
                <a:gd name="T114" fmla="*/ 224 w 253"/>
                <a:gd name="T115" fmla="*/ 234 h 274"/>
                <a:gd name="T116" fmla="*/ 214 w 253"/>
                <a:gd name="T117" fmla="*/ 244 h 274"/>
                <a:gd name="T118" fmla="*/ 205 w 253"/>
                <a:gd name="T119" fmla="*/ 264 h 274"/>
                <a:gd name="T120" fmla="*/ 195 w 253"/>
                <a:gd name="T121" fmla="*/ 274 h 274"/>
                <a:gd name="T122" fmla="*/ 195 w 253"/>
                <a:gd name="T123" fmla="*/ 264 h 27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3"/>
                <a:gd name="T187" fmla="*/ 0 h 274"/>
                <a:gd name="T188" fmla="*/ 253 w 253"/>
                <a:gd name="T189" fmla="*/ 274 h 27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3" h="274">
                  <a:moveTo>
                    <a:pt x="195" y="264"/>
                  </a:moveTo>
                  <a:lnTo>
                    <a:pt x="175" y="254"/>
                  </a:lnTo>
                  <a:lnTo>
                    <a:pt x="156" y="225"/>
                  </a:lnTo>
                  <a:lnTo>
                    <a:pt x="136" y="205"/>
                  </a:lnTo>
                  <a:lnTo>
                    <a:pt x="117" y="205"/>
                  </a:lnTo>
                  <a:lnTo>
                    <a:pt x="97" y="186"/>
                  </a:lnTo>
                  <a:lnTo>
                    <a:pt x="68" y="17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39" y="156"/>
                  </a:lnTo>
                  <a:lnTo>
                    <a:pt x="29" y="137"/>
                  </a:lnTo>
                  <a:lnTo>
                    <a:pt x="19" y="127"/>
                  </a:lnTo>
                  <a:lnTo>
                    <a:pt x="19" y="117"/>
                  </a:lnTo>
                  <a:lnTo>
                    <a:pt x="29" y="117"/>
                  </a:lnTo>
                  <a:lnTo>
                    <a:pt x="29" y="98"/>
                  </a:lnTo>
                  <a:lnTo>
                    <a:pt x="29" y="88"/>
                  </a:lnTo>
                  <a:lnTo>
                    <a:pt x="19" y="78"/>
                  </a:lnTo>
                  <a:lnTo>
                    <a:pt x="19" y="69"/>
                  </a:lnTo>
                  <a:lnTo>
                    <a:pt x="1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19" y="39"/>
                  </a:lnTo>
                  <a:lnTo>
                    <a:pt x="29" y="30"/>
                  </a:lnTo>
                  <a:lnTo>
                    <a:pt x="39" y="20"/>
                  </a:lnTo>
                  <a:lnTo>
                    <a:pt x="49" y="30"/>
                  </a:lnTo>
                  <a:lnTo>
                    <a:pt x="58" y="39"/>
                  </a:lnTo>
                  <a:lnTo>
                    <a:pt x="68" y="30"/>
                  </a:lnTo>
                  <a:lnTo>
                    <a:pt x="68" y="10"/>
                  </a:lnTo>
                  <a:lnTo>
                    <a:pt x="68" y="0"/>
                  </a:lnTo>
                  <a:lnTo>
                    <a:pt x="107" y="10"/>
                  </a:lnTo>
                  <a:lnTo>
                    <a:pt x="117" y="10"/>
                  </a:lnTo>
                  <a:lnTo>
                    <a:pt x="127" y="10"/>
                  </a:lnTo>
                  <a:lnTo>
                    <a:pt x="136" y="10"/>
                  </a:lnTo>
                  <a:lnTo>
                    <a:pt x="156" y="3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56" y="59"/>
                  </a:lnTo>
                  <a:lnTo>
                    <a:pt x="175" y="69"/>
                  </a:lnTo>
                  <a:lnTo>
                    <a:pt x="195" y="78"/>
                  </a:lnTo>
                  <a:lnTo>
                    <a:pt x="195" y="108"/>
                  </a:lnTo>
                  <a:lnTo>
                    <a:pt x="205" y="127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24" y="186"/>
                  </a:lnTo>
                  <a:lnTo>
                    <a:pt x="224" y="205"/>
                  </a:lnTo>
                  <a:lnTo>
                    <a:pt x="253" y="215"/>
                  </a:lnTo>
                  <a:lnTo>
                    <a:pt x="253" y="225"/>
                  </a:lnTo>
                  <a:lnTo>
                    <a:pt x="244" y="234"/>
                  </a:lnTo>
                  <a:lnTo>
                    <a:pt x="244" y="254"/>
                  </a:lnTo>
                  <a:lnTo>
                    <a:pt x="234" y="244"/>
                  </a:lnTo>
                  <a:lnTo>
                    <a:pt x="224" y="234"/>
                  </a:lnTo>
                  <a:lnTo>
                    <a:pt x="214" y="24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95" y="26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362"/>
            <p:cNvSpPr>
              <a:spLocks/>
            </p:cNvSpPr>
            <p:nvPr/>
          </p:nvSpPr>
          <p:spPr bwMode="auto">
            <a:xfrm>
              <a:off x="1171" y="2050"/>
              <a:ext cx="225" cy="291"/>
            </a:xfrm>
            <a:custGeom>
              <a:avLst/>
              <a:gdLst>
                <a:gd name="T0" fmla="*/ 137 w 225"/>
                <a:gd name="T1" fmla="*/ 283 h 293"/>
                <a:gd name="T2" fmla="*/ 147 w 225"/>
                <a:gd name="T3" fmla="*/ 263 h 293"/>
                <a:gd name="T4" fmla="*/ 166 w 225"/>
                <a:gd name="T5" fmla="*/ 244 h 293"/>
                <a:gd name="T6" fmla="*/ 186 w 225"/>
                <a:gd name="T7" fmla="*/ 244 h 293"/>
                <a:gd name="T8" fmla="*/ 186 w 225"/>
                <a:gd name="T9" fmla="*/ 224 h 293"/>
                <a:gd name="T10" fmla="*/ 186 w 225"/>
                <a:gd name="T11" fmla="*/ 215 h 293"/>
                <a:gd name="T12" fmla="*/ 186 w 225"/>
                <a:gd name="T13" fmla="*/ 205 h 293"/>
                <a:gd name="T14" fmla="*/ 186 w 225"/>
                <a:gd name="T15" fmla="*/ 205 h 293"/>
                <a:gd name="T16" fmla="*/ 196 w 225"/>
                <a:gd name="T17" fmla="*/ 205 h 293"/>
                <a:gd name="T18" fmla="*/ 205 w 225"/>
                <a:gd name="T19" fmla="*/ 195 h 293"/>
                <a:gd name="T20" fmla="*/ 215 w 225"/>
                <a:gd name="T21" fmla="*/ 185 h 293"/>
                <a:gd name="T22" fmla="*/ 215 w 225"/>
                <a:gd name="T23" fmla="*/ 176 h 293"/>
                <a:gd name="T24" fmla="*/ 205 w 225"/>
                <a:gd name="T25" fmla="*/ 166 h 293"/>
                <a:gd name="T26" fmla="*/ 215 w 225"/>
                <a:gd name="T27" fmla="*/ 156 h 293"/>
                <a:gd name="T28" fmla="*/ 225 w 225"/>
                <a:gd name="T29" fmla="*/ 156 h 293"/>
                <a:gd name="T30" fmla="*/ 225 w 225"/>
                <a:gd name="T31" fmla="*/ 137 h 293"/>
                <a:gd name="T32" fmla="*/ 225 w 225"/>
                <a:gd name="T33" fmla="*/ 127 h 293"/>
                <a:gd name="T34" fmla="*/ 215 w 225"/>
                <a:gd name="T35" fmla="*/ 117 h 293"/>
                <a:gd name="T36" fmla="*/ 186 w 225"/>
                <a:gd name="T37" fmla="*/ 88 h 293"/>
                <a:gd name="T38" fmla="*/ 166 w 225"/>
                <a:gd name="T39" fmla="*/ 78 h 293"/>
                <a:gd name="T40" fmla="*/ 147 w 225"/>
                <a:gd name="T41" fmla="*/ 68 h 293"/>
                <a:gd name="T42" fmla="*/ 127 w 225"/>
                <a:gd name="T43" fmla="*/ 58 h 293"/>
                <a:gd name="T44" fmla="*/ 108 w 225"/>
                <a:gd name="T45" fmla="*/ 39 h 293"/>
                <a:gd name="T46" fmla="*/ 98 w 225"/>
                <a:gd name="T47" fmla="*/ 19 h 293"/>
                <a:gd name="T48" fmla="*/ 88 w 225"/>
                <a:gd name="T49" fmla="*/ 19 h 293"/>
                <a:gd name="T50" fmla="*/ 79 w 225"/>
                <a:gd name="T51" fmla="*/ 19 h 293"/>
                <a:gd name="T52" fmla="*/ 69 w 225"/>
                <a:gd name="T53" fmla="*/ 0 h 293"/>
                <a:gd name="T54" fmla="*/ 59 w 225"/>
                <a:gd name="T55" fmla="*/ 0 h 293"/>
                <a:gd name="T56" fmla="*/ 49 w 225"/>
                <a:gd name="T57" fmla="*/ 0 h 293"/>
                <a:gd name="T58" fmla="*/ 40 w 225"/>
                <a:gd name="T59" fmla="*/ 10 h 293"/>
                <a:gd name="T60" fmla="*/ 40 w 225"/>
                <a:gd name="T61" fmla="*/ 19 h 293"/>
                <a:gd name="T62" fmla="*/ 10 w 225"/>
                <a:gd name="T63" fmla="*/ 19 h 293"/>
                <a:gd name="T64" fmla="*/ 0 w 225"/>
                <a:gd name="T65" fmla="*/ 49 h 293"/>
                <a:gd name="T66" fmla="*/ 0 w 225"/>
                <a:gd name="T67" fmla="*/ 58 h 293"/>
                <a:gd name="T68" fmla="*/ 20 w 225"/>
                <a:gd name="T69" fmla="*/ 58 h 293"/>
                <a:gd name="T70" fmla="*/ 30 w 225"/>
                <a:gd name="T71" fmla="*/ 68 h 293"/>
                <a:gd name="T72" fmla="*/ 30 w 225"/>
                <a:gd name="T73" fmla="*/ 88 h 293"/>
                <a:gd name="T74" fmla="*/ 30 w 225"/>
                <a:gd name="T75" fmla="*/ 117 h 293"/>
                <a:gd name="T76" fmla="*/ 49 w 225"/>
                <a:gd name="T77" fmla="*/ 127 h 293"/>
                <a:gd name="T78" fmla="*/ 59 w 225"/>
                <a:gd name="T79" fmla="*/ 127 h 293"/>
                <a:gd name="T80" fmla="*/ 79 w 225"/>
                <a:gd name="T81" fmla="*/ 146 h 293"/>
                <a:gd name="T82" fmla="*/ 88 w 225"/>
                <a:gd name="T83" fmla="*/ 146 h 293"/>
                <a:gd name="T84" fmla="*/ 88 w 225"/>
                <a:gd name="T85" fmla="*/ 156 h 293"/>
                <a:gd name="T86" fmla="*/ 79 w 225"/>
                <a:gd name="T87" fmla="*/ 166 h 293"/>
                <a:gd name="T88" fmla="*/ 79 w 225"/>
                <a:gd name="T89" fmla="*/ 185 h 293"/>
                <a:gd name="T90" fmla="*/ 69 w 225"/>
                <a:gd name="T91" fmla="*/ 205 h 293"/>
                <a:gd name="T92" fmla="*/ 79 w 225"/>
                <a:gd name="T93" fmla="*/ 224 h 293"/>
                <a:gd name="T94" fmla="*/ 88 w 225"/>
                <a:gd name="T95" fmla="*/ 234 h 293"/>
                <a:gd name="T96" fmla="*/ 98 w 225"/>
                <a:gd name="T97" fmla="*/ 224 h 293"/>
                <a:gd name="T98" fmla="*/ 98 w 225"/>
                <a:gd name="T99" fmla="*/ 234 h 293"/>
                <a:gd name="T100" fmla="*/ 108 w 225"/>
                <a:gd name="T101" fmla="*/ 254 h 293"/>
                <a:gd name="T102" fmla="*/ 108 w 225"/>
                <a:gd name="T103" fmla="*/ 283 h 293"/>
                <a:gd name="T104" fmla="*/ 108 w 225"/>
                <a:gd name="T105" fmla="*/ 293 h 293"/>
                <a:gd name="T106" fmla="*/ 127 w 225"/>
                <a:gd name="T107" fmla="*/ 283 h 293"/>
                <a:gd name="T108" fmla="*/ 137 w 225"/>
                <a:gd name="T109" fmla="*/ 283 h 29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5"/>
                <a:gd name="T166" fmla="*/ 0 h 293"/>
                <a:gd name="T167" fmla="*/ 225 w 225"/>
                <a:gd name="T168" fmla="*/ 293 h 29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5" h="293">
                  <a:moveTo>
                    <a:pt x="137" y="283"/>
                  </a:moveTo>
                  <a:lnTo>
                    <a:pt x="147" y="263"/>
                  </a:lnTo>
                  <a:lnTo>
                    <a:pt x="166" y="244"/>
                  </a:lnTo>
                  <a:lnTo>
                    <a:pt x="186" y="244"/>
                  </a:lnTo>
                  <a:lnTo>
                    <a:pt x="186" y="224"/>
                  </a:lnTo>
                  <a:lnTo>
                    <a:pt x="186" y="215"/>
                  </a:lnTo>
                  <a:lnTo>
                    <a:pt x="186" y="205"/>
                  </a:lnTo>
                  <a:lnTo>
                    <a:pt x="196" y="205"/>
                  </a:lnTo>
                  <a:lnTo>
                    <a:pt x="205" y="195"/>
                  </a:lnTo>
                  <a:lnTo>
                    <a:pt x="215" y="185"/>
                  </a:lnTo>
                  <a:lnTo>
                    <a:pt x="215" y="176"/>
                  </a:lnTo>
                  <a:lnTo>
                    <a:pt x="205" y="166"/>
                  </a:lnTo>
                  <a:lnTo>
                    <a:pt x="215" y="156"/>
                  </a:lnTo>
                  <a:lnTo>
                    <a:pt x="225" y="156"/>
                  </a:lnTo>
                  <a:lnTo>
                    <a:pt x="225" y="137"/>
                  </a:lnTo>
                  <a:lnTo>
                    <a:pt x="225" y="127"/>
                  </a:lnTo>
                  <a:lnTo>
                    <a:pt x="215" y="117"/>
                  </a:lnTo>
                  <a:lnTo>
                    <a:pt x="186" y="88"/>
                  </a:lnTo>
                  <a:lnTo>
                    <a:pt x="166" y="78"/>
                  </a:lnTo>
                  <a:lnTo>
                    <a:pt x="147" y="68"/>
                  </a:lnTo>
                  <a:lnTo>
                    <a:pt x="127" y="58"/>
                  </a:lnTo>
                  <a:lnTo>
                    <a:pt x="108" y="39"/>
                  </a:lnTo>
                  <a:lnTo>
                    <a:pt x="98" y="19"/>
                  </a:lnTo>
                  <a:lnTo>
                    <a:pt x="88" y="19"/>
                  </a:lnTo>
                  <a:lnTo>
                    <a:pt x="79" y="19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0"/>
                  </a:lnTo>
                  <a:lnTo>
                    <a:pt x="40" y="10"/>
                  </a:lnTo>
                  <a:lnTo>
                    <a:pt x="40" y="19"/>
                  </a:lnTo>
                  <a:lnTo>
                    <a:pt x="10" y="19"/>
                  </a:lnTo>
                  <a:lnTo>
                    <a:pt x="0" y="49"/>
                  </a:lnTo>
                  <a:lnTo>
                    <a:pt x="0" y="58"/>
                  </a:lnTo>
                  <a:lnTo>
                    <a:pt x="20" y="58"/>
                  </a:lnTo>
                  <a:lnTo>
                    <a:pt x="30" y="68"/>
                  </a:lnTo>
                  <a:lnTo>
                    <a:pt x="30" y="88"/>
                  </a:lnTo>
                  <a:lnTo>
                    <a:pt x="30" y="117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79" y="146"/>
                  </a:lnTo>
                  <a:lnTo>
                    <a:pt x="88" y="146"/>
                  </a:lnTo>
                  <a:lnTo>
                    <a:pt x="88" y="156"/>
                  </a:lnTo>
                  <a:lnTo>
                    <a:pt x="79" y="166"/>
                  </a:lnTo>
                  <a:lnTo>
                    <a:pt x="79" y="185"/>
                  </a:lnTo>
                  <a:lnTo>
                    <a:pt x="69" y="205"/>
                  </a:lnTo>
                  <a:lnTo>
                    <a:pt x="79" y="224"/>
                  </a:lnTo>
                  <a:lnTo>
                    <a:pt x="88" y="234"/>
                  </a:lnTo>
                  <a:lnTo>
                    <a:pt x="98" y="224"/>
                  </a:lnTo>
                  <a:lnTo>
                    <a:pt x="98" y="234"/>
                  </a:lnTo>
                  <a:lnTo>
                    <a:pt x="108" y="25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83"/>
                  </a:lnTo>
                  <a:lnTo>
                    <a:pt x="137" y="283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361"/>
            <p:cNvSpPr>
              <a:spLocks/>
            </p:cNvSpPr>
            <p:nvPr/>
          </p:nvSpPr>
          <p:spPr bwMode="auto">
            <a:xfrm>
              <a:off x="1329" y="1864"/>
              <a:ext cx="203" cy="233"/>
            </a:xfrm>
            <a:custGeom>
              <a:avLst/>
              <a:gdLst>
                <a:gd name="T0" fmla="*/ 175 w 204"/>
                <a:gd name="T1" fmla="*/ 78 h 234"/>
                <a:gd name="T2" fmla="*/ 165 w 204"/>
                <a:gd name="T3" fmla="*/ 97 h 234"/>
                <a:gd name="T4" fmla="*/ 175 w 204"/>
                <a:gd name="T5" fmla="*/ 126 h 234"/>
                <a:gd name="T6" fmla="*/ 195 w 204"/>
                <a:gd name="T7" fmla="*/ 136 h 234"/>
                <a:gd name="T8" fmla="*/ 195 w 204"/>
                <a:gd name="T9" fmla="*/ 146 h 234"/>
                <a:gd name="T10" fmla="*/ 195 w 204"/>
                <a:gd name="T11" fmla="*/ 156 h 234"/>
                <a:gd name="T12" fmla="*/ 204 w 204"/>
                <a:gd name="T13" fmla="*/ 175 h 234"/>
                <a:gd name="T14" fmla="*/ 185 w 204"/>
                <a:gd name="T15" fmla="*/ 185 h 234"/>
                <a:gd name="T16" fmla="*/ 165 w 204"/>
                <a:gd name="T17" fmla="*/ 195 h 234"/>
                <a:gd name="T18" fmla="*/ 146 w 204"/>
                <a:gd name="T19" fmla="*/ 195 h 234"/>
                <a:gd name="T20" fmla="*/ 146 w 204"/>
                <a:gd name="T21" fmla="*/ 204 h 234"/>
                <a:gd name="T22" fmla="*/ 156 w 204"/>
                <a:gd name="T23" fmla="*/ 214 h 234"/>
                <a:gd name="T24" fmla="*/ 146 w 204"/>
                <a:gd name="T25" fmla="*/ 224 h 234"/>
                <a:gd name="T26" fmla="*/ 136 w 204"/>
                <a:gd name="T27" fmla="*/ 234 h 234"/>
                <a:gd name="T28" fmla="*/ 117 w 204"/>
                <a:gd name="T29" fmla="*/ 234 h 234"/>
                <a:gd name="T30" fmla="*/ 97 w 204"/>
                <a:gd name="T31" fmla="*/ 234 h 234"/>
                <a:gd name="T32" fmla="*/ 78 w 204"/>
                <a:gd name="T33" fmla="*/ 224 h 234"/>
                <a:gd name="T34" fmla="*/ 87 w 204"/>
                <a:gd name="T35" fmla="*/ 204 h 234"/>
                <a:gd name="T36" fmla="*/ 78 w 204"/>
                <a:gd name="T37" fmla="*/ 224 h 234"/>
                <a:gd name="T38" fmla="*/ 87 w 204"/>
                <a:gd name="T39" fmla="*/ 204 h 234"/>
                <a:gd name="T40" fmla="*/ 78 w 204"/>
                <a:gd name="T41" fmla="*/ 175 h 234"/>
                <a:gd name="T42" fmla="*/ 68 w 204"/>
                <a:gd name="T43" fmla="*/ 156 h 234"/>
                <a:gd name="T44" fmla="*/ 68 w 204"/>
                <a:gd name="T45" fmla="*/ 126 h 234"/>
                <a:gd name="T46" fmla="*/ 48 w 204"/>
                <a:gd name="T47" fmla="*/ 117 h 234"/>
                <a:gd name="T48" fmla="*/ 29 w 204"/>
                <a:gd name="T49" fmla="*/ 107 h 234"/>
                <a:gd name="T50" fmla="*/ 29 w 204"/>
                <a:gd name="T51" fmla="*/ 107 h 234"/>
                <a:gd name="T52" fmla="*/ 39 w 204"/>
                <a:gd name="T53" fmla="*/ 97 h 234"/>
                <a:gd name="T54" fmla="*/ 48 w 204"/>
                <a:gd name="T55" fmla="*/ 87 h 234"/>
                <a:gd name="T56" fmla="*/ 29 w 204"/>
                <a:gd name="T57" fmla="*/ 78 h 234"/>
                <a:gd name="T58" fmla="*/ 9 w 204"/>
                <a:gd name="T59" fmla="*/ 68 h 234"/>
                <a:gd name="T60" fmla="*/ 9 w 204"/>
                <a:gd name="T61" fmla="*/ 58 h 234"/>
                <a:gd name="T62" fmla="*/ 0 w 204"/>
                <a:gd name="T63" fmla="*/ 48 h 234"/>
                <a:gd name="T64" fmla="*/ 0 w 204"/>
                <a:gd name="T65" fmla="*/ 39 h 234"/>
                <a:gd name="T66" fmla="*/ 19 w 204"/>
                <a:gd name="T67" fmla="*/ 39 h 234"/>
                <a:gd name="T68" fmla="*/ 29 w 204"/>
                <a:gd name="T69" fmla="*/ 39 h 234"/>
                <a:gd name="T70" fmla="*/ 48 w 204"/>
                <a:gd name="T71" fmla="*/ 39 h 234"/>
                <a:gd name="T72" fmla="*/ 48 w 204"/>
                <a:gd name="T73" fmla="*/ 29 h 234"/>
                <a:gd name="T74" fmla="*/ 48 w 204"/>
                <a:gd name="T75" fmla="*/ 19 h 234"/>
                <a:gd name="T76" fmla="*/ 58 w 204"/>
                <a:gd name="T77" fmla="*/ 9 h 234"/>
                <a:gd name="T78" fmla="*/ 58 w 204"/>
                <a:gd name="T79" fmla="*/ 9 h 234"/>
                <a:gd name="T80" fmla="*/ 78 w 204"/>
                <a:gd name="T81" fmla="*/ 29 h 234"/>
                <a:gd name="T82" fmla="*/ 87 w 204"/>
                <a:gd name="T83" fmla="*/ 29 h 234"/>
                <a:gd name="T84" fmla="*/ 97 w 204"/>
                <a:gd name="T85" fmla="*/ 9 h 234"/>
                <a:gd name="T86" fmla="*/ 107 w 204"/>
                <a:gd name="T87" fmla="*/ 0 h 234"/>
                <a:gd name="T88" fmla="*/ 156 w 204"/>
                <a:gd name="T89" fmla="*/ 29 h 234"/>
                <a:gd name="T90" fmla="*/ 156 w 204"/>
                <a:gd name="T91" fmla="*/ 39 h 234"/>
                <a:gd name="T92" fmla="*/ 175 w 204"/>
                <a:gd name="T93" fmla="*/ 39 h 234"/>
                <a:gd name="T94" fmla="*/ 175 w 204"/>
                <a:gd name="T95" fmla="*/ 48 h 234"/>
                <a:gd name="T96" fmla="*/ 175 w 204"/>
                <a:gd name="T97" fmla="*/ 58 h 234"/>
                <a:gd name="T98" fmla="*/ 175 w 204"/>
                <a:gd name="T99" fmla="*/ 78 h 23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4"/>
                <a:gd name="T151" fmla="*/ 0 h 234"/>
                <a:gd name="T152" fmla="*/ 204 w 204"/>
                <a:gd name="T153" fmla="*/ 234 h 23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8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  <a:lnTo>
                    <a:pt x="175" y="7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360"/>
            <p:cNvSpPr>
              <a:spLocks/>
            </p:cNvSpPr>
            <p:nvPr/>
          </p:nvSpPr>
          <p:spPr bwMode="auto">
            <a:xfrm>
              <a:off x="1329" y="1864"/>
              <a:ext cx="203" cy="233"/>
            </a:xfrm>
            <a:custGeom>
              <a:avLst/>
              <a:gdLst>
                <a:gd name="T0" fmla="*/ 175 w 204"/>
                <a:gd name="T1" fmla="*/ 78 h 234"/>
                <a:gd name="T2" fmla="*/ 165 w 204"/>
                <a:gd name="T3" fmla="*/ 97 h 234"/>
                <a:gd name="T4" fmla="*/ 175 w 204"/>
                <a:gd name="T5" fmla="*/ 126 h 234"/>
                <a:gd name="T6" fmla="*/ 195 w 204"/>
                <a:gd name="T7" fmla="*/ 136 h 234"/>
                <a:gd name="T8" fmla="*/ 195 w 204"/>
                <a:gd name="T9" fmla="*/ 146 h 234"/>
                <a:gd name="T10" fmla="*/ 195 w 204"/>
                <a:gd name="T11" fmla="*/ 156 h 234"/>
                <a:gd name="T12" fmla="*/ 204 w 204"/>
                <a:gd name="T13" fmla="*/ 175 h 234"/>
                <a:gd name="T14" fmla="*/ 185 w 204"/>
                <a:gd name="T15" fmla="*/ 185 h 234"/>
                <a:gd name="T16" fmla="*/ 165 w 204"/>
                <a:gd name="T17" fmla="*/ 195 h 234"/>
                <a:gd name="T18" fmla="*/ 146 w 204"/>
                <a:gd name="T19" fmla="*/ 195 h 234"/>
                <a:gd name="T20" fmla="*/ 146 w 204"/>
                <a:gd name="T21" fmla="*/ 204 h 234"/>
                <a:gd name="T22" fmla="*/ 156 w 204"/>
                <a:gd name="T23" fmla="*/ 214 h 234"/>
                <a:gd name="T24" fmla="*/ 146 w 204"/>
                <a:gd name="T25" fmla="*/ 224 h 234"/>
                <a:gd name="T26" fmla="*/ 136 w 204"/>
                <a:gd name="T27" fmla="*/ 234 h 234"/>
                <a:gd name="T28" fmla="*/ 117 w 204"/>
                <a:gd name="T29" fmla="*/ 234 h 234"/>
                <a:gd name="T30" fmla="*/ 97 w 204"/>
                <a:gd name="T31" fmla="*/ 234 h 234"/>
                <a:gd name="T32" fmla="*/ 78 w 204"/>
                <a:gd name="T33" fmla="*/ 224 h 234"/>
                <a:gd name="T34" fmla="*/ 87 w 204"/>
                <a:gd name="T35" fmla="*/ 204 h 234"/>
                <a:gd name="T36" fmla="*/ 78 w 204"/>
                <a:gd name="T37" fmla="*/ 224 h 234"/>
                <a:gd name="T38" fmla="*/ 87 w 204"/>
                <a:gd name="T39" fmla="*/ 204 h 234"/>
                <a:gd name="T40" fmla="*/ 78 w 204"/>
                <a:gd name="T41" fmla="*/ 175 h 234"/>
                <a:gd name="T42" fmla="*/ 68 w 204"/>
                <a:gd name="T43" fmla="*/ 156 h 234"/>
                <a:gd name="T44" fmla="*/ 68 w 204"/>
                <a:gd name="T45" fmla="*/ 126 h 234"/>
                <a:gd name="T46" fmla="*/ 48 w 204"/>
                <a:gd name="T47" fmla="*/ 117 h 234"/>
                <a:gd name="T48" fmla="*/ 29 w 204"/>
                <a:gd name="T49" fmla="*/ 107 h 234"/>
                <a:gd name="T50" fmla="*/ 29 w 204"/>
                <a:gd name="T51" fmla="*/ 107 h 234"/>
                <a:gd name="T52" fmla="*/ 39 w 204"/>
                <a:gd name="T53" fmla="*/ 97 h 234"/>
                <a:gd name="T54" fmla="*/ 48 w 204"/>
                <a:gd name="T55" fmla="*/ 87 h 234"/>
                <a:gd name="T56" fmla="*/ 29 w 204"/>
                <a:gd name="T57" fmla="*/ 78 h 234"/>
                <a:gd name="T58" fmla="*/ 9 w 204"/>
                <a:gd name="T59" fmla="*/ 68 h 234"/>
                <a:gd name="T60" fmla="*/ 9 w 204"/>
                <a:gd name="T61" fmla="*/ 58 h 234"/>
                <a:gd name="T62" fmla="*/ 0 w 204"/>
                <a:gd name="T63" fmla="*/ 48 h 234"/>
                <a:gd name="T64" fmla="*/ 0 w 204"/>
                <a:gd name="T65" fmla="*/ 39 h 234"/>
                <a:gd name="T66" fmla="*/ 19 w 204"/>
                <a:gd name="T67" fmla="*/ 39 h 234"/>
                <a:gd name="T68" fmla="*/ 29 w 204"/>
                <a:gd name="T69" fmla="*/ 39 h 234"/>
                <a:gd name="T70" fmla="*/ 48 w 204"/>
                <a:gd name="T71" fmla="*/ 39 h 234"/>
                <a:gd name="T72" fmla="*/ 48 w 204"/>
                <a:gd name="T73" fmla="*/ 29 h 234"/>
                <a:gd name="T74" fmla="*/ 48 w 204"/>
                <a:gd name="T75" fmla="*/ 19 h 234"/>
                <a:gd name="T76" fmla="*/ 48 w 204"/>
                <a:gd name="T77" fmla="*/ 9 h 234"/>
                <a:gd name="T78" fmla="*/ 58 w 204"/>
                <a:gd name="T79" fmla="*/ 9 h 234"/>
                <a:gd name="T80" fmla="*/ 78 w 204"/>
                <a:gd name="T81" fmla="*/ 29 h 234"/>
                <a:gd name="T82" fmla="*/ 97 w 204"/>
                <a:gd name="T83" fmla="*/ 29 h 234"/>
                <a:gd name="T84" fmla="*/ 97 w 204"/>
                <a:gd name="T85" fmla="*/ 9 h 234"/>
                <a:gd name="T86" fmla="*/ 107 w 204"/>
                <a:gd name="T87" fmla="*/ 0 h 234"/>
                <a:gd name="T88" fmla="*/ 156 w 204"/>
                <a:gd name="T89" fmla="*/ 29 h 234"/>
                <a:gd name="T90" fmla="*/ 156 w 204"/>
                <a:gd name="T91" fmla="*/ 39 h 234"/>
                <a:gd name="T92" fmla="*/ 175 w 204"/>
                <a:gd name="T93" fmla="*/ 39 h 234"/>
                <a:gd name="T94" fmla="*/ 175 w 204"/>
                <a:gd name="T95" fmla="*/ 48 h 234"/>
                <a:gd name="T96" fmla="*/ 175 w 204"/>
                <a:gd name="T97" fmla="*/ 58 h 23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4"/>
                <a:gd name="T148" fmla="*/ 0 h 234"/>
                <a:gd name="T149" fmla="*/ 204 w 204"/>
                <a:gd name="T150" fmla="*/ 234 h 23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48" y="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9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</a:path>
              </a:pathLst>
            </a:custGeom>
            <a:noFill/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359"/>
            <p:cNvSpPr>
              <a:spLocks/>
            </p:cNvSpPr>
            <p:nvPr/>
          </p:nvSpPr>
          <p:spPr bwMode="auto">
            <a:xfrm>
              <a:off x="1491" y="1864"/>
              <a:ext cx="206" cy="216"/>
            </a:xfrm>
            <a:custGeom>
              <a:avLst/>
              <a:gdLst>
                <a:gd name="T0" fmla="*/ 137 w 205"/>
                <a:gd name="T1" fmla="*/ 204 h 214"/>
                <a:gd name="T2" fmla="*/ 117 w 205"/>
                <a:gd name="T3" fmla="*/ 204 h 214"/>
                <a:gd name="T4" fmla="*/ 88 w 205"/>
                <a:gd name="T5" fmla="*/ 204 h 214"/>
                <a:gd name="T6" fmla="*/ 78 w 205"/>
                <a:gd name="T7" fmla="*/ 214 h 214"/>
                <a:gd name="T8" fmla="*/ 69 w 205"/>
                <a:gd name="T9" fmla="*/ 214 h 214"/>
                <a:gd name="T10" fmla="*/ 49 w 205"/>
                <a:gd name="T11" fmla="*/ 204 h 214"/>
                <a:gd name="T12" fmla="*/ 49 w 205"/>
                <a:gd name="T13" fmla="*/ 195 h 214"/>
                <a:gd name="T14" fmla="*/ 39 w 205"/>
                <a:gd name="T15" fmla="*/ 175 h 214"/>
                <a:gd name="T16" fmla="*/ 30 w 205"/>
                <a:gd name="T17" fmla="*/ 156 h 214"/>
                <a:gd name="T18" fmla="*/ 30 w 205"/>
                <a:gd name="T19" fmla="*/ 146 h 214"/>
                <a:gd name="T20" fmla="*/ 30 w 205"/>
                <a:gd name="T21" fmla="*/ 136 h 214"/>
                <a:gd name="T22" fmla="*/ 10 w 205"/>
                <a:gd name="T23" fmla="*/ 117 h 214"/>
                <a:gd name="T24" fmla="*/ 0 w 205"/>
                <a:gd name="T25" fmla="*/ 97 h 214"/>
                <a:gd name="T26" fmla="*/ 10 w 205"/>
                <a:gd name="T27" fmla="*/ 78 h 214"/>
                <a:gd name="T28" fmla="*/ 10 w 205"/>
                <a:gd name="T29" fmla="*/ 58 h 214"/>
                <a:gd name="T30" fmla="*/ 10 w 205"/>
                <a:gd name="T31" fmla="*/ 48 h 214"/>
                <a:gd name="T32" fmla="*/ 10 w 205"/>
                <a:gd name="T33" fmla="*/ 39 h 214"/>
                <a:gd name="T34" fmla="*/ 20 w 205"/>
                <a:gd name="T35" fmla="*/ 39 h 214"/>
                <a:gd name="T36" fmla="*/ 30 w 205"/>
                <a:gd name="T37" fmla="*/ 29 h 214"/>
                <a:gd name="T38" fmla="*/ 49 w 205"/>
                <a:gd name="T39" fmla="*/ 29 h 214"/>
                <a:gd name="T40" fmla="*/ 69 w 205"/>
                <a:gd name="T41" fmla="*/ 29 h 214"/>
                <a:gd name="T42" fmla="*/ 69 w 205"/>
                <a:gd name="T43" fmla="*/ 9 h 214"/>
                <a:gd name="T44" fmla="*/ 78 w 205"/>
                <a:gd name="T45" fmla="*/ 0 h 214"/>
                <a:gd name="T46" fmla="*/ 78 w 205"/>
                <a:gd name="T47" fmla="*/ 9 h 214"/>
                <a:gd name="T48" fmla="*/ 98 w 205"/>
                <a:gd name="T49" fmla="*/ 29 h 214"/>
                <a:gd name="T50" fmla="*/ 108 w 205"/>
                <a:gd name="T51" fmla="*/ 39 h 214"/>
                <a:gd name="T52" fmla="*/ 137 w 205"/>
                <a:gd name="T53" fmla="*/ 39 h 214"/>
                <a:gd name="T54" fmla="*/ 166 w 205"/>
                <a:gd name="T55" fmla="*/ 39 h 214"/>
                <a:gd name="T56" fmla="*/ 176 w 205"/>
                <a:gd name="T57" fmla="*/ 39 h 214"/>
                <a:gd name="T58" fmla="*/ 176 w 205"/>
                <a:gd name="T59" fmla="*/ 48 h 214"/>
                <a:gd name="T60" fmla="*/ 176 w 205"/>
                <a:gd name="T61" fmla="*/ 58 h 214"/>
                <a:gd name="T62" fmla="*/ 195 w 205"/>
                <a:gd name="T63" fmla="*/ 58 h 214"/>
                <a:gd name="T64" fmla="*/ 205 w 205"/>
                <a:gd name="T65" fmla="*/ 58 h 214"/>
                <a:gd name="T66" fmla="*/ 195 w 205"/>
                <a:gd name="T67" fmla="*/ 68 h 214"/>
                <a:gd name="T68" fmla="*/ 205 w 205"/>
                <a:gd name="T69" fmla="*/ 87 h 214"/>
                <a:gd name="T70" fmla="*/ 195 w 205"/>
                <a:gd name="T71" fmla="*/ 97 h 214"/>
                <a:gd name="T72" fmla="*/ 186 w 205"/>
                <a:gd name="T73" fmla="*/ 107 h 214"/>
                <a:gd name="T74" fmla="*/ 186 w 205"/>
                <a:gd name="T75" fmla="*/ 117 h 214"/>
                <a:gd name="T76" fmla="*/ 186 w 205"/>
                <a:gd name="T77" fmla="*/ 136 h 214"/>
                <a:gd name="T78" fmla="*/ 186 w 205"/>
                <a:gd name="T79" fmla="*/ 146 h 214"/>
                <a:gd name="T80" fmla="*/ 176 w 205"/>
                <a:gd name="T81" fmla="*/ 156 h 214"/>
                <a:gd name="T82" fmla="*/ 156 w 205"/>
                <a:gd name="T83" fmla="*/ 175 h 214"/>
                <a:gd name="T84" fmla="*/ 137 w 205"/>
                <a:gd name="T85" fmla="*/ 204 h 21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5"/>
                <a:gd name="T130" fmla="*/ 0 h 214"/>
                <a:gd name="T131" fmla="*/ 205 w 205"/>
                <a:gd name="T132" fmla="*/ 214 h 21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5" h="214">
                  <a:moveTo>
                    <a:pt x="137" y="204"/>
                  </a:moveTo>
                  <a:lnTo>
                    <a:pt x="117" y="204"/>
                  </a:lnTo>
                  <a:lnTo>
                    <a:pt x="88" y="204"/>
                  </a:lnTo>
                  <a:lnTo>
                    <a:pt x="78" y="214"/>
                  </a:lnTo>
                  <a:lnTo>
                    <a:pt x="69" y="214"/>
                  </a:lnTo>
                  <a:lnTo>
                    <a:pt x="49" y="204"/>
                  </a:lnTo>
                  <a:lnTo>
                    <a:pt x="49" y="195"/>
                  </a:lnTo>
                  <a:lnTo>
                    <a:pt x="39" y="175"/>
                  </a:lnTo>
                  <a:lnTo>
                    <a:pt x="30" y="156"/>
                  </a:lnTo>
                  <a:lnTo>
                    <a:pt x="30" y="146"/>
                  </a:lnTo>
                  <a:lnTo>
                    <a:pt x="30" y="136"/>
                  </a:lnTo>
                  <a:lnTo>
                    <a:pt x="10" y="117"/>
                  </a:lnTo>
                  <a:lnTo>
                    <a:pt x="0" y="97"/>
                  </a:lnTo>
                  <a:lnTo>
                    <a:pt x="10" y="78"/>
                  </a:lnTo>
                  <a:lnTo>
                    <a:pt x="10" y="58"/>
                  </a:lnTo>
                  <a:lnTo>
                    <a:pt x="10" y="48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29"/>
                  </a:lnTo>
                  <a:lnTo>
                    <a:pt x="49" y="29"/>
                  </a:lnTo>
                  <a:lnTo>
                    <a:pt x="69" y="29"/>
                  </a:lnTo>
                  <a:lnTo>
                    <a:pt x="69" y="9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98" y="29"/>
                  </a:lnTo>
                  <a:lnTo>
                    <a:pt x="108" y="39"/>
                  </a:lnTo>
                  <a:lnTo>
                    <a:pt x="137" y="39"/>
                  </a:lnTo>
                  <a:lnTo>
                    <a:pt x="166" y="39"/>
                  </a:lnTo>
                  <a:lnTo>
                    <a:pt x="176" y="39"/>
                  </a:lnTo>
                  <a:lnTo>
                    <a:pt x="176" y="48"/>
                  </a:lnTo>
                  <a:lnTo>
                    <a:pt x="176" y="58"/>
                  </a:lnTo>
                  <a:lnTo>
                    <a:pt x="195" y="58"/>
                  </a:lnTo>
                  <a:lnTo>
                    <a:pt x="205" y="58"/>
                  </a:lnTo>
                  <a:lnTo>
                    <a:pt x="195" y="68"/>
                  </a:lnTo>
                  <a:lnTo>
                    <a:pt x="205" y="87"/>
                  </a:lnTo>
                  <a:lnTo>
                    <a:pt x="195" y="97"/>
                  </a:lnTo>
                  <a:lnTo>
                    <a:pt x="186" y="107"/>
                  </a:lnTo>
                  <a:lnTo>
                    <a:pt x="186" y="117"/>
                  </a:lnTo>
                  <a:lnTo>
                    <a:pt x="186" y="136"/>
                  </a:lnTo>
                  <a:lnTo>
                    <a:pt x="186" y="146"/>
                  </a:lnTo>
                  <a:lnTo>
                    <a:pt x="176" y="156"/>
                  </a:lnTo>
                  <a:lnTo>
                    <a:pt x="156" y="175"/>
                  </a:lnTo>
                  <a:lnTo>
                    <a:pt x="137" y="20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358"/>
            <p:cNvSpPr>
              <a:spLocks/>
            </p:cNvSpPr>
            <p:nvPr/>
          </p:nvSpPr>
          <p:spPr bwMode="auto">
            <a:xfrm>
              <a:off x="1631" y="1982"/>
              <a:ext cx="271" cy="244"/>
            </a:xfrm>
            <a:custGeom>
              <a:avLst/>
              <a:gdLst>
                <a:gd name="T0" fmla="*/ 39 w 273"/>
                <a:gd name="T1" fmla="*/ 156 h 244"/>
                <a:gd name="T2" fmla="*/ 39 w 273"/>
                <a:gd name="T3" fmla="*/ 165 h 244"/>
                <a:gd name="T4" fmla="*/ 49 w 273"/>
                <a:gd name="T5" fmla="*/ 165 h 244"/>
                <a:gd name="T6" fmla="*/ 68 w 273"/>
                <a:gd name="T7" fmla="*/ 165 h 244"/>
                <a:gd name="T8" fmla="*/ 78 w 273"/>
                <a:gd name="T9" fmla="*/ 165 h 244"/>
                <a:gd name="T10" fmla="*/ 78 w 273"/>
                <a:gd name="T11" fmla="*/ 185 h 244"/>
                <a:gd name="T12" fmla="*/ 78 w 273"/>
                <a:gd name="T13" fmla="*/ 195 h 244"/>
                <a:gd name="T14" fmla="*/ 88 w 273"/>
                <a:gd name="T15" fmla="*/ 214 h 244"/>
                <a:gd name="T16" fmla="*/ 97 w 273"/>
                <a:gd name="T17" fmla="*/ 214 h 244"/>
                <a:gd name="T18" fmla="*/ 117 w 273"/>
                <a:gd name="T19" fmla="*/ 205 h 244"/>
                <a:gd name="T20" fmla="*/ 137 w 273"/>
                <a:gd name="T21" fmla="*/ 205 h 244"/>
                <a:gd name="T22" fmla="*/ 166 w 273"/>
                <a:gd name="T23" fmla="*/ 234 h 244"/>
                <a:gd name="T24" fmla="*/ 185 w 273"/>
                <a:gd name="T25" fmla="*/ 244 h 244"/>
                <a:gd name="T26" fmla="*/ 185 w 273"/>
                <a:gd name="T27" fmla="*/ 234 h 244"/>
                <a:gd name="T28" fmla="*/ 195 w 273"/>
                <a:gd name="T29" fmla="*/ 224 h 244"/>
                <a:gd name="T30" fmla="*/ 195 w 273"/>
                <a:gd name="T31" fmla="*/ 224 h 244"/>
                <a:gd name="T32" fmla="*/ 195 w 273"/>
                <a:gd name="T33" fmla="*/ 234 h 244"/>
                <a:gd name="T34" fmla="*/ 215 w 273"/>
                <a:gd name="T35" fmla="*/ 224 h 244"/>
                <a:gd name="T36" fmla="*/ 205 w 273"/>
                <a:gd name="T37" fmla="*/ 214 h 244"/>
                <a:gd name="T38" fmla="*/ 205 w 273"/>
                <a:gd name="T39" fmla="*/ 205 h 244"/>
                <a:gd name="T40" fmla="*/ 215 w 273"/>
                <a:gd name="T41" fmla="*/ 205 h 244"/>
                <a:gd name="T42" fmla="*/ 234 w 273"/>
                <a:gd name="T43" fmla="*/ 214 h 244"/>
                <a:gd name="T44" fmla="*/ 244 w 273"/>
                <a:gd name="T45" fmla="*/ 214 h 244"/>
                <a:gd name="T46" fmla="*/ 244 w 273"/>
                <a:gd name="T47" fmla="*/ 205 h 244"/>
                <a:gd name="T48" fmla="*/ 263 w 273"/>
                <a:gd name="T49" fmla="*/ 195 h 244"/>
                <a:gd name="T50" fmla="*/ 254 w 273"/>
                <a:gd name="T51" fmla="*/ 175 h 244"/>
                <a:gd name="T52" fmla="*/ 263 w 273"/>
                <a:gd name="T53" fmla="*/ 175 h 244"/>
                <a:gd name="T54" fmla="*/ 273 w 273"/>
                <a:gd name="T55" fmla="*/ 175 h 244"/>
                <a:gd name="T56" fmla="*/ 273 w 273"/>
                <a:gd name="T57" fmla="*/ 156 h 244"/>
                <a:gd name="T58" fmla="*/ 263 w 273"/>
                <a:gd name="T59" fmla="*/ 146 h 244"/>
                <a:gd name="T60" fmla="*/ 263 w 273"/>
                <a:gd name="T61" fmla="*/ 126 h 244"/>
                <a:gd name="T62" fmla="*/ 263 w 273"/>
                <a:gd name="T63" fmla="*/ 97 h 244"/>
                <a:gd name="T64" fmla="*/ 263 w 273"/>
                <a:gd name="T65" fmla="*/ 78 h 244"/>
                <a:gd name="T66" fmla="*/ 244 w 273"/>
                <a:gd name="T67" fmla="*/ 78 h 244"/>
                <a:gd name="T68" fmla="*/ 244 w 273"/>
                <a:gd name="T69" fmla="*/ 68 h 244"/>
                <a:gd name="T70" fmla="*/ 234 w 273"/>
                <a:gd name="T71" fmla="*/ 58 h 244"/>
                <a:gd name="T72" fmla="*/ 224 w 273"/>
                <a:gd name="T73" fmla="*/ 58 h 244"/>
                <a:gd name="T74" fmla="*/ 224 w 273"/>
                <a:gd name="T75" fmla="*/ 39 h 244"/>
                <a:gd name="T76" fmla="*/ 215 w 273"/>
                <a:gd name="T77" fmla="*/ 29 h 244"/>
                <a:gd name="T78" fmla="*/ 195 w 273"/>
                <a:gd name="T79" fmla="*/ 19 h 244"/>
                <a:gd name="T80" fmla="*/ 176 w 273"/>
                <a:gd name="T81" fmla="*/ 19 h 244"/>
                <a:gd name="T82" fmla="*/ 156 w 273"/>
                <a:gd name="T83" fmla="*/ 19 h 244"/>
                <a:gd name="T84" fmla="*/ 127 w 273"/>
                <a:gd name="T85" fmla="*/ 9 h 244"/>
                <a:gd name="T86" fmla="*/ 107 w 273"/>
                <a:gd name="T87" fmla="*/ 9 h 244"/>
                <a:gd name="T88" fmla="*/ 107 w 273"/>
                <a:gd name="T89" fmla="*/ 9 h 244"/>
                <a:gd name="T90" fmla="*/ 97 w 273"/>
                <a:gd name="T91" fmla="*/ 0 h 244"/>
                <a:gd name="T92" fmla="*/ 78 w 273"/>
                <a:gd name="T93" fmla="*/ 0 h 244"/>
                <a:gd name="T94" fmla="*/ 78 w 273"/>
                <a:gd name="T95" fmla="*/ 9 h 244"/>
                <a:gd name="T96" fmla="*/ 68 w 273"/>
                <a:gd name="T97" fmla="*/ 19 h 244"/>
                <a:gd name="T98" fmla="*/ 58 w 273"/>
                <a:gd name="T99" fmla="*/ 9 h 244"/>
                <a:gd name="T100" fmla="*/ 49 w 273"/>
                <a:gd name="T101" fmla="*/ 19 h 244"/>
                <a:gd name="T102" fmla="*/ 49 w 273"/>
                <a:gd name="T103" fmla="*/ 29 h 244"/>
                <a:gd name="T104" fmla="*/ 39 w 273"/>
                <a:gd name="T105" fmla="*/ 39 h 244"/>
                <a:gd name="T106" fmla="*/ 19 w 273"/>
                <a:gd name="T107" fmla="*/ 58 h 244"/>
                <a:gd name="T108" fmla="*/ 0 w 273"/>
                <a:gd name="T109" fmla="*/ 87 h 244"/>
                <a:gd name="T110" fmla="*/ 10 w 273"/>
                <a:gd name="T111" fmla="*/ 97 h 244"/>
                <a:gd name="T112" fmla="*/ 0 w 273"/>
                <a:gd name="T113" fmla="*/ 117 h 244"/>
                <a:gd name="T114" fmla="*/ 10 w 273"/>
                <a:gd name="T115" fmla="*/ 126 h 244"/>
                <a:gd name="T116" fmla="*/ 19 w 273"/>
                <a:gd name="T117" fmla="*/ 126 h 244"/>
                <a:gd name="T118" fmla="*/ 39 w 273"/>
                <a:gd name="T119" fmla="*/ 126 h 244"/>
                <a:gd name="T120" fmla="*/ 49 w 273"/>
                <a:gd name="T121" fmla="*/ 136 h 244"/>
                <a:gd name="T122" fmla="*/ 29 w 273"/>
                <a:gd name="T123" fmla="*/ 146 h 244"/>
                <a:gd name="T124" fmla="*/ 39 w 273"/>
                <a:gd name="T125" fmla="*/ 156 h 2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3"/>
                <a:gd name="T190" fmla="*/ 0 h 244"/>
                <a:gd name="T191" fmla="*/ 273 w 273"/>
                <a:gd name="T192" fmla="*/ 244 h 2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3" h="244">
                  <a:moveTo>
                    <a:pt x="39" y="156"/>
                  </a:moveTo>
                  <a:lnTo>
                    <a:pt x="39" y="165"/>
                  </a:lnTo>
                  <a:lnTo>
                    <a:pt x="49" y="165"/>
                  </a:lnTo>
                  <a:lnTo>
                    <a:pt x="68" y="165"/>
                  </a:lnTo>
                  <a:lnTo>
                    <a:pt x="78" y="16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7" y="214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66" y="234"/>
                  </a:lnTo>
                  <a:lnTo>
                    <a:pt x="185" y="244"/>
                  </a:lnTo>
                  <a:lnTo>
                    <a:pt x="185" y="234"/>
                  </a:lnTo>
                  <a:lnTo>
                    <a:pt x="195" y="224"/>
                  </a:lnTo>
                  <a:lnTo>
                    <a:pt x="195" y="234"/>
                  </a:lnTo>
                  <a:lnTo>
                    <a:pt x="215" y="22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215" y="205"/>
                  </a:lnTo>
                  <a:lnTo>
                    <a:pt x="234" y="214"/>
                  </a:lnTo>
                  <a:lnTo>
                    <a:pt x="244" y="214"/>
                  </a:lnTo>
                  <a:lnTo>
                    <a:pt x="244" y="205"/>
                  </a:lnTo>
                  <a:lnTo>
                    <a:pt x="263" y="195"/>
                  </a:lnTo>
                  <a:lnTo>
                    <a:pt x="254" y="175"/>
                  </a:lnTo>
                  <a:lnTo>
                    <a:pt x="263" y="175"/>
                  </a:lnTo>
                  <a:lnTo>
                    <a:pt x="273" y="175"/>
                  </a:lnTo>
                  <a:lnTo>
                    <a:pt x="273" y="156"/>
                  </a:lnTo>
                  <a:lnTo>
                    <a:pt x="263" y="146"/>
                  </a:lnTo>
                  <a:lnTo>
                    <a:pt x="263" y="126"/>
                  </a:lnTo>
                  <a:lnTo>
                    <a:pt x="263" y="97"/>
                  </a:lnTo>
                  <a:lnTo>
                    <a:pt x="263" y="78"/>
                  </a:lnTo>
                  <a:lnTo>
                    <a:pt x="244" y="78"/>
                  </a:lnTo>
                  <a:lnTo>
                    <a:pt x="244" y="68"/>
                  </a:lnTo>
                  <a:lnTo>
                    <a:pt x="234" y="58"/>
                  </a:lnTo>
                  <a:lnTo>
                    <a:pt x="224" y="58"/>
                  </a:lnTo>
                  <a:lnTo>
                    <a:pt x="224" y="39"/>
                  </a:lnTo>
                  <a:lnTo>
                    <a:pt x="215" y="29"/>
                  </a:lnTo>
                  <a:lnTo>
                    <a:pt x="195" y="19"/>
                  </a:lnTo>
                  <a:lnTo>
                    <a:pt x="176" y="19"/>
                  </a:lnTo>
                  <a:lnTo>
                    <a:pt x="156" y="19"/>
                  </a:lnTo>
                  <a:lnTo>
                    <a:pt x="127" y="9"/>
                  </a:lnTo>
                  <a:lnTo>
                    <a:pt x="107" y="9"/>
                  </a:lnTo>
                  <a:lnTo>
                    <a:pt x="97" y="0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68" y="19"/>
                  </a:lnTo>
                  <a:lnTo>
                    <a:pt x="58" y="9"/>
                  </a:lnTo>
                  <a:lnTo>
                    <a:pt x="49" y="19"/>
                  </a:lnTo>
                  <a:lnTo>
                    <a:pt x="49" y="29"/>
                  </a:lnTo>
                  <a:lnTo>
                    <a:pt x="39" y="39"/>
                  </a:lnTo>
                  <a:lnTo>
                    <a:pt x="19" y="58"/>
                  </a:lnTo>
                  <a:lnTo>
                    <a:pt x="0" y="87"/>
                  </a:lnTo>
                  <a:lnTo>
                    <a:pt x="10" y="97"/>
                  </a:lnTo>
                  <a:lnTo>
                    <a:pt x="0" y="117"/>
                  </a:lnTo>
                  <a:lnTo>
                    <a:pt x="10" y="126"/>
                  </a:lnTo>
                  <a:lnTo>
                    <a:pt x="19" y="126"/>
                  </a:lnTo>
                  <a:lnTo>
                    <a:pt x="39" y="126"/>
                  </a:lnTo>
                  <a:lnTo>
                    <a:pt x="49" y="136"/>
                  </a:lnTo>
                  <a:lnTo>
                    <a:pt x="29" y="146"/>
                  </a:lnTo>
                  <a:lnTo>
                    <a:pt x="39" y="15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357"/>
            <p:cNvSpPr>
              <a:spLocks/>
            </p:cNvSpPr>
            <p:nvPr/>
          </p:nvSpPr>
          <p:spPr bwMode="auto">
            <a:xfrm>
              <a:off x="1425" y="2038"/>
              <a:ext cx="252" cy="235"/>
            </a:xfrm>
            <a:custGeom>
              <a:avLst/>
              <a:gdLst>
                <a:gd name="T0" fmla="*/ 127 w 254"/>
                <a:gd name="T1" fmla="*/ 234 h 234"/>
                <a:gd name="T2" fmla="*/ 166 w 254"/>
                <a:gd name="T3" fmla="*/ 215 h 234"/>
                <a:gd name="T4" fmla="*/ 166 w 254"/>
                <a:gd name="T5" fmla="*/ 156 h 234"/>
                <a:gd name="T6" fmla="*/ 166 w 254"/>
                <a:gd name="T7" fmla="*/ 147 h 234"/>
                <a:gd name="T8" fmla="*/ 185 w 254"/>
                <a:gd name="T9" fmla="*/ 137 h 234"/>
                <a:gd name="T10" fmla="*/ 215 w 254"/>
                <a:gd name="T11" fmla="*/ 117 h 234"/>
                <a:gd name="T12" fmla="*/ 244 w 254"/>
                <a:gd name="T13" fmla="*/ 98 h 234"/>
                <a:gd name="T14" fmla="*/ 234 w 254"/>
                <a:gd name="T15" fmla="*/ 88 h 234"/>
                <a:gd name="T16" fmla="*/ 254 w 254"/>
                <a:gd name="T17" fmla="*/ 78 h 234"/>
                <a:gd name="T18" fmla="*/ 244 w 254"/>
                <a:gd name="T19" fmla="*/ 68 h 234"/>
                <a:gd name="T20" fmla="*/ 224 w 254"/>
                <a:gd name="T21" fmla="*/ 68 h 234"/>
                <a:gd name="T22" fmla="*/ 215 w 254"/>
                <a:gd name="T23" fmla="*/ 68 h 234"/>
                <a:gd name="T24" fmla="*/ 215 w 254"/>
                <a:gd name="T25" fmla="*/ 59 h 234"/>
                <a:gd name="T26" fmla="*/ 215 w 254"/>
                <a:gd name="T27" fmla="*/ 39 h 234"/>
                <a:gd name="T28" fmla="*/ 205 w 254"/>
                <a:gd name="T29" fmla="*/ 29 h 234"/>
                <a:gd name="T30" fmla="*/ 185 w 254"/>
                <a:gd name="T31" fmla="*/ 29 h 234"/>
                <a:gd name="T32" fmla="*/ 166 w 254"/>
                <a:gd name="T33" fmla="*/ 29 h 234"/>
                <a:gd name="T34" fmla="*/ 156 w 254"/>
                <a:gd name="T35" fmla="*/ 49 h 234"/>
                <a:gd name="T36" fmla="*/ 137 w 254"/>
                <a:gd name="T37" fmla="*/ 39 h 234"/>
                <a:gd name="T38" fmla="*/ 117 w 254"/>
                <a:gd name="T39" fmla="*/ 29 h 234"/>
                <a:gd name="T40" fmla="*/ 127 w 254"/>
                <a:gd name="T41" fmla="*/ 20 h 234"/>
                <a:gd name="T42" fmla="*/ 107 w 254"/>
                <a:gd name="T43" fmla="*/ 0 h 234"/>
                <a:gd name="T44" fmla="*/ 88 w 254"/>
                <a:gd name="T45" fmla="*/ 10 h 234"/>
                <a:gd name="T46" fmla="*/ 78 w 254"/>
                <a:gd name="T47" fmla="*/ 20 h 234"/>
                <a:gd name="T48" fmla="*/ 59 w 254"/>
                <a:gd name="T49" fmla="*/ 20 h 234"/>
                <a:gd name="T50" fmla="*/ 49 w 254"/>
                <a:gd name="T51" fmla="*/ 29 h 234"/>
                <a:gd name="T52" fmla="*/ 59 w 254"/>
                <a:gd name="T53" fmla="*/ 39 h 234"/>
                <a:gd name="T54" fmla="*/ 49 w 254"/>
                <a:gd name="T55" fmla="*/ 49 h 234"/>
                <a:gd name="T56" fmla="*/ 39 w 254"/>
                <a:gd name="T57" fmla="*/ 59 h 234"/>
                <a:gd name="T58" fmla="*/ 20 w 254"/>
                <a:gd name="T59" fmla="*/ 59 h 234"/>
                <a:gd name="T60" fmla="*/ 10 w 254"/>
                <a:gd name="T61" fmla="*/ 68 h 234"/>
                <a:gd name="T62" fmla="*/ 0 w 254"/>
                <a:gd name="T63" fmla="*/ 78 h 234"/>
                <a:gd name="T64" fmla="*/ 10 w 254"/>
                <a:gd name="T65" fmla="*/ 88 h 234"/>
                <a:gd name="T66" fmla="*/ 29 w 254"/>
                <a:gd name="T67" fmla="*/ 88 h 234"/>
                <a:gd name="T68" fmla="*/ 29 w 254"/>
                <a:gd name="T69" fmla="*/ 98 h 234"/>
                <a:gd name="T70" fmla="*/ 39 w 254"/>
                <a:gd name="T71" fmla="*/ 107 h 234"/>
                <a:gd name="T72" fmla="*/ 39 w 254"/>
                <a:gd name="T73" fmla="*/ 107 h 234"/>
                <a:gd name="T74" fmla="*/ 59 w 254"/>
                <a:gd name="T75" fmla="*/ 107 h 234"/>
                <a:gd name="T76" fmla="*/ 49 w 254"/>
                <a:gd name="T77" fmla="*/ 127 h 234"/>
                <a:gd name="T78" fmla="*/ 59 w 254"/>
                <a:gd name="T79" fmla="*/ 137 h 234"/>
                <a:gd name="T80" fmla="*/ 78 w 254"/>
                <a:gd name="T81" fmla="*/ 137 h 234"/>
                <a:gd name="T82" fmla="*/ 78 w 254"/>
                <a:gd name="T83" fmla="*/ 156 h 234"/>
                <a:gd name="T84" fmla="*/ 88 w 254"/>
                <a:gd name="T85" fmla="*/ 156 h 234"/>
                <a:gd name="T86" fmla="*/ 78 w 254"/>
                <a:gd name="T87" fmla="*/ 166 h 234"/>
                <a:gd name="T88" fmla="*/ 78 w 254"/>
                <a:gd name="T89" fmla="*/ 186 h 234"/>
                <a:gd name="T90" fmla="*/ 88 w 254"/>
                <a:gd name="T91" fmla="*/ 195 h 234"/>
                <a:gd name="T92" fmla="*/ 98 w 254"/>
                <a:gd name="T93" fmla="*/ 195 h 234"/>
                <a:gd name="T94" fmla="*/ 107 w 254"/>
                <a:gd name="T95" fmla="*/ 205 h 234"/>
                <a:gd name="T96" fmla="*/ 127 w 254"/>
                <a:gd name="T97" fmla="*/ 234 h 23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54"/>
                <a:gd name="T148" fmla="*/ 0 h 234"/>
                <a:gd name="T149" fmla="*/ 254 w 254"/>
                <a:gd name="T150" fmla="*/ 234 h 23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54" h="234">
                  <a:moveTo>
                    <a:pt x="127" y="234"/>
                  </a:moveTo>
                  <a:lnTo>
                    <a:pt x="166" y="215"/>
                  </a:lnTo>
                  <a:lnTo>
                    <a:pt x="166" y="156"/>
                  </a:lnTo>
                  <a:lnTo>
                    <a:pt x="166" y="147"/>
                  </a:lnTo>
                  <a:lnTo>
                    <a:pt x="185" y="137"/>
                  </a:lnTo>
                  <a:lnTo>
                    <a:pt x="215" y="117"/>
                  </a:lnTo>
                  <a:lnTo>
                    <a:pt x="244" y="98"/>
                  </a:lnTo>
                  <a:lnTo>
                    <a:pt x="234" y="88"/>
                  </a:lnTo>
                  <a:lnTo>
                    <a:pt x="254" y="78"/>
                  </a:lnTo>
                  <a:lnTo>
                    <a:pt x="244" y="68"/>
                  </a:lnTo>
                  <a:lnTo>
                    <a:pt x="224" y="68"/>
                  </a:lnTo>
                  <a:lnTo>
                    <a:pt x="215" y="68"/>
                  </a:lnTo>
                  <a:lnTo>
                    <a:pt x="215" y="59"/>
                  </a:lnTo>
                  <a:lnTo>
                    <a:pt x="215" y="39"/>
                  </a:lnTo>
                  <a:lnTo>
                    <a:pt x="205" y="29"/>
                  </a:lnTo>
                  <a:lnTo>
                    <a:pt x="185" y="29"/>
                  </a:lnTo>
                  <a:lnTo>
                    <a:pt x="166" y="29"/>
                  </a:lnTo>
                  <a:lnTo>
                    <a:pt x="156" y="49"/>
                  </a:lnTo>
                  <a:lnTo>
                    <a:pt x="137" y="39"/>
                  </a:lnTo>
                  <a:lnTo>
                    <a:pt x="117" y="29"/>
                  </a:lnTo>
                  <a:lnTo>
                    <a:pt x="127" y="20"/>
                  </a:lnTo>
                  <a:lnTo>
                    <a:pt x="107" y="0"/>
                  </a:lnTo>
                  <a:lnTo>
                    <a:pt x="88" y="10"/>
                  </a:lnTo>
                  <a:lnTo>
                    <a:pt x="78" y="2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59" y="39"/>
                  </a:lnTo>
                  <a:lnTo>
                    <a:pt x="49" y="49"/>
                  </a:lnTo>
                  <a:lnTo>
                    <a:pt x="39" y="59"/>
                  </a:lnTo>
                  <a:lnTo>
                    <a:pt x="20" y="59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29" y="88"/>
                  </a:lnTo>
                  <a:lnTo>
                    <a:pt x="29" y="9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49" y="127"/>
                  </a:lnTo>
                  <a:lnTo>
                    <a:pt x="59" y="137"/>
                  </a:lnTo>
                  <a:lnTo>
                    <a:pt x="78" y="137"/>
                  </a:lnTo>
                  <a:lnTo>
                    <a:pt x="78" y="156"/>
                  </a:lnTo>
                  <a:lnTo>
                    <a:pt x="88" y="156"/>
                  </a:lnTo>
                  <a:lnTo>
                    <a:pt x="78" y="166"/>
                  </a:lnTo>
                  <a:lnTo>
                    <a:pt x="78" y="186"/>
                  </a:lnTo>
                  <a:lnTo>
                    <a:pt x="88" y="195"/>
                  </a:lnTo>
                  <a:lnTo>
                    <a:pt x="98" y="195"/>
                  </a:lnTo>
                  <a:lnTo>
                    <a:pt x="107" y="205"/>
                  </a:lnTo>
                  <a:lnTo>
                    <a:pt x="127" y="23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356"/>
            <p:cNvSpPr>
              <a:spLocks/>
            </p:cNvSpPr>
            <p:nvPr/>
          </p:nvSpPr>
          <p:spPr bwMode="auto">
            <a:xfrm>
              <a:off x="1544" y="2139"/>
              <a:ext cx="252" cy="261"/>
            </a:xfrm>
            <a:custGeom>
              <a:avLst/>
              <a:gdLst>
                <a:gd name="T0" fmla="*/ 10 w 254"/>
                <a:gd name="T1" fmla="*/ 156 h 263"/>
                <a:gd name="T2" fmla="*/ 10 w 254"/>
                <a:gd name="T3" fmla="*/ 156 h 263"/>
                <a:gd name="T4" fmla="*/ 0 w 254"/>
                <a:gd name="T5" fmla="*/ 175 h 263"/>
                <a:gd name="T6" fmla="*/ 10 w 254"/>
                <a:gd name="T7" fmla="*/ 185 h 263"/>
                <a:gd name="T8" fmla="*/ 29 w 254"/>
                <a:gd name="T9" fmla="*/ 185 h 263"/>
                <a:gd name="T10" fmla="*/ 39 w 254"/>
                <a:gd name="T11" fmla="*/ 185 h 263"/>
                <a:gd name="T12" fmla="*/ 49 w 254"/>
                <a:gd name="T13" fmla="*/ 205 h 263"/>
                <a:gd name="T14" fmla="*/ 49 w 254"/>
                <a:gd name="T15" fmla="*/ 224 h 263"/>
                <a:gd name="T16" fmla="*/ 59 w 254"/>
                <a:gd name="T17" fmla="*/ 234 h 263"/>
                <a:gd name="T18" fmla="*/ 68 w 254"/>
                <a:gd name="T19" fmla="*/ 234 h 263"/>
                <a:gd name="T20" fmla="*/ 78 w 254"/>
                <a:gd name="T21" fmla="*/ 244 h 263"/>
                <a:gd name="T22" fmla="*/ 68 w 254"/>
                <a:gd name="T23" fmla="*/ 244 h 263"/>
                <a:gd name="T24" fmla="*/ 68 w 254"/>
                <a:gd name="T25" fmla="*/ 253 h 263"/>
                <a:gd name="T26" fmla="*/ 78 w 254"/>
                <a:gd name="T27" fmla="*/ 263 h 263"/>
                <a:gd name="T28" fmla="*/ 88 w 254"/>
                <a:gd name="T29" fmla="*/ 263 h 263"/>
                <a:gd name="T30" fmla="*/ 98 w 254"/>
                <a:gd name="T31" fmla="*/ 263 h 263"/>
                <a:gd name="T32" fmla="*/ 117 w 254"/>
                <a:gd name="T33" fmla="*/ 244 h 263"/>
                <a:gd name="T34" fmla="*/ 127 w 254"/>
                <a:gd name="T35" fmla="*/ 244 h 263"/>
                <a:gd name="T36" fmla="*/ 137 w 254"/>
                <a:gd name="T37" fmla="*/ 234 h 263"/>
                <a:gd name="T38" fmla="*/ 146 w 254"/>
                <a:gd name="T39" fmla="*/ 224 h 263"/>
                <a:gd name="T40" fmla="*/ 166 w 254"/>
                <a:gd name="T41" fmla="*/ 224 h 263"/>
                <a:gd name="T42" fmla="*/ 185 w 254"/>
                <a:gd name="T43" fmla="*/ 224 h 263"/>
                <a:gd name="T44" fmla="*/ 195 w 254"/>
                <a:gd name="T45" fmla="*/ 205 h 263"/>
                <a:gd name="T46" fmla="*/ 195 w 254"/>
                <a:gd name="T47" fmla="*/ 185 h 263"/>
                <a:gd name="T48" fmla="*/ 195 w 254"/>
                <a:gd name="T49" fmla="*/ 166 h 263"/>
                <a:gd name="T50" fmla="*/ 215 w 254"/>
                <a:gd name="T51" fmla="*/ 156 h 263"/>
                <a:gd name="T52" fmla="*/ 225 w 254"/>
                <a:gd name="T53" fmla="*/ 136 h 263"/>
                <a:gd name="T54" fmla="*/ 225 w 254"/>
                <a:gd name="T55" fmla="*/ 88 h 263"/>
                <a:gd name="T56" fmla="*/ 254 w 254"/>
                <a:gd name="T57" fmla="*/ 88 h 263"/>
                <a:gd name="T58" fmla="*/ 225 w 254"/>
                <a:gd name="T59" fmla="*/ 49 h 263"/>
                <a:gd name="T60" fmla="*/ 205 w 254"/>
                <a:gd name="T61" fmla="*/ 49 h 263"/>
                <a:gd name="T62" fmla="*/ 185 w 254"/>
                <a:gd name="T63" fmla="*/ 58 h 263"/>
                <a:gd name="T64" fmla="*/ 176 w 254"/>
                <a:gd name="T65" fmla="*/ 58 h 263"/>
                <a:gd name="T66" fmla="*/ 166 w 254"/>
                <a:gd name="T67" fmla="*/ 39 h 263"/>
                <a:gd name="T68" fmla="*/ 166 w 254"/>
                <a:gd name="T69" fmla="*/ 29 h 263"/>
                <a:gd name="T70" fmla="*/ 166 w 254"/>
                <a:gd name="T71" fmla="*/ 9 h 263"/>
                <a:gd name="T72" fmla="*/ 156 w 254"/>
                <a:gd name="T73" fmla="*/ 9 h 263"/>
                <a:gd name="T74" fmla="*/ 137 w 254"/>
                <a:gd name="T75" fmla="*/ 9 h 263"/>
                <a:gd name="T76" fmla="*/ 127 w 254"/>
                <a:gd name="T77" fmla="*/ 9 h 263"/>
                <a:gd name="T78" fmla="*/ 127 w 254"/>
                <a:gd name="T79" fmla="*/ 0 h 263"/>
                <a:gd name="T80" fmla="*/ 98 w 254"/>
                <a:gd name="T81" fmla="*/ 19 h 263"/>
                <a:gd name="T82" fmla="*/ 68 w 254"/>
                <a:gd name="T83" fmla="*/ 39 h 263"/>
                <a:gd name="T84" fmla="*/ 49 w 254"/>
                <a:gd name="T85" fmla="*/ 39 h 263"/>
                <a:gd name="T86" fmla="*/ 39 w 254"/>
                <a:gd name="T87" fmla="*/ 58 h 263"/>
                <a:gd name="T88" fmla="*/ 39 w 254"/>
                <a:gd name="T89" fmla="*/ 107 h 263"/>
                <a:gd name="T90" fmla="*/ 10 w 254"/>
                <a:gd name="T91" fmla="*/ 136 h 263"/>
                <a:gd name="T92" fmla="*/ 10 w 254"/>
                <a:gd name="T93" fmla="*/ 156 h 26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4"/>
                <a:gd name="T142" fmla="*/ 0 h 263"/>
                <a:gd name="T143" fmla="*/ 254 w 254"/>
                <a:gd name="T144" fmla="*/ 263 h 26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4" h="263">
                  <a:moveTo>
                    <a:pt x="10" y="156"/>
                  </a:moveTo>
                  <a:lnTo>
                    <a:pt x="10" y="156"/>
                  </a:lnTo>
                  <a:lnTo>
                    <a:pt x="0" y="175"/>
                  </a:lnTo>
                  <a:lnTo>
                    <a:pt x="10" y="185"/>
                  </a:lnTo>
                  <a:lnTo>
                    <a:pt x="29" y="185"/>
                  </a:lnTo>
                  <a:lnTo>
                    <a:pt x="39" y="185"/>
                  </a:lnTo>
                  <a:lnTo>
                    <a:pt x="49" y="205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68" y="234"/>
                  </a:lnTo>
                  <a:lnTo>
                    <a:pt x="78" y="244"/>
                  </a:lnTo>
                  <a:lnTo>
                    <a:pt x="68" y="244"/>
                  </a:lnTo>
                  <a:lnTo>
                    <a:pt x="68" y="253"/>
                  </a:lnTo>
                  <a:lnTo>
                    <a:pt x="78" y="263"/>
                  </a:lnTo>
                  <a:lnTo>
                    <a:pt x="88" y="263"/>
                  </a:lnTo>
                  <a:lnTo>
                    <a:pt x="98" y="263"/>
                  </a:lnTo>
                  <a:lnTo>
                    <a:pt x="117" y="244"/>
                  </a:lnTo>
                  <a:lnTo>
                    <a:pt x="127" y="244"/>
                  </a:lnTo>
                  <a:lnTo>
                    <a:pt x="137" y="234"/>
                  </a:lnTo>
                  <a:lnTo>
                    <a:pt x="146" y="224"/>
                  </a:lnTo>
                  <a:lnTo>
                    <a:pt x="166" y="224"/>
                  </a:lnTo>
                  <a:lnTo>
                    <a:pt x="185" y="224"/>
                  </a:lnTo>
                  <a:lnTo>
                    <a:pt x="195" y="205"/>
                  </a:lnTo>
                  <a:lnTo>
                    <a:pt x="195" y="185"/>
                  </a:lnTo>
                  <a:lnTo>
                    <a:pt x="195" y="166"/>
                  </a:lnTo>
                  <a:lnTo>
                    <a:pt x="215" y="156"/>
                  </a:lnTo>
                  <a:lnTo>
                    <a:pt x="225" y="136"/>
                  </a:lnTo>
                  <a:lnTo>
                    <a:pt x="225" y="88"/>
                  </a:lnTo>
                  <a:lnTo>
                    <a:pt x="254" y="88"/>
                  </a:lnTo>
                  <a:lnTo>
                    <a:pt x="225" y="49"/>
                  </a:lnTo>
                  <a:lnTo>
                    <a:pt x="205" y="49"/>
                  </a:lnTo>
                  <a:lnTo>
                    <a:pt x="185" y="58"/>
                  </a:lnTo>
                  <a:lnTo>
                    <a:pt x="176" y="58"/>
                  </a:lnTo>
                  <a:lnTo>
                    <a:pt x="166" y="39"/>
                  </a:lnTo>
                  <a:lnTo>
                    <a:pt x="166" y="29"/>
                  </a:lnTo>
                  <a:lnTo>
                    <a:pt x="166" y="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9"/>
                  </a:lnTo>
                  <a:lnTo>
                    <a:pt x="127" y="0"/>
                  </a:lnTo>
                  <a:lnTo>
                    <a:pt x="98" y="19"/>
                  </a:lnTo>
                  <a:lnTo>
                    <a:pt x="68" y="39"/>
                  </a:lnTo>
                  <a:lnTo>
                    <a:pt x="49" y="39"/>
                  </a:lnTo>
                  <a:lnTo>
                    <a:pt x="39" y="58"/>
                  </a:lnTo>
                  <a:lnTo>
                    <a:pt x="39" y="107"/>
                  </a:lnTo>
                  <a:lnTo>
                    <a:pt x="10" y="136"/>
                  </a:lnTo>
                  <a:lnTo>
                    <a:pt x="10" y="15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355"/>
            <p:cNvSpPr>
              <a:spLocks/>
            </p:cNvSpPr>
            <p:nvPr/>
          </p:nvSpPr>
          <p:spPr bwMode="auto">
            <a:xfrm>
              <a:off x="1290" y="2139"/>
              <a:ext cx="329" cy="310"/>
            </a:xfrm>
            <a:custGeom>
              <a:avLst/>
              <a:gdLst>
                <a:gd name="T0" fmla="*/ 117 w 331"/>
                <a:gd name="T1" fmla="*/ 68 h 312"/>
                <a:gd name="T2" fmla="*/ 87 w 331"/>
                <a:gd name="T3" fmla="*/ 78 h 312"/>
                <a:gd name="T4" fmla="*/ 97 w 331"/>
                <a:gd name="T5" fmla="*/ 97 h 312"/>
                <a:gd name="T6" fmla="*/ 78 w 331"/>
                <a:gd name="T7" fmla="*/ 117 h 312"/>
                <a:gd name="T8" fmla="*/ 68 w 331"/>
                <a:gd name="T9" fmla="*/ 117 h 312"/>
                <a:gd name="T10" fmla="*/ 68 w 331"/>
                <a:gd name="T11" fmla="*/ 136 h 312"/>
                <a:gd name="T12" fmla="*/ 58 w 331"/>
                <a:gd name="T13" fmla="*/ 156 h 312"/>
                <a:gd name="T14" fmla="*/ 19 w 331"/>
                <a:gd name="T15" fmla="*/ 195 h 312"/>
                <a:gd name="T16" fmla="*/ 0 w 331"/>
                <a:gd name="T17" fmla="*/ 205 h 312"/>
                <a:gd name="T18" fmla="*/ 9 w 331"/>
                <a:gd name="T19" fmla="*/ 234 h 312"/>
                <a:gd name="T20" fmla="*/ 9 w 331"/>
                <a:gd name="T21" fmla="*/ 263 h 312"/>
                <a:gd name="T22" fmla="*/ 39 w 331"/>
                <a:gd name="T23" fmla="*/ 292 h 312"/>
                <a:gd name="T24" fmla="*/ 68 w 331"/>
                <a:gd name="T25" fmla="*/ 312 h 312"/>
                <a:gd name="T26" fmla="*/ 107 w 331"/>
                <a:gd name="T27" fmla="*/ 292 h 312"/>
                <a:gd name="T28" fmla="*/ 136 w 331"/>
                <a:gd name="T29" fmla="*/ 302 h 312"/>
                <a:gd name="T30" fmla="*/ 156 w 331"/>
                <a:gd name="T31" fmla="*/ 292 h 312"/>
                <a:gd name="T32" fmla="*/ 175 w 331"/>
                <a:gd name="T33" fmla="*/ 273 h 312"/>
                <a:gd name="T34" fmla="*/ 185 w 331"/>
                <a:gd name="T35" fmla="*/ 253 h 312"/>
                <a:gd name="T36" fmla="*/ 234 w 331"/>
                <a:gd name="T37" fmla="*/ 263 h 312"/>
                <a:gd name="T38" fmla="*/ 282 w 331"/>
                <a:gd name="T39" fmla="*/ 302 h 312"/>
                <a:gd name="T40" fmla="*/ 321 w 331"/>
                <a:gd name="T41" fmla="*/ 292 h 312"/>
                <a:gd name="T42" fmla="*/ 331 w 331"/>
                <a:gd name="T43" fmla="*/ 263 h 312"/>
                <a:gd name="T44" fmla="*/ 321 w 331"/>
                <a:gd name="T45" fmla="*/ 244 h 312"/>
                <a:gd name="T46" fmla="*/ 321 w 331"/>
                <a:gd name="T47" fmla="*/ 234 h 312"/>
                <a:gd name="T48" fmla="*/ 302 w 331"/>
                <a:gd name="T49" fmla="*/ 224 h 312"/>
                <a:gd name="T50" fmla="*/ 292 w 331"/>
                <a:gd name="T51" fmla="*/ 185 h 312"/>
                <a:gd name="T52" fmla="*/ 263 w 331"/>
                <a:gd name="T53" fmla="*/ 185 h 312"/>
                <a:gd name="T54" fmla="*/ 263 w 331"/>
                <a:gd name="T55" fmla="*/ 156 h 312"/>
                <a:gd name="T56" fmla="*/ 263 w 331"/>
                <a:gd name="T57" fmla="*/ 136 h 312"/>
                <a:gd name="T58" fmla="*/ 234 w 331"/>
                <a:gd name="T59" fmla="*/ 97 h 312"/>
                <a:gd name="T60" fmla="*/ 214 w 331"/>
                <a:gd name="T61" fmla="*/ 88 h 312"/>
                <a:gd name="T62" fmla="*/ 224 w 331"/>
                <a:gd name="T63" fmla="*/ 58 h 312"/>
                <a:gd name="T64" fmla="*/ 204 w 331"/>
                <a:gd name="T65" fmla="*/ 39 h 312"/>
                <a:gd name="T66" fmla="*/ 185 w 331"/>
                <a:gd name="T67" fmla="*/ 29 h 312"/>
                <a:gd name="T68" fmla="*/ 175 w 331"/>
                <a:gd name="T69" fmla="*/ 9 h 312"/>
                <a:gd name="T70" fmla="*/ 165 w 331"/>
                <a:gd name="T71" fmla="*/ 0 h 312"/>
                <a:gd name="T72" fmla="*/ 156 w 331"/>
                <a:gd name="T73" fmla="*/ 29 h 312"/>
                <a:gd name="T74" fmla="*/ 136 w 331"/>
                <a:gd name="T75" fmla="*/ 9 h 312"/>
                <a:gd name="T76" fmla="*/ 126 w 331"/>
                <a:gd name="T77" fmla="*/ 39 h 31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1"/>
                <a:gd name="T118" fmla="*/ 0 h 312"/>
                <a:gd name="T119" fmla="*/ 331 w 331"/>
                <a:gd name="T120" fmla="*/ 312 h 31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1" h="312">
                  <a:moveTo>
                    <a:pt x="117" y="49"/>
                  </a:moveTo>
                  <a:lnTo>
                    <a:pt x="117" y="68"/>
                  </a:lnTo>
                  <a:lnTo>
                    <a:pt x="97" y="68"/>
                  </a:lnTo>
                  <a:lnTo>
                    <a:pt x="87" y="78"/>
                  </a:lnTo>
                  <a:lnTo>
                    <a:pt x="97" y="88"/>
                  </a:lnTo>
                  <a:lnTo>
                    <a:pt x="97" y="97"/>
                  </a:lnTo>
                  <a:lnTo>
                    <a:pt x="87" y="107"/>
                  </a:lnTo>
                  <a:lnTo>
                    <a:pt x="78" y="117"/>
                  </a:lnTo>
                  <a:lnTo>
                    <a:pt x="68" y="117"/>
                  </a:lnTo>
                  <a:lnTo>
                    <a:pt x="68" y="127"/>
                  </a:lnTo>
                  <a:lnTo>
                    <a:pt x="68" y="13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29" y="185"/>
                  </a:lnTo>
                  <a:lnTo>
                    <a:pt x="19" y="195"/>
                  </a:lnTo>
                  <a:lnTo>
                    <a:pt x="9" y="205"/>
                  </a:lnTo>
                  <a:lnTo>
                    <a:pt x="0" y="205"/>
                  </a:lnTo>
                  <a:lnTo>
                    <a:pt x="0" y="214"/>
                  </a:lnTo>
                  <a:lnTo>
                    <a:pt x="9" y="234"/>
                  </a:lnTo>
                  <a:lnTo>
                    <a:pt x="0" y="253"/>
                  </a:lnTo>
                  <a:lnTo>
                    <a:pt x="9" y="263"/>
                  </a:lnTo>
                  <a:lnTo>
                    <a:pt x="9" y="273"/>
                  </a:lnTo>
                  <a:lnTo>
                    <a:pt x="39" y="29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97" y="292"/>
                  </a:lnTo>
                  <a:lnTo>
                    <a:pt x="107" y="292"/>
                  </a:lnTo>
                  <a:lnTo>
                    <a:pt x="117" y="312"/>
                  </a:lnTo>
                  <a:lnTo>
                    <a:pt x="136" y="302"/>
                  </a:lnTo>
                  <a:lnTo>
                    <a:pt x="146" y="292"/>
                  </a:lnTo>
                  <a:lnTo>
                    <a:pt x="156" y="292"/>
                  </a:lnTo>
                  <a:lnTo>
                    <a:pt x="165" y="283"/>
                  </a:lnTo>
                  <a:lnTo>
                    <a:pt x="175" y="273"/>
                  </a:lnTo>
                  <a:lnTo>
                    <a:pt x="185" y="263"/>
                  </a:lnTo>
                  <a:lnTo>
                    <a:pt x="185" y="253"/>
                  </a:lnTo>
                  <a:lnTo>
                    <a:pt x="204" y="253"/>
                  </a:lnTo>
                  <a:lnTo>
                    <a:pt x="234" y="263"/>
                  </a:lnTo>
                  <a:lnTo>
                    <a:pt x="253" y="263"/>
                  </a:lnTo>
                  <a:lnTo>
                    <a:pt x="282" y="302"/>
                  </a:lnTo>
                  <a:lnTo>
                    <a:pt x="302" y="312"/>
                  </a:lnTo>
                  <a:lnTo>
                    <a:pt x="321" y="292"/>
                  </a:lnTo>
                  <a:lnTo>
                    <a:pt x="321" y="273"/>
                  </a:lnTo>
                  <a:lnTo>
                    <a:pt x="331" y="263"/>
                  </a:lnTo>
                  <a:lnTo>
                    <a:pt x="321" y="253"/>
                  </a:lnTo>
                  <a:lnTo>
                    <a:pt x="321" y="244"/>
                  </a:lnTo>
                  <a:lnTo>
                    <a:pt x="331" y="234"/>
                  </a:lnTo>
                  <a:lnTo>
                    <a:pt x="321" y="234"/>
                  </a:lnTo>
                  <a:lnTo>
                    <a:pt x="312" y="234"/>
                  </a:lnTo>
                  <a:lnTo>
                    <a:pt x="302" y="224"/>
                  </a:lnTo>
                  <a:lnTo>
                    <a:pt x="302" y="205"/>
                  </a:lnTo>
                  <a:lnTo>
                    <a:pt x="292" y="185"/>
                  </a:lnTo>
                  <a:lnTo>
                    <a:pt x="282" y="185"/>
                  </a:lnTo>
                  <a:lnTo>
                    <a:pt x="263" y="185"/>
                  </a:lnTo>
                  <a:lnTo>
                    <a:pt x="253" y="175"/>
                  </a:lnTo>
                  <a:lnTo>
                    <a:pt x="263" y="156"/>
                  </a:lnTo>
                  <a:lnTo>
                    <a:pt x="263" y="136"/>
                  </a:lnTo>
                  <a:lnTo>
                    <a:pt x="243" y="97"/>
                  </a:lnTo>
                  <a:lnTo>
                    <a:pt x="234" y="97"/>
                  </a:lnTo>
                  <a:lnTo>
                    <a:pt x="224" y="97"/>
                  </a:lnTo>
                  <a:lnTo>
                    <a:pt x="214" y="88"/>
                  </a:lnTo>
                  <a:lnTo>
                    <a:pt x="214" y="6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204" y="39"/>
                  </a:lnTo>
                  <a:lnTo>
                    <a:pt x="195" y="39"/>
                  </a:lnTo>
                  <a:lnTo>
                    <a:pt x="185" y="29"/>
                  </a:lnTo>
                  <a:lnTo>
                    <a:pt x="195" y="9"/>
                  </a:lnTo>
                  <a:lnTo>
                    <a:pt x="175" y="9"/>
                  </a:lnTo>
                  <a:lnTo>
                    <a:pt x="165" y="0"/>
                  </a:lnTo>
                  <a:lnTo>
                    <a:pt x="156" y="9"/>
                  </a:lnTo>
                  <a:lnTo>
                    <a:pt x="156" y="29"/>
                  </a:lnTo>
                  <a:lnTo>
                    <a:pt x="146" y="19"/>
                  </a:lnTo>
                  <a:lnTo>
                    <a:pt x="136" y="9"/>
                  </a:lnTo>
                  <a:lnTo>
                    <a:pt x="126" y="19"/>
                  </a:lnTo>
                  <a:lnTo>
                    <a:pt x="126" y="39"/>
                  </a:lnTo>
                  <a:lnTo>
                    <a:pt x="117" y="4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354"/>
            <p:cNvSpPr>
              <a:spLocks/>
            </p:cNvSpPr>
            <p:nvPr/>
          </p:nvSpPr>
          <p:spPr bwMode="auto">
            <a:xfrm>
              <a:off x="1769" y="1072"/>
              <a:ext cx="455" cy="432"/>
            </a:xfrm>
            <a:custGeom>
              <a:avLst/>
              <a:gdLst>
                <a:gd name="T0" fmla="*/ 429 w 458"/>
                <a:gd name="T1" fmla="*/ 322 h 430"/>
                <a:gd name="T2" fmla="*/ 399 w 458"/>
                <a:gd name="T3" fmla="*/ 322 h 430"/>
                <a:gd name="T4" fmla="*/ 370 w 458"/>
                <a:gd name="T5" fmla="*/ 351 h 430"/>
                <a:gd name="T6" fmla="*/ 331 w 458"/>
                <a:gd name="T7" fmla="*/ 371 h 430"/>
                <a:gd name="T8" fmla="*/ 292 w 458"/>
                <a:gd name="T9" fmla="*/ 410 h 430"/>
                <a:gd name="T10" fmla="*/ 253 w 458"/>
                <a:gd name="T11" fmla="*/ 410 h 430"/>
                <a:gd name="T12" fmla="*/ 224 w 458"/>
                <a:gd name="T13" fmla="*/ 410 h 430"/>
                <a:gd name="T14" fmla="*/ 214 w 458"/>
                <a:gd name="T15" fmla="*/ 381 h 430"/>
                <a:gd name="T16" fmla="*/ 224 w 458"/>
                <a:gd name="T17" fmla="*/ 361 h 430"/>
                <a:gd name="T18" fmla="*/ 204 w 458"/>
                <a:gd name="T19" fmla="*/ 351 h 430"/>
                <a:gd name="T20" fmla="*/ 214 w 458"/>
                <a:gd name="T21" fmla="*/ 322 h 430"/>
                <a:gd name="T22" fmla="*/ 185 w 458"/>
                <a:gd name="T23" fmla="*/ 303 h 430"/>
                <a:gd name="T24" fmla="*/ 156 w 458"/>
                <a:gd name="T25" fmla="*/ 293 h 430"/>
                <a:gd name="T26" fmla="*/ 175 w 458"/>
                <a:gd name="T27" fmla="*/ 264 h 430"/>
                <a:gd name="T28" fmla="*/ 156 w 458"/>
                <a:gd name="T29" fmla="*/ 244 h 430"/>
                <a:gd name="T30" fmla="*/ 107 w 458"/>
                <a:gd name="T31" fmla="*/ 244 h 430"/>
                <a:gd name="T32" fmla="*/ 87 w 458"/>
                <a:gd name="T33" fmla="*/ 215 h 430"/>
                <a:gd name="T34" fmla="*/ 58 w 458"/>
                <a:gd name="T35" fmla="*/ 225 h 430"/>
                <a:gd name="T36" fmla="*/ 48 w 458"/>
                <a:gd name="T37" fmla="*/ 205 h 430"/>
                <a:gd name="T38" fmla="*/ 29 w 458"/>
                <a:gd name="T39" fmla="*/ 205 h 430"/>
                <a:gd name="T40" fmla="*/ 0 w 458"/>
                <a:gd name="T41" fmla="*/ 195 h 430"/>
                <a:gd name="T42" fmla="*/ 9 w 458"/>
                <a:gd name="T43" fmla="*/ 176 h 430"/>
                <a:gd name="T44" fmla="*/ 9 w 458"/>
                <a:gd name="T45" fmla="*/ 147 h 430"/>
                <a:gd name="T46" fmla="*/ 9 w 458"/>
                <a:gd name="T47" fmla="*/ 108 h 430"/>
                <a:gd name="T48" fmla="*/ 9 w 458"/>
                <a:gd name="T49" fmla="*/ 88 h 430"/>
                <a:gd name="T50" fmla="*/ 29 w 458"/>
                <a:gd name="T51" fmla="*/ 78 h 430"/>
                <a:gd name="T52" fmla="*/ 58 w 458"/>
                <a:gd name="T53" fmla="*/ 69 h 430"/>
                <a:gd name="T54" fmla="*/ 97 w 458"/>
                <a:gd name="T55" fmla="*/ 59 h 430"/>
                <a:gd name="T56" fmla="*/ 87 w 458"/>
                <a:gd name="T57" fmla="*/ 69 h 430"/>
                <a:gd name="T58" fmla="*/ 107 w 458"/>
                <a:gd name="T59" fmla="*/ 69 h 430"/>
                <a:gd name="T60" fmla="*/ 107 w 458"/>
                <a:gd name="T61" fmla="*/ 78 h 430"/>
                <a:gd name="T62" fmla="*/ 126 w 458"/>
                <a:gd name="T63" fmla="*/ 88 h 430"/>
                <a:gd name="T64" fmla="*/ 146 w 458"/>
                <a:gd name="T65" fmla="*/ 108 h 430"/>
                <a:gd name="T66" fmla="*/ 146 w 458"/>
                <a:gd name="T67" fmla="*/ 127 h 430"/>
                <a:gd name="T68" fmla="*/ 126 w 458"/>
                <a:gd name="T69" fmla="*/ 147 h 430"/>
                <a:gd name="T70" fmla="*/ 117 w 458"/>
                <a:gd name="T71" fmla="*/ 166 h 430"/>
                <a:gd name="T72" fmla="*/ 126 w 458"/>
                <a:gd name="T73" fmla="*/ 186 h 430"/>
                <a:gd name="T74" fmla="*/ 156 w 458"/>
                <a:gd name="T75" fmla="*/ 195 h 430"/>
                <a:gd name="T76" fmla="*/ 185 w 458"/>
                <a:gd name="T77" fmla="*/ 195 h 430"/>
                <a:gd name="T78" fmla="*/ 204 w 458"/>
                <a:gd name="T79" fmla="*/ 176 h 430"/>
                <a:gd name="T80" fmla="*/ 214 w 458"/>
                <a:gd name="T81" fmla="*/ 156 h 430"/>
                <a:gd name="T82" fmla="*/ 204 w 458"/>
                <a:gd name="T83" fmla="*/ 127 h 430"/>
                <a:gd name="T84" fmla="*/ 195 w 458"/>
                <a:gd name="T85" fmla="*/ 117 h 430"/>
                <a:gd name="T86" fmla="*/ 175 w 458"/>
                <a:gd name="T87" fmla="*/ 98 h 430"/>
                <a:gd name="T88" fmla="*/ 165 w 458"/>
                <a:gd name="T89" fmla="*/ 78 h 430"/>
                <a:gd name="T90" fmla="*/ 165 w 458"/>
                <a:gd name="T91" fmla="*/ 49 h 430"/>
                <a:gd name="T92" fmla="*/ 175 w 458"/>
                <a:gd name="T93" fmla="*/ 49 h 430"/>
                <a:gd name="T94" fmla="*/ 185 w 458"/>
                <a:gd name="T95" fmla="*/ 30 h 430"/>
                <a:gd name="T96" fmla="*/ 204 w 458"/>
                <a:gd name="T97" fmla="*/ 30 h 430"/>
                <a:gd name="T98" fmla="*/ 185 w 458"/>
                <a:gd name="T99" fmla="*/ 20 h 430"/>
                <a:gd name="T100" fmla="*/ 165 w 458"/>
                <a:gd name="T101" fmla="*/ 10 h 430"/>
                <a:gd name="T102" fmla="*/ 195 w 458"/>
                <a:gd name="T103" fmla="*/ 0 h 430"/>
                <a:gd name="T104" fmla="*/ 263 w 458"/>
                <a:gd name="T105" fmla="*/ 20 h 430"/>
                <a:gd name="T106" fmla="*/ 282 w 458"/>
                <a:gd name="T107" fmla="*/ 20 h 430"/>
                <a:gd name="T108" fmla="*/ 282 w 458"/>
                <a:gd name="T109" fmla="*/ 49 h 430"/>
                <a:gd name="T110" fmla="*/ 282 w 458"/>
                <a:gd name="T111" fmla="*/ 88 h 430"/>
                <a:gd name="T112" fmla="*/ 331 w 458"/>
                <a:gd name="T113" fmla="*/ 234 h 430"/>
                <a:gd name="T114" fmla="*/ 390 w 458"/>
                <a:gd name="T115" fmla="*/ 244 h 430"/>
                <a:gd name="T116" fmla="*/ 399 w 458"/>
                <a:gd name="T117" fmla="*/ 215 h 430"/>
                <a:gd name="T118" fmla="*/ 419 w 458"/>
                <a:gd name="T119" fmla="*/ 254 h 430"/>
                <a:gd name="T120" fmla="*/ 458 w 458"/>
                <a:gd name="T121" fmla="*/ 303 h 430"/>
                <a:gd name="T122" fmla="*/ 458 w 458"/>
                <a:gd name="T123" fmla="*/ 322 h 430"/>
                <a:gd name="T124" fmla="*/ 448 w 458"/>
                <a:gd name="T125" fmla="*/ 332 h 43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8"/>
                <a:gd name="T190" fmla="*/ 0 h 430"/>
                <a:gd name="T191" fmla="*/ 458 w 458"/>
                <a:gd name="T192" fmla="*/ 430 h 43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8" h="430">
                  <a:moveTo>
                    <a:pt x="448" y="332"/>
                  </a:moveTo>
                  <a:lnTo>
                    <a:pt x="429" y="322"/>
                  </a:lnTo>
                  <a:lnTo>
                    <a:pt x="409" y="322"/>
                  </a:lnTo>
                  <a:lnTo>
                    <a:pt x="399" y="322"/>
                  </a:lnTo>
                  <a:lnTo>
                    <a:pt x="390" y="332"/>
                  </a:lnTo>
                  <a:lnTo>
                    <a:pt x="370" y="351"/>
                  </a:lnTo>
                  <a:lnTo>
                    <a:pt x="331" y="361"/>
                  </a:lnTo>
                  <a:lnTo>
                    <a:pt x="331" y="371"/>
                  </a:lnTo>
                  <a:lnTo>
                    <a:pt x="312" y="391"/>
                  </a:lnTo>
                  <a:lnTo>
                    <a:pt x="292" y="410"/>
                  </a:lnTo>
                  <a:lnTo>
                    <a:pt x="273" y="430"/>
                  </a:lnTo>
                  <a:lnTo>
                    <a:pt x="253" y="410"/>
                  </a:lnTo>
                  <a:lnTo>
                    <a:pt x="234" y="410"/>
                  </a:lnTo>
                  <a:lnTo>
                    <a:pt x="224" y="410"/>
                  </a:lnTo>
                  <a:lnTo>
                    <a:pt x="224" y="381"/>
                  </a:lnTo>
                  <a:lnTo>
                    <a:pt x="214" y="381"/>
                  </a:lnTo>
                  <a:lnTo>
                    <a:pt x="214" y="371"/>
                  </a:lnTo>
                  <a:lnTo>
                    <a:pt x="224" y="361"/>
                  </a:lnTo>
                  <a:lnTo>
                    <a:pt x="224" y="351"/>
                  </a:lnTo>
                  <a:lnTo>
                    <a:pt x="204" y="351"/>
                  </a:lnTo>
                  <a:lnTo>
                    <a:pt x="214" y="332"/>
                  </a:lnTo>
                  <a:lnTo>
                    <a:pt x="214" y="322"/>
                  </a:lnTo>
                  <a:lnTo>
                    <a:pt x="204" y="303"/>
                  </a:lnTo>
                  <a:lnTo>
                    <a:pt x="185" y="303"/>
                  </a:lnTo>
                  <a:lnTo>
                    <a:pt x="165" y="303"/>
                  </a:lnTo>
                  <a:lnTo>
                    <a:pt x="156" y="293"/>
                  </a:lnTo>
                  <a:lnTo>
                    <a:pt x="165" y="273"/>
                  </a:lnTo>
                  <a:lnTo>
                    <a:pt x="175" y="264"/>
                  </a:lnTo>
                  <a:lnTo>
                    <a:pt x="165" y="244"/>
                  </a:lnTo>
                  <a:lnTo>
                    <a:pt x="156" y="244"/>
                  </a:lnTo>
                  <a:lnTo>
                    <a:pt x="126" y="244"/>
                  </a:lnTo>
                  <a:lnTo>
                    <a:pt x="107" y="244"/>
                  </a:lnTo>
                  <a:lnTo>
                    <a:pt x="97" y="225"/>
                  </a:lnTo>
                  <a:lnTo>
                    <a:pt x="87" y="215"/>
                  </a:lnTo>
                  <a:lnTo>
                    <a:pt x="68" y="225"/>
                  </a:lnTo>
                  <a:lnTo>
                    <a:pt x="58" y="225"/>
                  </a:lnTo>
                  <a:lnTo>
                    <a:pt x="48" y="215"/>
                  </a:lnTo>
                  <a:lnTo>
                    <a:pt x="48" y="205"/>
                  </a:lnTo>
                  <a:lnTo>
                    <a:pt x="39" y="195"/>
                  </a:lnTo>
                  <a:lnTo>
                    <a:pt x="29" y="205"/>
                  </a:lnTo>
                  <a:lnTo>
                    <a:pt x="9" y="20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9" y="176"/>
                  </a:lnTo>
                  <a:lnTo>
                    <a:pt x="0" y="16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9" y="108"/>
                  </a:lnTo>
                  <a:lnTo>
                    <a:pt x="9" y="88"/>
                  </a:lnTo>
                  <a:lnTo>
                    <a:pt x="9" y="78"/>
                  </a:lnTo>
                  <a:lnTo>
                    <a:pt x="29" y="78"/>
                  </a:lnTo>
                  <a:lnTo>
                    <a:pt x="48" y="69"/>
                  </a:lnTo>
                  <a:lnTo>
                    <a:pt x="58" y="69"/>
                  </a:lnTo>
                  <a:lnTo>
                    <a:pt x="87" y="59"/>
                  </a:lnTo>
                  <a:lnTo>
                    <a:pt x="97" y="59"/>
                  </a:lnTo>
                  <a:lnTo>
                    <a:pt x="87" y="59"/>
                  </a:lnTo>
                  <a:lnTo>
                    <a:pt x="87" y="69"/>
                  </a:lnTo>
                  <a:lnTo>
                    <a:pt x="97" y="69"/>
                  </a:lnTo>
                  <a:lnTo>
                    <a:pt x="107" y="69"/>
                  </a:lnTo>
                  <a:lnTo>
                    <a:pt x="107" y="78"/>
                  </a:lnTo>
                  <a:lnTo>
                    <a:pt x="107" y="88"/>
                  </a:lnTo>
                  <a:lnTo>
                    <a:pt x="126" y="88"/>
                  </a:lnTo>
                  <a:lnTo>
                    <a:pt x="136" y="88"/>
                  </a:lnTo>
                  <a:lnTo>
                    <a:pt x="146" y="108"/>
                  </a:lnTo>
                  <a:lnTo>
                    <a:pt x="156" y="127"/>
                  </a:lnTo>
                  <a:lnTo>
                    <a:pt x="146" y="127"/>
                  </a:lnTo>
                  <a:lnTo>
                    <a:pt x="136" y="137"/>
                  </a:lnTo>
                  <a:lnTo>
                    <a:pt x="126" y="147"/>
                  </a:lnTo>
                  <a:lnTo>
                    <a:pt x="117" y="147"/>
                  </a:lnTo>
                  <a:lnTo>
                    <a:pt x="117" y="166"/>
                  </a:lnTo>
                  <a:lnTo>
                    <a:pt x="126" y="176"/>
                  </a:lnTo>
                  <a:lnTo>
                    <a:pt x="126" y="186"/>
                  </a:lnTo>
                  <a:lnTo>
                    <a:pt x="136" y="186"/>
                  </a:lnTo>
                  <a:lnTo>
                    <a:pt x="156" y="195"/>
                  </a:lnTo>
                  <a:lnTo>
                    <a:pt x="165" y="195"/>
                  </a:lnTo>
                  <a:lnTo>
                    <a:pt x="185" y="195"/>
                  </a:lnTo>
                  <a:lnTo>
                    <a:pt x="195" y="186"/>
                  </a:lnTo>
                  <a:lnTo>
                    <a:pt x="204" y="176"/>
                  </a:lnTo>
                  <a:lnTo>
                    <a:pt x="214" y="166"/>
                  </a:lnTo>
                  <a:lnTo>
                    <a:pt x="214" y="156"/>
                  </a:lnTo>
                  <a:lnTo>
                    <a:pt x="214" y="137"/>
                  </a:lnTo>
                  <a:lnTo>
                    <a:pt x="204" y="127"/>
                  </a:lnTo>
                  <a:lnTo>
                    <a:pt x="195" y="117"/>
                  </a:lnTo>
                  <a:lnTo>
                    <a:pt x="175" y="117"/>
                  </a:lnTo>
                  <a:lnTo>
                    <a:pt x="175" y="98"/>
                  </a:lnTo>
                  <a:lnTo>
                    <a:pt x="165" y="88"/>
                  </a:lnTo>
                  <a:lnTo>
                    <a:pt x="165" y="78"/>
                  </a:lnTo>
                  <a:lnTo>
                    <a:pt x="165" y="59"/>
                  </a:lnTo>
                  <a:lnTo>
                    <a:pt x="165" y="49"/>
                  </a:lnTo>
                  <a:lnTo>
                    <a:pt x="175" y="30"/>
                  </a:lnTo>
                  <a:lnTo>
                    <a:pt x="175" y="49"/>
                  </a:lnTo>
                  <a:lnTo>
                    <a:pt x="185" y="39"/>
                  </a:lnTo>
                  <a:lnTo>
                    <a:pt x="185" y="30"/>
                  </a:lnTo>
                  <a:lnTo>
                    <a:pt x="195" y="30"/>
                  </a:lnTo>
                  <a:lnTo>
                    <a:pt x="204" y="30"/>
                  </a:lnTo>
                  <a:lnTo>
                    <a:pt x="195" y="20"/>
                  </a:lnTo>
                  <a:lnTo>
                    <a:pt x="185" y="20"/>
                  </a:lnTo>
                  <a:lnTo>
                    <a:pt x="175" y="20"/>
                  </a:lnTo>
                  <a:lnTo>
                    <a:pt x="165" y="10"/>
                  </a:lnTo>
                  <a:lnTo>
                    <a:pt x="165" y="0"/>
                  </a:lnTo>
                  <a:lnTo>
                    <a:pt x="195" y="0"/>
                  </a:lnTo>
                  <a:lnTo>
                    <a:pt x="224" y="10"/>
                  </a:lnTo>
                  <a:lnTo>
                    <a:pt x="263" y="20"/>
                  </a:lnTo>
                  <a:lnTo>
                    <a:pt x="273" y="20"/>
                  </a:lnTo>
                  <a:lnTo>
                    <a:pt x="282" y="20"/>
                  </a:lnTo>
                  <a:lnTo>
                    <a:pt x="273" y="30"/>
                  </a:lnTo>
                  <a:lnTo>
                    <a:pt x="282" y="49"/>
                  </a:lnTo>
                  <a:lnTo>
                    <a:pt x="282" y="69"/>
                  </a:lnTo>
                  <a:lnTo>
                    <a:pt x="282" y="88"/>
                  </a:lnTo>
                  <a:lnTo>
                    <a:pt x="263" y="108"/>
                  </a:lnTo>
                  <a:lnTo>
                    <a:pt x="331" y="234"/>
                  </a:lnTo>
                  <a:lnTo>
                    <a:pt x="370" y="244"/>
                  </a:lnTo>
                  <a:lnTo>
                    <a:pt x="390" y="244"/>
                  </a:lnTo>
                  <a:lnTo>
                    <a:pt x="380" y="215"/>
                  </a:lnTo>
                  <a:lnTo>
                    <a:pt x="399" y="215"/>
                  </a:lnTo>
                  <a:lnTo>
                    <a:pt x="409" y="244"/>
                  </a:lnTo>
                  <a:lnTo>
                    <a:pt x="419" y="254"/>
                  </a:lnTo>
                  <a:lnTo>
                    <a:pt x="448" y="283"/>
                  </a:lnTo>
                  <a:lnTo>
                    <a:pt x="458" y="303"/>
                  </a:lnTo>
                  <a:lnTo>
                    <a:pt x="448" y="312"/>
                  </a:lnTo>
                  <a:lnTo>
                    <a:pt x="458" y="322"/>
                  </a:lnTo>
                  <a:lnTo>
                    <a:pt x="458" y="332"/>
                  </a:lnTo>
                  <a:lnTo>
                    <a:pt x="448" y="332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353"/>
            <p:cNvSpPr>
              <a:spLocks/>
            </p:cNvSpPr>
            <p:nvPr/>
          </p:nvSpPr>
          <p:spPr bwMode="auto">
            <a:xfrm>
              <a:off x="1708" y="2226"/>
              <a:ext cx="273" cy="301"/>
            </a:xfrm>
            <a:custGeom>
              <a:avLst/>
              <a:gdLst>
                <a:gd name="T0" fmla="*/ 88 w 273"/>
                <a:gd name="T1" fmla="*/ 0 h 302"/>
                <a:gd name="T2" fmla="*/ 117 w 273"/>
                <a:gd name="T3" fmla="*/ 29 h 302"/>
                <a:gd name="T4" fmla="*/ 137 w 273"/>
                <a:gd name="T5" fmla="*/ 29 h 302"/>
                <a:gd name="T6" fmla="*/ 156 w 273"/>
                <a:gd name="T7" fmla="*/ 39 h 302"/>
                <a:gd name="T8" fmla="*/ 166 w 273"/>
                <a:gd name="T9" fmla="*/ 58 h 302"/>
                <a:gd name="T10" fmla="*/ 166 w 273"/>
                <a:gd name="T11" fmla="*/ 68 h 302"/>
                <a:gd name="T12" fmla="*/ 166 w 273"/>
                <a:gd name="T13" fmla="*/ 87 h 302"/>
                <a:gd name="T14" fmla="*/ 185 w 273"/>
                <a:gd name="T15" fmla="*/ 117 h 302"/>
                <a:gd name="T16" fmla="*/ 195 w 273"/>
                <a:gd name="T17" fmla="*/ 117 h 302"/>
                <a:gd name="T18" fmla="*/ 205 w 273"/>
                <a:gd name="T19" fmla="*/ 117 h 302"/>
                <a:gd name="T20" fmla="*/ 215 w 273"/>
                <a:gd name="T21" fmla="*/ 107 h 302"/>
                <a:gd name="T22" fmla="*/ 224 w 273"/>
                <a:gd name="T23" fmla="*/ 117 h 302"/>
                <a:gd name="T24" fmla="*/ 234 w 273"/>
                <a:gd name="T25" fmla="*/ 126 h 302"/>
                <a:gd name="T26" fmla="*/ 244 w 273"/>
                <a:gd name="T27" fmla="*/ 146 h 302"/>
                <a:gd name="T28" fmla="*/ 254 w 273"/>
                <a:gd name="T29" fmla="*/ 156 h 302"/>
                <a:gd name="T30" fmla="*/ 273 w 273"/>
                <a:gd name="T31" fmla="*/ 156 h 302"/>
                <a:gd name="T32" fmla="*/ 273 w 273"/>
                <a:gd name="T33" fmla="*/ 195 h 302"/>
                <a:gd name="T34" fmla="*/ 263 w 273"/>
                <a:gd name="T35" fmla="*/ 195 h 302"/>
                <a:gd name="T36" fmla="*/ 263 w 273"/>
                <a:gd name="T37" fmla="*/ 214 h 302"/>
                <a:gd name="T38" fmla="*/ 254 w 273"/>
                <a:gd name="T39" fmla="*/ 234 h 302"/>
                <a:gd name="T40" fmla="*/ 263 w 273"/>
                <a:gd name="T41" fmla="*/ 234 h 302"/>
                <a:gd name="T42" fmla="*/ 263 w 273"/>
                <a:gd name="T43" fmla="*/ 263 h 302"/>
                <a:gd name="T44" fmla="*/ 254 w 273"/>
                <a:gd name="T45" fmla="*/ 263 h 302"/>
                <a:gd name="T46" fmla="*/ 254 w 273"/>
                <a:gd name="T47" fmla="*/ 282 h 302"/>
                <a:gd name="T48" fmla="*/ 224 w 273"/>
                <a:gd name="T49" fmla="*/ 273 h 302"/>
                <a:gd name="T50" fmla="*/ 224 w 273"/>
                <a:gd name="T51" fmla="*/ 302 h 302"/>
                <a:gd name="T52" fmla="*/ 195 w 273"/>
                <a:gd name="T53" fmla="*/ 302 h 302"/>
                <a:gd name="T54" fmla="*/ 185 w 273"/>
                <a:gd name="T55" fmla="*/ 282 h 302"/>
                <a:gd name="T56" fmla="*/ 156 w 273"/>
                <a:gd name="T57" fmla="*/ 273 h 302"/>
                <a:gd name="T58" fmla="*/ 146 w 273"/>
                <a:gd name="T59" fmla="*/ 282 h 302"/>
                <a:gd name="T60" fmla="*/ 137 w 273"/>
                <a:gd name="T61" fmla="*/ 282 h 302"/>
                <a:gd name="T62" fmla="*/ 127 w 273"/>
                <a:gd name="T63" fmla="*/ 263 h 302"/>
                <a:gd name="T64" fmla="*/ 107 w 273"/>
                <a:gd name="T65" fmla="*/ 253 h 302"/>
                <a:gd name="T66" fmla="*/ 98 w 273"/>
                <a:gd name="T67" fmla="*/ 243 h 302"/>
                <a:gd name="T68" fmla="*/ 78 w 273"/>
                <a:gd name="T69" fmla="*/ 243 h 302"/>
                <a:gd name="T70" fmla="*/ 78 w 273"/>
                <a:gd name="T71" fmla="*/ 224 h 302"/>
                <a:gd name="T72" fmla="*/ 88 w 273"/>
                <a:gd name="T73" fmla="*/ 224 h 302"/>
                <a:gd name="T74" fmla="*/ 78 w 273"/>
                <a:gd name="T75" fmla="*/ 204 h 302"/>
                <a:gd name="T76" fmla="*/ 49 w 273"/>
                <a:gd name="T77" fmla="*/ 204 h 302"/>
                <a:gd name="T78" fmla="*/ 29 w 273"/>
                <a:gd name="T79" fmla="*/ 175 h 302"/>
                <a:gd name="T80" fmla="*/ 0 w 273"/>
                <a:gd name="T81" fmla="*/ 175 h 302"/>
                <a:gd name="T82" fmla="*/ 0 w 273"/>
                <a:gd name="T83" fmla="*/ 136 h 302"/>
                <a:gd name="T84" fmla="*/ 29 w 273"/>
                <a:gd name="T85" fmla="*/ 136 h 302"/>
                <a:gd name="T86" fmla="*/ 29 w 273"/>
                <a:gd name="T87" fmla="*/ 117 h 302"/>
                <a:gd name="T88" fmla="*/ 29 w 273"/>
                <a:gd name="T89" fmla="*/ 87 h 302"/>
                <a:gd name="T90" fmla="*/ 29 w 273"/>
                <a:gd name="T91" fmla="*/ 78 h 302"/>
                <a:gd name="T92" fmla="*/ 49 w 273"/>
                <a:gd name="T93" fmla="*/ 68 h 302"/>
                <a:gd name="T94" fmla="*/ 59 w 273"/>
                <a:gd name="T95" fmla="*/ 48 h 302"/>
                <a:gd name="T96" fmla="*/ 59 w 273"/>
                <a:gd name="T97" fmla="*/ 0 h 302"/>
                <a:gd name="T98" fmla="*/ 88 w 273"/>
                <a:gd name="T99" fmla="*/ 0 h 3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73"/>
                <a:gd name="T151" fmla="*/ 0 h 302"/>
                <a:gd name="T152" fmla="*/ 273 w 273"/>
                <a:gd name="T153" fmla="*/ 302 h 3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73" h="302">
                  <a:moveTo>
                    <a:pt x="88" y="0"/>
                  </a:moveTo>
                  <a:lnTo>
                    <a:pt x="117" y="29"/>
                  </a:lnTo>
                  <a:lnTo>
                    <a:pt x="137" y="2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66" y="87"/>
                  </a:lnTo>
                  <a:lnTo>
                    <a:pt x="185" y="117"/>
                  </a:lnTo>
                  <a:lnTo>
                    <a:pt x="195" y="117"/>
                  </a:lnTo>
                  <a:lnTo>
                    <a:pt x="205" y="117"/>
                  </a:lnTo>
                  <a:lnTo>
                    <a:pt x="215" y="107"/>
                  </a:lnTo>
                  <a:lnTo>
                    <a:pt x="224" y="117"/>
                  </a:lnTo>
                  <a:lnTo>
                    <a:pt x="234" y="126"/>
                  </a:lnTo>
                  <a:lnTo>
                    <a:pt x="244" y="146"/>
                  </a:lnTo>
                  <a:lnTo>
                    <a:pt x="254" y="156"/>
                  </a:lnTo>
                  <a:lnTo>
                    <a:pt x="273" y="156"/>
                  </a:lnTo>
                  <a:lnTo>
                    <a:pt x="273" y="195"/>
                  </a:lnTo>
                  <a:lnTo>
                    <a:pt x="263" y="195"/>
                  </a:lnTo>
                  <a:lnTo>
                    <a:pt x="263" y="214"/>
                  </a:lnTo>
                  <a:lnTo>
                    <a:pt x="254" y="234"/>
                  </a:lnTo>
                  <a:lnTo>
                    <a:pt x="263" y="234"/>
                  </a:lnTo>
                  <a:lnTo>
                    <a:pt x="263" y="263"/>
                  </a:lnTo>
                  <a:lnTo>
                    <a:pt x="254" y="263"/>
                  </a:lnTo>
                  <a:lnTo>
                    <a:pt x="254" y="282"/>
                  </a:lnTo>
                  <a:lnTo>
                    <a:pt x="224" y="273"/>
                  </a:lnTo>
                  <a:lnTo>
                    <a:pt x="224" y="302"/>
                  </a:lnTo>
                  <a:lnTo>
                    <a:pt x="195" y="302"/>
                  </a:lnTo>
                  <a:lnTo>
                    <a:pt x="185" y="282"/>
                  </a:lnTo>
                  <a:lnTo>
                    <a:pt x="156" y="273"/>
                  </a:lnTo>
                  <a:lnTo>
                    <a:pt x="146" y="282"/>
                  </a:lnTo>
                  <a:lnTo>
                    <a:pt x="137" y="282"/>
                  </a:lnTo>
                  <a:lnTo>
                    <a:pt x="127" y="263"/>
                  </a:lnTo>
                  <a:lnTo>
                    <a:pt x="107" y="253"/>
                  </a:lnTo>
                  <a:lnTo>
                    <a:pt x="98" y="243"/>
                  </a:lnTo>
                  <a:lnTo>
                    <a:pt x="78" y="243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78" y="204"/>
                  </a:lnTo>
                  <a:lnTo>
                    <a:pt x="49" y="204"/>
                  </a:lnTo>
                  <a:lnTo>
                    <a:pt x="29" y="175"/>
                  </a:lnTo>
                  <a:lnTo>
                    <a:pt x="0" y="175"/>
                  </a:lnTo>
                  <a:lnTo>
                    <a:pt x="0" y="13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87"/>
                  </a:lnTo>
                  <a:lnTo>
                    <a:pt x="29" y="78"/>
                  </a:lnTo>
                  <a:lnTo>
                    <a:pt x="49" y="68"/>
                  </a:lnTo>
                  <a:lnTo>
                    <a:pt x="59" y="48"/>
                  </a:lnTo>
                  <a:lnTo>
                    <a:pt x="59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352"/>
            <p:cNvSpPr>
              <a:spLocks/>
            </p:cNvSpPr>
            <p:nvPr/>
          </p:nvSpPr>
          <p:spPr bwMode="auto">
            <a:xfrm>
              <a:off x="1902" y="2353"/>
              <a:ext cx="322" cy="230"/>
            </a:xfrm>
            <a:custGeom>
              <a:avLst/>
              <a:gdLst>
                <a:gd name="T0" fmla="*/ 78 w 322"/>
                <a:gd name="T1" fmla="*/ 69 h 235"/>
                <a:gd name="T2" fmla="*/ 68 w 322"/>
                <a:gd name="T3" fmla="*/ 88 h 235"/>
                <a:gd name="T4" fmla="*/ 68 w 322"/>
                <a:gd name="T5" fmla="*/ 108 h 235"/>
                <a:gd name="T6" fmla="*/ 59 w 322"/>
                <a:gd name="T7" fmla="*/ 137 h 235"/>
                <a:gd name="T8" fmla="*/ 39 w 322"/>
                <a:gd name="T9" fmla="*/ 147 h 235"/>
                <a:gd name="T10" fmla="*/ 0 w 322"/>
                <a:gd name="T11" fmla="*/ 176 h 235"/>
                <a:gd name="T12" fmla="*/ 20 w 322"/>
                <a:gd name="T13" fmla="*/ 186 h 235"/>
                <a:gd name="T14" fmla="*/ 49 w 322"/>
                <a:gd name="T15" fmla="*/ 215 h 235"/>
                <a:gd name="T16" fmla="*/ 68 w 322"/>
                <a:gd name="T17" fmla="*/ 235 h 235"/>
                <a:gd name="T18" fmla="*/ 107 w 322"/>
                <a:gd name="T19" fmla="*/ 235 h 235"/>
                <a:gd name="T20" fmla="*/ 107 w 322"/>
                <a:gd name="T21" fmla="*/ 215 h 235"/>
                <a:gd name="T22" fmla="*/ 98 w 322"/>
                <a:gd name="T23" fmla="*/ 205 h 235"/>
                <a:gd name="T24" fmla="*/ 117 w 322"/>
                <a:gd name="T25" fmla="*/ 186 h 235"/>
                <a:gd name="T26" fmla="*/ 156 w 322"/>
                <a:gd name="T27" fmla="*/ 186 h 235"/>
                <a:gd name="T28" fmla="*/ 176 w 322"/>
                <a:gd name="T29" fmla="*/ 186 h 235"/>
                <a:gd name="T30" fmla="*/ 195 w 322"/>
                <a:gd name="T31" fmla="*/ 186 h 235"/>
                <a:gd name="T32" fmla="*/ 234 w 322"/>
                <a:gd name="T33" fmla="*/ 205 h 235"/>
                <a:gd name="T34" fmla="*/ 273 w 322"/>
                <a:gd name="T35" fmla="*/ 235 h 235"/>
                <a:gd name="T36" fmla="*/ 293 w 322"/>
                <a:gd name="T37" fmla="*/ 215 h 235"/>
                <a:gd name="T38" fmla="*/ 322 w 322"/>
                <a:gd name="T39" fmla="*/ 205 h 235"/>
                <a:gd name="T40" fmla="*/ 322 w 322"/>
                <a:gd name="T41" fmla="*/ 186 h 235"/>
                <a:gd name="T42" fmla="*/ 322 w 322"/>
                <a:gd name="T43" fmla="*/ 137 h 235"/>
                <a:gd name="T44" fmla="*/ 302 w 322"/>
                <a:gd name="T45" fmla="*/ 117 h 235"/>
                <a:gd name="T46" fmla="*/ 273 w 322"/>
                <a:gd name="T47" fmla="*/ 127 h 235"/>
                <a:gd name="T48" fmla="*/ 254 w 322"/>
                <a:gd name="T49" fmla="*/ 108 h 235"/>
                <a:gd name="T50" fmla="*/ 224 w 322"/>
                <a:gd name="T51" fmla="*/ 88 h 235"/>
                <a:gd name="T52" fmla="*/ 205 w 322"/>
                <a:gd name="T53" fmla="*/ 69 h 235"/>
                <a:gd name="T54" fmla="*/ 195 w 322"/>
                <a:gd name="T55" fmla="*/ 39 h 235"/>
                <a:gd name="T56" fmla="*/ 185 w 322"/>
                <a:gd name="T57" fmla="*/ 20 h 235"/>
                <a:gd name="T58" fmla="*/ 166 w 322"/>
                <a:gd name="T59" fmla="*/ 0 h 235"/>
                <a:gd name="T60" fmla="*/ 146 w 322"/>
                <a:gd name="T61" fmla="*/ 39 h 235"/>
                <a:gd name="T62" fmla="*/ 117 w 322"/>
                <a:gd name="T63" fmla="*/ 39 h 23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22"/>
                <a:gd name="T97" fmla="*/ 0 h 235"/>
                <a:gd name="T98" fmla="*/ 322 w 322"/>
                <a:gd name="T99" fmla="*/ 235 h 23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22" h="235">
                  <a:moveTo>
                    <a:pt x="88" y="30"/>
                  </a:moveTo>
                  <a:lnTo>
                    <a:pt x="78" y="69"/>
                  </a:lnTo>
                  <a:lnTo>
                    <a:pt x="68" y="69"/>
                  </a:lnTo>
                  <a:lnTo>
                    <a:pt x="68" y="88"/>
                  </a:lnTo>
                  <a:lnTo>
                    <a:pt x="59" y="108"/>
                  </a:lnTo>
                  <a:lnTo>
                    <a:pt x="68" y="108"/>
                  </a:lnTo>
                  <a:lnTo>
                    <a:pt x="68" y="137"/>
                  </a:lnTo>
                  <a:lnTo>
                    <a:pt x="59" y="137"/>
                  </a:lnTo>
                  <a:lnTo>
                    <a:pt x="59" y="156"/>
                  </a:lnTo>
                  <a:lnTo>
                    <a:pt x="39" y="147"/>
                  </a:lnTo>
                  <a:lnTo>
                    <a:pt x="29" y="17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20" y="18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68" y="215"/>
                  </a:lnTo>
                  <a:lnTo>
                    <a:pt x="68" y="235"/>
                  </a:lnTo>
                  <a:lnTo>
                    <a:pt x="98" y="235"/>
                  </a:lnTo>
                  <a:lnTo>
                    <a:pt x="107" y="235"/>
                  </a:lnTo>
                  <a:lnTo>
                    <a:pt x="107" y="215"/>
                  </a:lnTo>
                  <a:lnTo>
                    <a:pt x="98" y="215"/>
                  </a:lnTo>
                  <a:lnTo>
                    <a:pt x="98" y="205"/>
                  </a:lnTo>
                  <a:lnTo>
                    <a:pt x="117" y="205"/>
                  </a:lnTo>
                  <a:lnTo>
                    <a:pt x="117" y="186"/>
                  </a:lnTo>
                  <a:lnTo>
                    <a:pt x="127" y="186"/>
                  </a:lnTo>
                  <a:lnTo>
                    <a:pt x="156" y="186"/>
                  </a:lnTo>
                  <a:lnTo>
                    <a:pt x="176" y="186"/>
                  </a:lnTo>
                  <a:lnTo>
                    <a:pt x="176" y="176"/>
                  </a:lnTo>
                  <a:lnTo>
                    <a:pt x="195" y="186"/>
                  </a:lnTo>
                  <a:lnTo>
                    <a:pt x="215" y="196"/>
                  </a:lnTo>
                  <a:lnTo>
                    <a:pt x="234" y="205"/>
                  </a:lnTo>
                  <a:lnTo>
                    <a:pt x="254" y="235"/>
                  </a:lnTo>
                  <a:lnTo>
                    <a:pt x="273" y="235"/>
                  </a:lnTo>
                  <a:lnTo>
                    <a:pt x="273" y="215"/>
                  </a:lnTo>
                  <a:lnTo>
                    <a:pt x="293" y="215"/>
                  </a:lnTo>
                  <a:lnTo>
                    <a:pt x="312" y="215"/>
                  </a:lnTo>
                  <a:lnTo>
                    <a:pt x="322" y="205"/>
                  </a:lnTo>
                  <a:lnTo>
                    <a:pt x="322" y="196"/>
                  </a:lnTo>
                  <a:lnTo>
                    <a:pt x="322" y="186"/>
                  </a:lnTo>
                  <a:lnTo>
                    <a:pt x="322" y="156"/>
                  </a:lnTo>
                  <a:lnTo>
                    <a:pt x="322" y="137"/>
                  </a:lnTo>
                  <a:lnTo>
                    <a:pt x="322" y="127"/>
                  </a:lnTo>
                  <a:lnTo>
                    <a:pt x="302" y="117"/>
                  </a:lnTo>
                  <a:lnTo>
                    <a:pt x="283" y="117"/>
                  </a:lnTo>
                  <a:lnTo>
                    <a:pt x="273" y="127"/>
                  </a:lnTo>
                  <a:lnTo>
                    <a:pt x="263" y="117"/>
                  </a:lnTo>
                  <a:lnTo>
                    <a:pt x="254" y="108"/>
                  </a:lnTo>
                  <a:lnTo>
                    <a:pt x="244" y="88"/>
                  </a:lnTo>
                  <a:lnTo>
                    <a:pt x="224" y="88"/>
                  </a:lnTo>
                  <a:lnTo>
                    <a:pt x="224" y="69"/>
                  </a:lnTo>
                  <a:lnTo>
                    <a:pt x="205" y="69"/>
                  </a:lnTo>
                  <a:lnTo>
                    <a:pt x="185" y="69"/>
                  </a:lnTo>
                  <a:lnTo>
                    <a:pt x="195" y="39"/>
                  </a:lnTo>
                  <a:lnTo>
                    <a:pt x="195" y="30"/>
                  </a:lnTo>
                  <a:lnTo>
                    <a:pt x="185" y="20"/>
                  </a:lnTo>
                  <a:lnTo>
                    <a:pt x="185" y="10"/>
                  </a:lnTo>
                  <a:lnTo>
                    <a:pt x="166" y="0"/>
                  </a:lnTo>
                  <a:lnTo>
                    <a:pt x="166" y="20"/>
                  </a:lnTo>
                  <a:lnTo>
                    <a:pt x="146" y="39"/>
                  </a:lnTo>
                  <a:lnTo>
                    <a:pt x="127" y="49"/>
                  </a:lnTo>
                  <a:lnTo>
                    <a:pt x="117" y="39"/>
                  </a:lnTo>
                  <a:lnTo>
                    <a:pt x="88" y="30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351"/>
            <p:cNvSpPr>
              <a:spLocks/>
            </p:cNvSpPr>
            <p:nvPr/>
          </p:nvSpPr>
          <p:spPr bwMode="auto">
            <a:xfrm>
              <a:off x="1989" y="2527"/>
              <a:ext cx="353" cy="284"/>
            </a:xfrm>
            <a:custGeom>
              <a:avLst/>
              <a:gdLst>
                <a:gd name="T0" fmla="*/ 19 w 351"/>
                <a:gd name="T1" fmla="*/ 59 h 283"/>
                <a:gd name="T2" fmla="*/ 19 w 351"/>
                <a:gd name="T3" fmla="*/ 39 h 283"/>
                <a:gd name="T4" fmla="*/ 10 w 351"/>
                <a:gd name="T5" fmla="*/ 29 h 283"/>
                <a:gd name="T6" fmla="*/ 29 w 351"/>
                <a:gd name="T7" fmla="*/ 10 h 283"/>
                <a:gd name="T8" fmla="*/ 68 w 351"/>
                <a:gd name="T9" fmla="*/ 0 h 283"/>
                <a:gd name="T10" fmla="*/ 88 w 351"/>
                <a:gd name="T11" fmla="*/ 10 h 283"/>
                <a:gd name="T12" fmla="*/ 107 w 351"/>
                <a:gd name="T13" fmla="*/ 0 h 283"/>
                <a:gd name="T14" fmla="*/ 146 w 351"/>
                <a:gd name="T15" fmla="*/ 29 h 283"/>
                <a:gd name="T16" fmla="*/ 185 w 351"/>
                <a:gd name="T17" fmla="*/ 59 h 283"/>
                <a:gd name="T18" fmla="*/ 205 w 351"/>
                <a:gd name="T19" fmla="*/ 39 h 283"/>
                <a:gd name="T20" fmla="*/ 234 w 351"/>
                <a:gd name="T21" fmla="*/ 29 h 283"/>
                <a:gd name="T22" fmla="*/ 244 w 351"/>
                <a:gd name="T23" fmla="*/ 0 h 283"/>
                <a:gd name="T24" fmla="*/ 253 w 351"/>
                <a:gd name="T25" fmla="*/ 39 h 283"/>
                <a:gd name="T26" fmla="*/ 273 w 351"/>
                <a:gd name="T27" fmla="*/ 59 h 283"/>
                <a:gd name="T28" fmla="*/ 292 w 351"/>
                <a:gd name="T29" fmla="*/ 39 h 283"/>
                <a:gd name="T30" fmla="*/ 322 w 351"/>
                <a:gd name="T31" fmla="*/ 59 h 283"/>
                <a:gd name="T32" fmla="*/ 322 w 351"/>
                <a:gd name="T33" fmla="*/ 117 h 283"/>
                <a:gd name="T34" fmla="*/ 351 w 351"/>
                <a:gd name="T35" fmla="*/ 117 h 283"/>
                <a:gd name="T36" fmla="*/ 341 w 351"/>
                <a:gd name="T37" fmla="*/ 127 h 283"/>
                <a:gd name="T38" fmla="*/ 322 w 351"/>
                <a:gd name="T39" fmla="*/ 166 h 283"/>
                <a:gd name="T40" fmla="*/ 273 w 351"/>
                <a:gd name="T41" fmla="*/ 185 h 283"/>
                <a:gd name="T42" fmla="*/ 263 w 351"/>
                <a:gd name="T43" fmla="*/ 224 h 283"/>
                <a:gd name="T44" fmla="*/ 224 w 351"/>
                <a:gd name="T45" fmla="*/ 234 h 283"/>
                <a:gd name="T46" fmla="*/ 175 w 351"/>
                <a:gd name="T47" fmla="*/ 254 h 283"/>
                <a:gd name="T48" fmla="*/ 156 w 351"/>
                <a:gd name="T49" fmla="*/ 254 h 283"/>
                <a:gd name="T50" fmla="*/ 136 w 351"/>
                <a:gd name="T51" fmla="*/ 283 h 283"/>
                <a:gd name="T52" fmla="*/ 78 w 351"/>
                <a:gd name="T53" fmla="*/ 283 h 283"/>
                <a:gd name="T54" fmla="*/ 49 w 351"/>
                <a:gd name="T55" fmla="*/ 234 h 283"/>
                <a:gd name="T56" fmla="*/ 39 w 351"/>
                <a:gd name="T57" fmla="*/ 195 h 283"/>
                <a:gd name="T58" fmla="*/ 29 w 351"/>
                <a:gd name="T59" fmla="*/ 156 h 283"/>
                <a:gd name="T60" fmla="*/ 39 w 351"/>
                <a:gd name="T61" fmla="*/ 146 h 283"/>
                <a:gd name="T62" fmla="*/ 19 w 351"/>
                <a:gd name="T63" fmla="*/ 127 h 283"/>
                <a:gd name="T64" fmla="*/ 29 w 351"/>
                <a:gd name="T65" fmla="*/ 107 h 283"/>
                <a:gd name="T66" fmla="*/ 29 w 351"/>
                <a:gd name="T67" fmla="*/ 98 h 283"/>
                <a:gd name="T68" fmla="*/ 0 w 351"/>
                <a:gd name="T69" fmla="*/ 59 h 28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1"/>
                <a:gd name="T106" fmla="*/ 0 h 283"/>
                <a:gd name="T107" fmla="*/ 351 w 351"/>
                <a:gd name="T108" fmla="*/ 283 h 28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1" h="283">
                  <a:moveTo>
                    <a:pt x="0" y="59"/>
                  </a:moveTo>
                  <a:lnTo>
                    <a:pt x="19" y="59"/>
                  </a:lnTo>
                  <a:lnTo>
                    <a:pt x="19" y="39"/>
                  </a:lnTo>
                  <a:lnTo>
                    <a:pt x="10" y="39"/>
                  </a:lnTo>
                  <a:lnTo>
                    <a:pt x="10" y="29"/>
                  </a:lnTo>
                  <a:lnTo>
                    <a:pt x="29" y="20"/>
                  </a:lnTo>
                  <a:lnTo>
                    <a:pt x="29" y="10"/>
                  </a:lnTo>
                  <a:lnTo>
                    <a:pt x="39" y="0"/>
                  </a:lnTo>
                  <a:lnTo>
                    <a:pt x="68" y="0"/>
                  </a:lnTo>
                  <a:lnTo>
                    <a:pt x="68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27" y="20"/>
                  </a:lnTo>
                  <a:lnTo>
                    <a:pt x="146" y="29"/>
                  </a:lnTo>
                  <a:lnTo>
                    <a:pt x="166" y="59"/>
                  </a:lnTo>
                  <a:lnTo>
                    <a:pt x="185" y="59"/>
                  </a:lnTo>
                  <a:lnTo>
                    <a:pt x="185" y="39"/>
                  </a:lnTo>
                  <a:lnTo>
                    <a:pt x="205" y="39"/>
                  </a:lnTo>
                  <a:lnTo>
                    <a:pt x="224" y="39"/>
                  </a:lnTo>
                  <a:lnTo>
                    <a:pt x="234" y="29"/>
                  </a:lnTo>
                  <a:lnTo>
                    <a:pt x="244" y="20"/>
                  </a:lnTo>
                  <a:lnTo>
                    <a:pt x="244" y="0"/>
                  </a:lnTo>
                  <a:lnTo>
                    <a:pt x="244" y="20"/>
                  </a:lnTo>
                  <a:lnTo>
                    <a:pt x="253" y="39"/>
                  </a:lnTo>
                  <a:lnTo>
                    <a:pt x="273" y="39"/>
                  </a:lnTo>
                  <a:lnTo>
                    <a:pt x="273" y="59"/>
                  </a:lnTo>
                  <a:lnTo>
                    <a:pt x="292" y="59"/>
                  </a:lnTo>
                  <a:lnTo>
                    <a:pt x="292" y="39"/>
                  </a:lnTo>
                  <a:lnTo>
                    <a:pt x="312" y="49"/>
                  </a:lnTo>
                  <a:lnTo>
                    <a:pt x="322" y="59"/>
                  </a:lnTo>
                  <a:lnTo>
                    <a:pt x="322" y="88"/>
                  </a:lnTo>
                  <a:lnTo>
                    <a:pt x="322" y="117"/>
                  </a:lnTo>
                  <a:lnTo>
                    <a:pt x="341" y="107"/>
                  </a:lnTo>
                  <a:lnTo>
                    <a:pt x="351" y="117"/>
                  </a:lnTo>
                  <a:lnTo>
                    <a:pt x="351" y="127"/>
                  </a:lnTo>
                  <a:lnTo>
                    <a:pt x="341" y="127"/>
                  </a:lnTo>
                  <a:lnTo>
                    <a:pt x="331" y="137"/>
                  </a:lnTo>
                  <a:lnTo>
                    <a:pt x="322" y="166"/>
                  </a:lnTo>
                  <a:lnTo>
                    <a:pt x="302" y="176"/>
                  </a:lnTo>
                  <a:lnTo>
                    <a:pt x="273" y="185"/>
                  </a:lnTo>
                  <a:lnTo>
                    <a:pt x="273" y="195"/>
                  </a:lnTo>
                  <a:lnTo>
                    <a:pt x="263" y="224"/>
                  </a:lnTo>
                  <a:lnTo>
                    <a:pt x="253" y="234"/>
                  </a:lnTo>
                  <a:lnTo>
                    <a:pt x="224" y="234"/>
                  </a:lnTo>
                  <a:lnTo>
                    <a:pt x="195" y="234"/>
                  </a:lnTo>
                  <a:lnTo>
                    <a:pt x="175" y="254"/>
                  </a:lnTo>
                  <a:lnTo>
                    <a:pt x="166" y="244"/>
                  </a:lnTo>
                  <a:lnTo>
                    <a:pt x="156" y="254"/>
                  </a:lnTo>
                  <a:lnTo>
                    <a:pt x="156" y="263"/>
                  </a:lnTo>
                  <a:lnTo>
                    <a:pt x="136" y="283"/>
                  </a:lnTo>
                  <a:lnTo>
                    <a:pt x="107" y="283"/>
                  </a:lnTo>
                  <a:lnTo>
                    <a:pt x="78" y="283"/>
                  </a:lnTo>
                  <a:lnTo>
                    <a:pt x="58" y="283"/>
                  </a:lnTo>
                  <a:lnTo>
                    <a:pt x="49" y="234"/>
                  </a:lnTo>
                  <a:lnTo>
                    <a:pt x="39" y="205"/>
                  </a:lnTo>
                  <a:lnTo>
                    <a:pt x="39" y="195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46"/>
                  </a:lnTo>
                  <a:lnTo>
                    <a:pt x="39" y="146"/>
                  </a:lnTo>
                  <a:lnTo>
                    <a:pt x="39" y="137"/>
                  </a:lnTo>
                  <a:lnTo>
                    <a:pt x="19" y="127"/>
                  </a:lnTo>
                  <a:lnTo>
                    <a:pt x="29" y="107"/>
                  </a:lnTo>
                  <a:lnTo>
                    <a:pt x="19" y="98"/>
                  </a:lnTo>
                  <a:lnTo>
                    <a:pt x="29" y="98"/>
                  </a:lnTo>
                  <a:lnTo>
                    <a:pt x="10" y="78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350"/>
            <p:cNvSpPr>
              <a:spLocks/>
            </p:cNvSpPr>
            <p:nvPr/>
          </p:nvSpPr>
          <p:spPr bwMode="auto">
            <a:xfrm>
              <a:off x="1590" y="2369"/>
              <a:ext cx="459" cy="501"/>
            </a:xfrm>
            <a:custGeom>
              <a:avLst/>
              <a:gdLst>
                <a:gd name="T0" fmla="*/ 322 w 458"/>
                <a:gd name="T1" fmla="*/ 166 h 497"/>
                <a:gd name="T2" fmla="*/ 332 w 458"/>
                <a:gd name="T3" fmla="*/ 185 h 497"/>
                <a:gd name="T4" fmla="*/ 380 w 458"/>
                <a:gd name="T5" fmla="*/ 195 h 497"/>
                <a:gd name="T6" fmla="*/ 400 w 458"/>
                <a:gd name="T7" fmla="*/ 224 h 497"/>
                <a:gd name="T8" fmla="*/ 429 w 458"/>
                <a:gd name="T9" fmla="*/ 254 h 497"/>
                <a:gd name="T10" fmla="*/ 429 w 458"/>
                <a:gd name="T11" fmla="*/ 273 h 497"/>
                <a:gd name="T12" fmla="*/ 419 w 458"/>
                <a:gd name="T13" fmla="*/ 283 h 497"/>
                <a:gd name="T14" fmla="*/ 429 w 458"/>
                <a:gd name="T15" fmla="*/ 302 h 497"/>
                <a:gd name="T16" fmla="*/ 429 w 458"/>
                <a:gd name="T17" fmla="*/ 322 h 497"/>
                <a:gd name="T18" fmla="*/ 439 w 458"/>
                <a:gd name="T19" fmla="*/ 351 h 497"/>
                <a:gd name="T20" fmla="*/ 449 w 458"/>
                <a:gd name="T21" fmla="*/ 400 h 497"/>
                <a:gd name="T22" fmla="*/ 439 w 458"/>
                <a:gd name="T23" fmla="*/ 449 h 497"/>
                <a:gd name="T24" fmla="*/ 429 w 458"/>
                <a:gd name="T25" fmla="*/ 439 h 497"/>
                <a:gd name="T26" fmla="*/ 390 w 458"/>
                <a:gd name="T27" fmla="*/ 449 h 497"/>
                <a:gd name="T28" fmla="*/ 351 w 458"/>
                <a:gd name="T29" fmla="*/ 439 h 497"/>
                <a:gd name="T30" fmla="*/ 341 w 458"/>
                <a:gd name="T31" fmla="*/ 429 h 497"/>
                <a:gd name="T32" fmla="*/ 322 w 458"/>
                <a:gd name="T33" fmla="*/ 439 h 497"/>
                <a:gd name="T34" fmla="*/ 283 w 458"/>
                <a:gd name="T35" fmla="*/ 439 h 497"/>
                <a:gd name="T36" fmla="*/ 273 w 458"/>
                <a:gd name="T37" fmla="*/ 439 h 497"/>
                <a:gd name="T38" fmla="*/ 254 w 458"/>
                <a:gd name="T39" fmla="*/ 419 h 497"/>
                <a:gd name="T40" fmla="*/ 234 w 458"/>
                <a:gd name="T41" fmla="*/ 429 h 497"/>
                <a:gd name="T42" fmla="*/ 215 w 458"/>
                <a:gd name="T43" fmla="*/ 468 h 497"/>
                <a:gd name="T44" fmla="*/ 215 w 458"/>
                <a:gd name="T45" fmla="*/ 497 h 497"/>
                <a:gd name="T46" fmla="*/ 166 w 458"/>
                <a:gd name="T47" fmla="*/ 468 h 497"/>
                <a:gd name="T48" fmla="*/ 176 w 458"/>
                <a:gd name="T49" fmla="*/ 439 h 497"/>
                <a:gd name="T50" fmla="*/ 176 w 458"/>
                <a:gd name="T51" fmla="*/ 390 h 497"/>
                <a:gd name="T52" fmla="*/ 156 w 458"/>
                <a:gd name="T53" fmla="*/ 380 h 497"/>
                <a:gd name="T54" fmla="*/ 146 w 458"/>
                <a:gd name="T55" fmla="*/ 361 h 497"/>
                <a:gd name="T56" fmla="*/ 136 w 458"/>
                <a:gd name="T57" fmla="*/ 351 h 497"/>
                <a:gd name="T58" fmla="*/ 136 w 458"/>
                <a:gd name="T59" fmla="*/ 312 h 497"/>
                <a:gd name="T60" fmla="*/ 107 w 458"/>
                <a:gd name="T61" fmla="*/ 322 h 497"/>
                <a:gd name="T62" fmla="*/ 107 w 458"/>
                <a:gd name="T63" fmla="*/ 293 h 497"/>
                <a:gd name="T64" fmla="*/ 97 w 458"/>
                <a:gd name="T65" fmla="*/ 273 h 497"/>
                <a:gd name="T66" fmla="*/ 58 w 458"/>
                <a:gd name="T67" fmla="*/ 263 h 497"/>
                <a:gd name="T68" fmla="*/ 78 w 458"/>
                <a:gd name="T69" fmla="*/ 234 h 497"/>
                <a:gd name="T70" fmla="*/ 97 w 458"/>
                <a:gd name="T71" fmla="*/ 176 h 497"/>
                <a:gd name="T72" fmla="*/ 58 w 458"/>
                <a:gd name="T73" fmla="*/ 156 h 497"/>
                <a:gd name="T74" fmla="*/ 49 w 458"/>
                <a:gd name="T75" fmla="*/ 136 h 497"/>
                <a:gd name="T76" fmla="*/ 29 w 458"/>
                <a:gd name="T77" fmla="*/ 127 h 497"/>
                <a:gd name="T78" fmla="*/ 10 w 458"/>
                <a:gd name="T79" fmla="*/ 117 h 497"/>
                <a:gd name="T80" fmla="*/ 0 w 458"/>
                <a:gd name="T81" fmla="*/ 78 h 497"/>
                <a:gd name="T82" fmla="*/ 19 w 458"/>
                <a:gd name="T83" fmla="*/ 49 h 497"/>
                <a:gd name="T84" fmla="*/ 39 w 458"/>
                <a:gd name="T85" fmla="*/ 29 h 497"/>
                <a:gd name="T86" fmla="*/ 68 w 458"/>
                <a:gd name="T87" fmla="*/ 19 h 497"/>
                <a:gd name="T88" fmla="*/ 88 w 458"/>
                <a:gd name="T89" fmla="*/ 0 h 497"/>
                <a:gd name="T90" fmla="*/ 117 w 458"/>
                <a:gd name="T91" fmla="*/ 0 h 497"/>
                <a:gd name="T92" fmla="*/ 146 w 458"/>
                <a:gd name="T93" fmla="*/ 39 h 497"/>
                <a:gd name="T94" fmla="*/ 195 w 458"/>
                <a:gd name="T95" fmla="*/ 58 h 497"/>
                <a:gd name="T96" fmla="*/ 195 w 458"/>
                <a:gd name="T97" fmla="*/ 88 h 497"/>
                <a:gd name="T98" fmla="*/ 215 w 458"/>
                <a:gd name="T99" fmla="*/ 97 h 497"/>
                <a:gd name="T100" fmla="*/ 244 w 458"/>
                <a:gd name="T101" fmla="*/ 117 h 497"/>
                <a:gd name="T102" fmla="*/ 263 w 458"/>
                <a:gd name="T103" fmla="*/ 146 h 497"/>
                <a:gd name="T104" fmla="*/ 302 w 458"/>
                <a:gd name="T105" fmla="*/ 146 h 49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58"/>
                <a:gd name="T160" fmla="*/ 0 h 497"/>
                <a:gd name="T161" fmla="*/ 458 w 458"/>
                <a:gd name="T162" fmla="*/ 497 h 49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58" h="497">
                  <a:moveTo>
                    <a:pt x="312" y="156"/>
                  </a:moveTo>
                  <a:lnTo>
                    <a:pt x="322" y="166"/>
                  </a:lnTo>
                  <a:lnTo>
                    <a:pt x="332" y="176"/>
                  </a:lnTo>
                  <a:lnTo>
                    <a:pt x="332" y="185"/>
                  </a:lnTo>
                  <a:lnTo>
                    <a:pt x="361" y="205"/>
                  </a:lnTo>
                  <a:lnTo>
                    <a:pt x="380" y="195"/>
                  </a:lnTo>
                  <a:lnTo>
                    <a:pt x="380" y="215"/>
                  </a:lnTo>
                  <a:lnTo>
                    <a:pt x="400" y="224"/>
                  </a:lnTo>
                  <a:lnTo>
                    <a:pt x="410" y="234"/>
                  </a:lnTo>
                  <a:lnTo>
                    <a:pt x="429" y="254"/>
                  </a:lnTo>
                  <a:lnTo>
                    <a:pt x="419" y="263"/>
                  </a:lnTo>
                  <a:lnTo>
                    <a:pt x="429" y="273"/>
                  </a:lnTo>
                  <a:lnTo>
                    <a:pt x="419" y="283"/>
                  </a:lnTo>
                  <a:lnTo>
                    <a:pt x="429" y="293"/>
                  </a:lnTo>
                  <a:lnTo>
                    <a:pt x="429" y="302"/>
                  </a:lnTo>
                  <a:lnTo>
                    <a:pt x="429" y="322"/>
                  </a:lnTo>
                  <a:lnTo>
                    <a:pt x="439" y="322"/>
                  </a:lnTo>
                  <a:lnTo>
                    <a:pt x="439" y="351"/>
                  </a:lnTo>
                  <a:lnTo>
                    <a:pt x="439" y="361"/>
                  </a:lnTo>
                  <a:lnTo>
                    <a:pt x="449" y="400"/>
                  </a:lnTo>
                  <a:lnTo>
                    <a:pt x="458" y="439"/>
                  </a:lnTo>
                  <a:lnTo>
                    <a:pt x="439" y="449"/>
                  </a:lnTo>
                  <a:lnTo>
                    <a:pt x="439" y="439"/>
                  </a:lnTo>
                  <a:lnTo>
                    <a:pt x="429" y="439"/>
                  </a:lnTo>
                  <a:lnTo>
                    <a:pt x="419" y="449"/>
                  </a:lnTo>
                  <a:lnTo>
                    <a:pt x="390" y="449"/>
                  </a:lnTo>
                  <a:lnTo>
                    <a:pt x="380" y="439"/>
                  </a:lnTo>
                  <a:lnTo>
                    <a:pt x="351" y="439"/>
                  </a:lnTo>
                  <a:lnTo>
                    <a:pt x="341" y="439"/>
                  </a:lnTo>
                  <a:lnTo>
                    <a:pt x="341" y="429"/>
                  </a:lnTo>
                  <a:lnTo>
                    <a:pt x="332" y="429"/>
                  </a:lnTo>
                  <a:lnTo>
                    <a:pt x="322" y="439"/>
                  </a:lnTo>
                  <a:lnTo>
                    <a:pt x="312" y="439"/>
                  </a:lnTo>
                  <a:lnTo>
                    <a:pt x="283" y="439"/>
                  </a:lnTo>
                  <a:lnTo>
                    <a:pt x="273" y="439"/>
                  </a:lnTo>
                  <a:lnTo>
                    <a:pt x="254" y="439"/>
                  </a:lnTo>
                  <a:lnTo>
                    <a:pt x="254" y="419"/>
                  </a:lnTo>
                  <a:lnTo>
                    <a:pt x="234" y="429"/>
                  </a:lnTo>
                  <a:lnTo>
                    <a:pt x="224" y="439"/>
                  </a:lnTo>
                  <a:lnTo>
                    <a:pt x="215" y="468"/>
                  </a:lnTo>
                  <a:lnTo>
                    <a:pt x="205" y="468"/>
                  </a:lnTo>
                  <a:lnTo>
                    <a:pt x="215" y="497"/>
                  </a:lnTo>
                  <a:lnTo>
                    <a:pt x="166" y="478"/>
                  </a:lnTo>
                  <a:lnTo>
                    <a:pt x="166" y="468"/>
                  </a:lnTo>
                  <a:lnTo>
                    <a:pt x="176" y="458"/>
                  </a:lnTo>
                  <a:lnTo>
                    <a:pt x="176" y="439"/>
                  </a:lnTo>
                  <a:lnTo>
                    <a:pt x="176" y="410"/>
                  </a:lnTo>
                  <a:lnTo>
                    <a:pt x="176" y="390"/>
                  </a:lnTo>
                  <a:lnTo>
                    <a:pt x="166" y="380"/>
                  </a:lnTo>
                  <a:lnTo>
                    <a:pt x="156" y="380"/>
                  </a:lnTo>
                  <a:lnTo>
                    <a:pt x="146" y="371"/>
                  </a:lnTo>
                  <a:lnTo>
                    <a:pt x="146" y="361"/>
                  </a:lnTo>
                  <a:lnTo>
                    <a:pt x="146" y="351"/>
                  </a:lnTo>
                  <a:lnTo>
                    <a:pt x="136" y="351"/>
                  </a:lnTo>
                  <a:lnTo>
                    <a:pt x="146" y="332"/>
                  </a:lnTo>
                  <a:lnTo>
                    <a:pt x="136" y="312"/>
                  </a:lnTo>
                  <a:lnTo>
                    <a:pt x="117" y="322"/>
                  </a:lnTo>
                  <a:lnTo>
                    <a:pt x="107" y="322"/>
                  </a:lnTo>
                  <a:lnTo>
                    <a:pt x="97" y="302"/>
                  </a:lnTo>
                  <a:lnTo>
                    <a:pt x="107" y="293"/>
                  </a:lnTo>
                  <a:lnTo>
                    <a:pt x="107" y="283"/>
                  </a:lnTo>
                  <a:lnTo>
                    <a:pt x="97" y="273"/>
                  </a:lnTo>
                  <a:lnTo>
                    <a:pt x="78" y="283"/>
                  </a:lnTo>
                  <a:lnTo>
                    <a:pt x="58" y="263"/>
                  </a:lnTo>
                  <a:lnTo>
                    <a:pt x="58" y="254"/>
                  </a:lnTo>
                  <a:lnTo>
                    <a:pt x="78" y="234"/>
                  </a:lnTo>
                  <a:lnTo>
                    <a:pt x="107" y="195"/>
                  </a:lnTo>
                  <a:lnTo>
                    <a:pt x="97" y="176"/>
                  </a:lnTo>
                  <a:lnTo>
                    <a:pt x="68" y="146"/>
                  </a:lnTo>
                  <a:lnTo>
                    <a:pt x="58" y="156"/>
                  </a:lnTo>
                  <a:lnTo>
                    <a:pt x="39" y="146"/>
                  </a:lnTo>
                  <a:lnTo>
                    <a:pt x="49" y="136"/>
                  </a:lnTo>
                  <a:lnTo>
                    <a:pt x="58" y="136"/>
                  </a:lnTo>
                  <a:lnTo>
                    <a:pt x="29" y="127"/>
                  </a:lnTo>
                  <a:lnTo>
                    <a:pt x="19" y="127"/>
                  </a:lnTo>
                  <a:lnTo>
                    <a:pt x="10" y="117"/>
                  </a:lnTo>
                  <a:lnTo>
                    <a:pt x="10" y="97"/>
                  </a:lnTo>
                  <a:lnTo>
                    <a:pt x="0" y="78"/>
                  </a:lnTo>
                  <a:lnTo>
                    <a:pt x="19" y="58"/>
                  </a:lnTo>
                  <a:lnTo>
                    <a:pt x="19" y="49"/>
                  </a:lnTo>
                  <a:lnTo>
                    <a:pt x="29" y="29"/>
                  </a:lnTo>
                  <a:lnTo>
                    <a:pt x="39" y="29"/>
                  </a:lnTo>
                  <a:lnTo>
                    <a:pt x="58" y="29"/>
                  </a:lnTo>
                  <a:lnTo>
                    <a:pt x="68" y="19"/>
                  </a:lnTo>
                  <a:lnTo>
                    <a:pt x="78" y="19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17" y="0"/>
                  </a:lnTo>
                  <a:lnTo>
                    <a:pt x="117" y="29"/>
                  </a:lnTo>
                  <a:lnTo>
                    <a:pt x="146" y="39"/>
                  </a:lnTo>
                  <a:lnTo>
                    <a:pt x="166" y="68"/>
                  </a:lnTo>
                  <a:lnTo>
                    <a:pt x="195" y="58"/>
                  </a:lnTo>
                  <a:lnTo>
                    <a:pt x="205" y="78"/>
                  </a:lnTo>
                  <a:lnTo>
                    <a:pt x="195" y="88"/>
                  </a:lnTo>
                  <a:lnTo>
                    <a:pt x="195" y="107"/>
                  </a:lnTo>
                  <a:lnTo>
                    <a:pt x="215" y="97"/>
                  </a:lnTo>
                  <a:lnTo>
                    <a:pt x="224" y="117"/>
                  </a:lnTo>
                  <a:lnTo>
                    <a:pt x="244" y="117"/>
                  </a:lnTo>
                  <a:lnTo>
                    <a:pt x="254" y="146"/>
                  </a:lnTo>
                  <a:lnTo>
                    <a:pt x="263" y="146"/>
                  </a:lnTo>
                  <a:lnTo>
                    <a:pt x="273" y="127"/>
                  </a:lnTo>
                  <a:lnTo>
                    <a:pt x="302" y="146"/>
                  </a:lnTo>
                  <a:lnTo>
                    <a:pt x="312" y="156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349"/>
            <p:cNvSpPr>
              <a:spLocks/>
            </p:cNvSpPr>
            <p:nvPr/>
          </p:nvSpPr>
          <p:spPr bwMode="auto">
            <a:xfrm>
              <a:off x="712" y="2478"/>
              <a:ext cx="334" cy="430"/>
            </a:xfrm>
            <a:custGeom>
              <a:avLst/>
              <a:gdLst>
                <a:gd name="T0" fmla="*/ 215 w 332"/>
                <a:gd name="T1" fmla="*/ 361 h 430"/>
                <a:gd name="T2" fmla="*/ 234 w 332"/>
                <a:gd name="T3" fmla="*/ 351 h 430"/>
                <a:gd name="T4" fmla="*/ 244 w 332"/>
                <a:gd name="T5" fmla="*/ 303 h 430"/>
                <a:gd name="T6" fmla="*/ 263 w 332"/>
                <a:gd name="T7" fmla="*/ 283 h 430"/>
                <a:gd name="T8" fmla="*/ 283 w 332"/>
                <a:gd name="T9" fmla="*/ 273 h 430"/>
                <a:gd name="T10" fmla="*/ 312 w 332"/>
                <a:gd name="T11" fmla="*/ 244 h 430"/>
                <a:gd name="T12" fmla="*/ 322 w 332"/>
                <a:gd name="T13" fmla="*/ 215 h 430"/>
                <a:gd name="T14" fmla="*/ 302 w 332"/>
                <a:gd name="T15" fmla="*/ 176 h 430"/>
                <a:gd name="T16" fmla="*/ 322 w 332"/>
                <a:gd name="T17" fmla="*/ 117 h 430"/>
                <a:gd name="T18" fmla="*/ 273 w 332"/>
                <a:gd name="T19" fmla="*/ 108 h 430"/>
                <a:gd name="T20" fmla="*/ 273 w 332"/>
                <a:gd name="T21" fmla="*/ 69 h 430"/>
                <a:gd name="T22" fmla="*/ 263 w 332"/>
                <a:gd name="T23" fmla="*/ 29 h 430"/>
                <a:gd name="T24" fmla="*/ 234 w 332"/>
                <a:gd name="T25" fmla="*/ 39 h 430"/>
                <a:gd name="T26" fmla="*/ 215 w 332"/>
                <a:gd name="T27" fmla="*/ 20 h 430"/>
                <a:gd name="T28" fmla="*/ 195 w 332"/>
                <a:gd name="T29" fmla="*/ 10 h 430"/>
                <a:gd name="T30" fmla="*/ 176 w 332"/>
                <a:gd name="T31" fmla="*/ 39 h 430"/>
                <a:gd name="T32" fmla="*/ 185 w 332"/>
                <a:gd name="T33" fmla="*/ 88 h 430"/>
                <a:gd name="T34" fmla="*/ 176 w 332"/>
                <a:gd name="T35" fmla="*/ 69 h 430"/>
                <a:gd name="T36" fmla="*/ 156 w 332"/>
                <a:gd name="T37" fmla="*/ 59 h 430"/>
                <a:gd name="T38" fmla="*/ 117 w 332"/>
                <a:gd name="T39" fmla="*/ 69 h 430"/>
                <a:gd name="T40" fmla="*/ 98 w 332"/>
                <a:gd name="T41" fmla="*/ 69 h 430"/>
                <a:gd name="T42" fmla="*/ 68 w 332"/>
                <a:gd name="T43" fmla="*/ 88 h 430"/>
                <a:gd name="T44" fmla="*/ 59 w 332"/>
                <a:gd name="T45" fmla="*/ 59 h 430"/>
                <a:gd name="T46" fmla="*/ 49 w 332"/>
                <a:gd name="T47" fmla="*/ 49 h 430"/>
                <a:gd name="T48" fmla="*/ 29 w 332"/>
                <a:gd name="T49" fmla="*/ 29 h 430"/>
                <a:gd name="T50" fmla="*/ 10 w 332"/>
                <a:gd name="T51" fmla="*/ 29 h 430"/>
                <a:gd name="T52" fmla="*/ 10 w 332"/>
                <a:gd name="T53" fmla="*/ 49 h 430"/>
                <a:gd name="T54" fmla="*/ 10 w 332"/>
                <a:gd name="T55" fmla="*/ 88 h 430"/>
                <a:gd name="T56" fmla="*/ 0 w 332"/>
                <a:gd name="T57" fmla="*/ 127 h 430"/>
                <a:gd name="T58" fmla="*/ 10 w 332"/>
                <a:gd name="T59" fmla="*/ 166 h 430"/>
                <a:gd name="T60" fmla="*/ 20 w 332"/>
                <a:gd name="T61" fmla="*/ 205 h 430"/>
                <a:gd name="T62" fmla="*/ 20 w 332"/>
                <a:gd name="T63" fmla="*/ 254 h 430"/>
                <a:gd name="T64" fmla="*/ 20 w 332"/>
                <a:gd name="T65" fmla="*/ 322 h 430"/>
                <a:gd name="T66" fmla="*/ 10 w 332"/>
                <a:gd name="T67" fmla="*/ 361 h 430"/>
                <a:gd name="T68" fmla="*/ 39 w 332"/>
                <a:gd name="T69" fmla="*/ 361 h 430"/>
                <a:gd name="T70" fmla="*/ 59 w 332"/>
                <a:gd name="T71" fmla="*/ 390 h 430"/>
                <a:gd name="T72" fmla="*/ 88 w 332"/>
                <a:gd name="T73" fmla="*/ 390 h 430"/>
                <a:gd name="T74" fmla="*/ 127 w 332"/>
                <a:gd name="T75" fmla="*/ 381 h 430"/>
                <a:gd name="T76" fmla="*/ 137 w 332"/>
                <a:gd name="T77" fmla="*/ 332 h 430"/>
                <a:gd name="T78" fmla="*/ 146 w 332"/>
                <a:gd name="T79" fmla="*/ 303 h 430"/>
                <a:gd name="T80" fmla="*/ 107 w 332"/>
                <a:gd name="T81" fmla="*/ 332 h 430"/>
                <a:gd name="T82" fmla="*/ 68 w 332"/>
                <a:gd name="T83" fmla="*/ 361 h 430"/>
                <a:gd name="T84" fmla="*/ 59 w 332"/>
                <a:gd name="T85" fmla="*/ 342 h 430"/>
                <a:gd name="T86" fmla="*/ 68 w 332"/>
                <a:gd name="T87" fmla="*/ 312 h 430"/>
                <a:gd name="T88" fmla="*/ 88 w 332"/>
                <a:gd name="T89" fmla="*/ 322 h 430"/>
                <a:gd name="T90" fmla="*/ 107 w 332"/>
                <a:gd name="T91" fmla="*/ 303 h 430"/>
                <a:gd name="T92" fmla="*/ 146 w 332"/>
                <a:gd name="T93" fmla="*/ 273 h 430"/>
                <a:gd name="T94" fmla="*/ 127 w 332"/>
                <a:gd name="T95" fmla="*/ 225 h 430"/>
                <a:gd name="T96" fmla="*/ 98 w 332"/>
                <a:gd name="T97" fmla="*/ 195 h 430"/>
                <a:gd name="T98" fmla="*/ 98 w 332"/>
                <a:gd name="T99" fmla="*/ 186 h 430"/>
                <a:gd name="T100" fmla="*/ 137 w 332"/>
                <a:gd name="T101" fmla="*/ 225 h 430"/>
                <a:gd name="T102" fmla="*/ 166 w 332"/>
                <a:gd name="T103" fmla="*/ 244 h 430"/>
                <a:gd name="T104" fmla="*/ 176 w 332"/>
                <a:gd name="T105" fmla="*/ 303 h 430"/>
                <a:gd name="T106" fmla="*/ 146 w 332"/>
                <a:gd name="T107" fmla="*/ 351 h 430"/>
                <a:gd name="T108" fmla="*/ 146 w 332"/>
                <a:gd name="T109" fmla="*/ 400 h 430"/>
                <a:gd name="T110" fmla="*/ 166 w 332"/>
                <a:gd name="T111" fmla="*/ 420 h 430"/>
                <a:gd name="T112" fmla="*/ 215 w 332"/>
                <a:gd name="T113" fmla="*/ 400 h 43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32"/>
                <a:gd name="T172" fmla="*/ 0 h 430"/>
                <a:gd name="T173" fmla="*/ 332 w 332"/>
                <a:gd name="T174" fmla="*/ 430 h 43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32" h="430">
                  <a:moveTo>
                    <a:pt x="215" y="400"/>
                  </a:moveTo>
                  <a:lnTo>
                    <a:pt x="205" y="381"/>
                  </a:lnTo>
                  <a:lnTo>
                    <a:pt x="215" y="361"/>
                  </a:lnTo>
                  <a:lnTo>
                    <a:pt x="224" y="371"/>
                  </a:lnTo>
                  <a:lnTo>
                    <a:pt x="244" y="361"/>
                  </a:lnTo>
                  <a:lnTo>
                    <a:pt x="234" y="351"/>
                  </a:lnTo>
                  <a:lnTo>
                    <a:pt x="244" y="322"/>
                  </a:lnTo>
                  <a:lnTo>
                    <a:pt x="254" y="312"/>
                  </a:lnTo>
                  <a:lnTo>
                    <a:pt x="244" y="303"/>
                  </a:lnTo>
                  <a:lnTo>
                    <a:pt x="254" y="303"/>
                  </a:lnTo>
                  <a:lnTo>
                    <a:pt x="254" y="283"/>
                  </a:lnTo>
                  <a:lnTo>
                    <a:pt x="263" y="283"/>
                  </a:lnTo>
                  <a:lnTo>
                    <a:pt x="263" y="264"/>
                  </a:lnTo>
                  <a:lnTo>
                    <a:pt x="283" y="264"/>
                  </a:lnTo>
                  <a:lnTo>
                    <a:pt x="283" y="273"/>
                  </a:lnTo>
                  <a:lnTo>
                    <a:pt x="302" y="273"/>
                  </a:lnTo>
                  <a:lnTo>
                    <a:pt x="312" y="264"/>
                  </a:lnTo>
                  <a:lnTo>
                    <a:pt x="312" y="244"/>
                  </a:lnTo>
                  <a:lnTo>
                    <a:pt x="322" y="244"/>
                  </a:lnTo>
                  <a:lnTo>
                    <a:pt x="332" y="234"/>
                  </a:lnTo>
                  <a:lnTo>
                    <a:pt x="322" y="215"/>
                  </a:lnTo>
                  <a:lnTo>
                    <a:pt x="302" y="195"/>
                  </a:lnTo>
                  <a:lnTo>
                    <a:pt x="302" y="176"/>
                  </a:lnTo>
                  <a:lnTo>
                    <a:pt x="312" y="156"/>
                  </a:lnTo>
                  <a:lnTo>
                    <a:pt x="322" y="147"/>
                  </a:lnTo>
                  <a:lnTo>
                    <a:pt x="322" y="117"/>
                  </a:lnTo>
                  <a:lnTo>
                    <a:pt x="302" y="88"/>
                  </a:lnTo>
                  <a:lnTo>
                    <a:pt x="293" y="98"/>
                  </a:lnTo>
                  <a:lnTo>
                    <a:pt x="273" y="108"/>
                  </a:lnTo>
                  <a:lnTo>
                    <a:pt x="263" y="98"/>
                  </a:lnTo>
                  <a:lnTo>
                    <a:pt x="263" y="78"/>
                  </a:lnTo>
                  <a:lnTo>
                    <a:pt x="273" y="69"/>
                  </a:lnTo>
                  <a:lnTo>
                    <a:pt x="273" y="49"/>
                  </a:lnTo>
                  <a:lnTo>
                    <a:pt x="263" y="39"/>
                  </a:lnTo>
                  <a:lnTo>
                    <a:pt x="263" y="29"/>
                  </a:lnTo>
                  <a:lnTo>
                    <a:pt x="244" y="29"/>
                  </a:lnTo>
                  <a:lnTo>
                    <a:pt x="244" y="49"/>
                  </a:lnTo>
                  <a:lnTo>
                    <a:pt x="234" y="3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15" y="20"/>
                  </a:lnTo>
                  <a:lnTo>
                    <a:pt x="205" y="10"/>
                  </a:lnTo>
                  <a:lnTo>
                    <a:pt x="205" y="0"/>
                  </a:lnTo>
                  <a:lnTo>
                    <a:pt x="195" y="10"/>
                  </a:lnTo>
                  <a:lnTo>
                    <a:pt x="185" y="20"/>
                  </a:lnTo>
                  <a:lnTo>
                    <a:pt x="176" y="29"/>
                  </a:lnTo>
                  <a:lnTo>
                    <a:pt x="176" y="39"/>
                  </a:lnTo>
                  <a:lnTo>
                    <a:pt x="185" y="59"/>
                  </a:lnTo>
                  <a:lnTo>
                    <a:pt x="185" y="78"/>
                  </a:lnTo>
                  <a:lnTo>
                    <a:pt x="185" y="88"/>
                  </a:lnTo>
                  <a:lnTo>
                    <a:pt x="176" y="88"/>
                  </a:lnTo>
                  <a:lnTo>
                    <a:pt x="176" y="78"/>
                  </a:lnTo>
                  <a:lnTo>
                    <a:pt x="176" y="69"/>
                  </a:lnTo>
                  <a:lnTo>
                    <a:pt x="166" y="69"/>
                  </a:lnTo>
                  <a:lnTo>
                    <a:pt x="156" y="69"/>
                  </a:lnTo>
                  <a:lnTo>
                    <a:pt x="156" y="59"/>
                  </a:lnTo>
                  <a:lnTo>
                    <a:pt x="146" y="59"/>
                  </a:lnTo>
                  <a:lnTo>
                    <a:pt x="137" y="59"/>
                  </a:lnTo>
                  <a:lnTo>
                    <a:pt x="117" y="69"/>
                  </a:lnTo>
                  <a:lnTo>
                    <a:pt x="107" y="59"/>
                  </a:lnTo>
                  <a:lnTo>
                    <a:pt x="98" y="59"/>
                  </a:lnTo>
                  <a:lnTo>
                    <a:pt x="98" y="69"/>
                  </a:lnTo>
                  <a:lnTo>
                    <a:pt x="88" y="88"/>
                  </a:lnTo>
                  <a:lnTo>
                    <a:pt x="78" y="88"/>
                  </a:lnTo>
                  <a:lnTo>
                    <a:pt x="68" y="88"/>
                  </a:lnTo>
                  <a:lnTo>
                    <a:pt x="68" y="78"/>
                  </a:lnTo>
                  <a:lnTo>
                    <a:pt x="59" y="69"/>
                  </a:lnTo>
                  <a:lnTo>
                    <a:pt x="59" y="59"/>
                  </a:lnTo>
                  <a:lnTo>
                    <a:pt x="39" y="59"/>
                  </a:lnTo>
                  <a:lnTo>
                    <a:pt x="49" y="49"/>
                  </a:lnTo>
                  <a:lnTo>
                    <a:pt x="39" y="39"/>
                  </a:lnTo>
                  <a:lnTo>
                    <a:pt x="39" y="29"/>
                  </a:lnTo>
                  <a:lnTo>
                    <a:pt x="29" y="29"/>
                  </a:lnTo>
                  <a:lnTo>
                    <a:pt x="29" y="39"/>
                  </a:lnTo>
                  <a:lnTo>
                    <a:pt x="20" y="39"/>
                  </a:lnTo>
                  <a:lnTo>
                    <a:pt x="10" y="29"/>
                  </a:lnTo>
                  <a:lnTo>
                    <a:pt x="0" y="29"/>
                  </a:lnTo>
                  <a:lnTo>
                    <a:pt x="10" y="49"/>
                  </a:lnTo>
                  <a:lnTo>
                    <a:pt x="10" y="69"/>
                  </a:lnTo>
                  <a:lnTo>
                    <a:pt x="10" y="88"/>
                  </a:lnTo>
                  <a:lnTo>
                    <a:pt x="10" y="98"/>
                  </a:lnTo>
                  <a:lnTo>
                    <a:pt x="0" y="108"/>
                  </a:lnTo>
                  <a:lnTo>
                    <a:pt x="0" y="127"/>
                  </a:lnTo>
                  <a:lnTo>
                    <a:pt x="10" y="137"/>
                  </a:lnTo>
                  <a:lnTo>
                    <a:pt x="10" y="166"/>
                  </a:lnTo>
                  <a:lnTo>
                    <a:pt x="10" y="176"/>
                  </a:lnTo>
                  <a:lnTo>
                    <a:pt x="10" y="195"/>
                  </a:lnTo>
                  <a:lnTo>
                    <a:pt x="20" y="205"/>
                  </a:lnTo>
                  <a:lnTo>
                    <a:pt x="29" y="225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73"/>
                  </a:lnTo>
                  <a:lnTo>
                    <a:pt x="20" y="283"/>
                  </a:lnTo>
                  <a:lnTo>
                    <a:pt x="20" y="322"/>
                  </a:lnTo>
                  <a:lnTo>
                    <a:pt x="20" y="34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10" y="371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49" y="371"/>
                  </a:lnTo>
                  <a:lnTo>
                    <a:pt x="49" y="381"/>
                  </a:lnTo>
                  <a:lnTo>
                    <a:pt x="59" y="390"/>
                  </a:lnTo>
                  <a:lnTo>
                    <a:pt x="59" y="400"/>
                  </a:lnTo>
                  <a:lnTo>
                    <a:pt x="68" y="410"/>
                  </a:lnTo>
                  <a:lnTo>
                    <a:pt x="88" y="390"/>
                  </a:lnTo>
                  <a:lnTo>
                    <a:pt x="107" y="390"/>
                  </a:lnTo>
                  <a:lnTo>
                    <a:pt x="127" y="381"/>
                  </a:lnTo>
                  <a:lnTo>
                    <a:pt x="137" y="351"/>
                  </a:lnTo>
                  <a:lnTo>
                    <a:pt x="137" y="342"/>
                  </a:lnTo>
                  <a:lnTo>
                    <a:pt x="137" y="332"/>
                  </a:lnTo>
                  <a:lnTo>
                    <a:pt x="146" y="322"/>
                  </a:lnTo>
                  <a:lnTo>
                    <a:pt x="156" y="303"/>
                  </a:lnTo>
                  <a:lnTo>
                    <a:pt x="146" y="303"/>
                  </a:lnTo>
                  <a:lnTo>
                    <a:pt x="137" y="312"/>
                  </a:lnTo>
                  <a:lnTo>
                    <a:pt x="127" y="322"/>
                  </a:lnTo>
                  <a:lnTo>
                    <a:pt x="107" y="332"/>
                  </a:lnTo>
                  <a:lnTo>
                    <a:pt x="98" y="351"/>
                  </a:lnTo>
                  <a:lnTo>
                    <a:pt x="78" y="361"/>
                  </a:lnTo>
                  <a:lnTo>
                    <a:pt x="68" y="361"/>
                  </a:lnTo>
                  <a:lnTo>
                    <a:pt x="68" y="351"/>
                  </a:lnTo>
                  <a:lnTo>
                    <a:pt x="68" y="342"/>
                  </a:lnTo>
                  <a:lnTo>
                    <a:pt x="59" y="342"/>
                  </a:lnTo>
                  <a:lnTo>
                    <a:pt x="49" y="332"/>
                  </a:lnTo>
                  <a:lnTo>
                    <a:pt x="49" y="322"/>
                  </a:lnTo>
                  <a:lnTo>
                    <a:pt x="68" y="312"/>
                  </a:lnTo>
                  <a:lnTo>
                    <a:pt x="78" y="303"/>
                  </a:lnTo>
                  <a:lnTo>
                    <a:pt x="78" y="312"/>
                  </a:lnTo>
                  <a:lnTo>
                    <a:pt x="88" y="322"/>
                  </a:lnTo>
                  <a:lnTo>
                    <a:pt x="98" y="322"/>
                  </a:lnTo>
                  <a:lnTo>
                    <a:pt x="98" y="303"/>
                  </a:lnTo>
                  <a:lnTo>
                    <a:pt x="107" y="303"/>
                  </a:lnTo>
                  <a:lnTo>
                    <a:pt x="117" y="293"/>
                  </a:lnTo>
                  <a:lnTo>
                    <a:pt x="127" y="283"/>
                  </a:lnTo>
                  <a:lnTo>
                    <a:pt x="146" y="273"/>
                  </a:lnTo>
                  <a:lnTo>
                    <a:pt x="146" y="264"/>
                  </a:lnTo>
                  <a:lnTo>
                    <a:pt x="146" y="254"/>
                  </a:lnTo>
                  <a:lnTo>
                    <a:pt x="127" y="225"/>
                  </a:lnTo>
                  <a:lnTo>
                    <a:pt x="117" y="225"/>
                  </a:lnTo>
                  <a:lnTo>
                    <a:pt x="98" y="205"/>
                  </a:lnTo>
                  <a:lnTo>
                    <a:pt x="98" y="195"/>
                  </a:lnTo>
                  <a:lnTo>
                    <a:pt x="88" y="186"/>
                  </a:lnTo>
                  <a:lnTo>
                    <a:pt x="98" y="176"/>
                  </a:lnTo>
                  <a:lnTo>
                    <a:pt x="98" y="186"/>
                  </a:lnTo>
                  <a:lnTo>
                    <a:pt x="117" y="205"/>
                  </a:lnTo>
                  <a:lnTo>
                    <a:pt x="127" y="215"/>
                  </a:lnTo>
                  <a:lnTo>
                    <a:pt x="137" y="225"/>
                  </a:lnTo>
                  <a:lnTo>
                    <a:pt x="156" y="225"/>
                  </a:lnTo>
                  <a:lnTo>
                    <a:pt x="166" y="234"/>
                  </a:lnTo>
                  <a:lnTo>
                    <a:pt x="166" y="244"/>
                  </a:lnTo>
                  <a:lnTo>
                    <a:pt x="185" y="273"/>
                  </a:lnTo>
                  <a:lnTo>
                    <a:pt x="176" y="293"/>
                  </a:lnTo>
                  <a:lnTo>
                    <a:pt x="176" y="303"/>
                  </a:lnTo>
                  <a:lnTo>
                    <a:pt x="176" y="322"/>
                  </a:lnTo>
                  <a:lnTo>
                    <a:pt x="156" y="342"/>
                  </a:lnTo>
                  <a:lnTo>
                    <a:pt x="146" y="351"/>
                  </a:lnTo>
                  <a:lnTo>
                    <a:pt x="137" y="351"/>
                  </a:lnTo>
                  <a:lnTo>
                    <a:pt x="127" y="381"/>
                  </a:lnTo>
                  <a:lnTo>
                    <a:pt x="146" y="400"/>
                  </a:lnTo>
                  <a:lnTo>
                    <a:pt x="137" y="420"/>
                  </a:lnTo>
                  <a:lnTo>
                    <a:pt x="146" y="430"/>
                  </a:lnTo>
                  <a:lnTo>
                    <a:pt x="166" y="420"/>
                  </a:lnTo>
                  <a:lnTo>
                    <a:pt x="185" y="420"/>
                  </a:lnTo>
                  <a:lnTo>
                    <a:pt x="185" y="400"/>
                  </a:lnTo>
                  <a:lnTo>
                    <a:pt x="215" y="400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348"/>
            <p:cNvSpPr>
              <a:spLocks/>
            </p:cNvSpPr>
            <p:nvPr/>
          </p:nvSpPr>
          <p:spPr bwMode="auto">
            <a:xfrm>
              <a:off x="898" y="2734"/>
              <a:ext cx="312" cy="425"/>
            </a:xfrm>
            <a:custGeom>
              <a:avLst/>
              <a:gdLst>
                <a:gd name="T0" fmla="*/ 39 w 313"/>
                <a:gd name="T1" fmla="*/ 273 h 429"/>
                <a:gd name="T2" fmla="*/ 39 w 313"/>
                <a:gd name="T3" fmla="*/ 293 h 429"/>
                <a:gd name="T4" fmla="*/ 69 w 313"/>
                <a:gd name="T5" fmla="*/ 312 h 429"/>
                <a:gd name="T6" fmla="*/ 98 w 313"/>
                <a:gd name="T7" fmla="*/ 322 h 429"/>
                <a:gd name="T8" fmla="*/ 117 w 313"/>
                <a:gd name="T9" fmla="*/ 341 h 429"/>
                <a:gd name="T10" fmla="*/ 117 w 313"/>
                <a:gd name="T11" fmla="*/ 361 h 429"/>
                <a:gd name="T12" fmla="*/ 127 w 313"/>
                <a:gd name="T13" fmla="*/ 390 h 429"/>
                <a:gd name="T14" fmla="*/ 166 w 313"/>
                <a:gd name="T15" fmla="*/ 390 h 429"/>
                <a:gd name="T16" fmla="*/ 166 w 313"/>
                <a:gd name="T17" fmla="*/ 419 h 429"/>
                <a:gd name="T18" fmla="*/ 195 w 313"/>
                <a:gd name="T19" fmla="*/ 419 h 429"/>
                <a:gd name="T20" fmla="*/ 215 w 313"/>
                <a:gd name="T21" fmla="*/ 410 h 429"/>
                <a:gd name="T22" fmla="*/ 186 w 313"/>
                <a:gd name="T23" fmla="*/ 380 h 429"/>
                <a:gd name="T24" fmla="*/ 215 w 313"/>
                <a:gd name="T25" fmla="*/ 390 h 429"/>
                <a:gd name="T26" fmla="*/ 225 w 313"/>
                <a:gd name="T27" fmla="*/ 371 h 429"/>
                <a:gd name="T28" fmla="*/ 234 w 313"/>
                <a:gd name="T29" fmla="*/ 351 h 429"/>
                <a:gd name="T30" fmla="*/ 273 w 313"/>
                <a:gd name="T31" fmla="*/ 371 h 429"/>
                <a:gd name="T32" fmla="*/ 293 w 313"/>
                <a:gd name="T33" fmla="*/ 351 h 429"/>
                <a:gd name="T34" fmla="*/ 313 w 313"/>
                <a:gd name="T35" fmla="*/ 322 h 429"/>
                <a:gd name="T36" fmla="*/ 264 w 313"/>
                <a:gd name="T37" fmla="*/ 234 h 429"/>
                <a:gd name="T38" fmla="*/ 273 w 313"/>
                <a:gd name="T39" fmla="*/ 195 h 429"/>
                <a:gd name="T40" fmla="*/ 264 w 313"/>
                <a:gd name="T41" fmla="*/ 156 h 429"/>
                <a:gd name="T42" fmla="*/ 254 w 313"/>
                <a:gd name="T43" fmla="*/ 127 h 429"/>
                <a:gd name="T44" fmla="*/ 244 w 313"/>
                <a:gd name="T45" fmla="*/ 97 h 429"/>
                <a:gd name="T46" fmla="*/ 205 w 313"/>
                <a:gd name="T47" fmla="*/ 88 h 429"/>
                <a:gd name="T48" fmla="*/ 205 w 313"/>
                <a:gd name="T49" fmla="*/ 78 h 429"/>
                <a:gd name="T50" fmla="*/ 186 w 313"/>
                <a:gd name="T51" fmla="*/ 68 h 429"/>
                <a:gd name="T52" fmla="*/ 166 w 313"/>
                <a:gd name="T53" fmla="*/ 58 h 429"/>
                <a:gd name="T54" fmla="*/ 127 w 313"/>
                <a:gd name="T55" fmla="*/ 0 h 429"/>
                <a:gd name="T56" fmla="*/ 98 w 313"/>
                <a:gd name="T57" fmla="*/ 19 h 429"/>
                <a:gd name="T58" fmla="*/ 78 w 313"/>
                <a:gd name="T59" fmla="*/ 10 h 429"/>
                <a:gd name="T60" fmla="*/ 59 w 313"/>
                <a:gd name="T61" fmla="*/ 29 h 429"/>
                <a:gd name="T62" fmla="*/ 59 w 313"/>
                <a:gd name="T63" fmla="*/ 49 h 429"/>
                <a:gd name="T64" fmla="*/ 59 w 313"/>
                <a:gd name="T65" fmla="*/ 68 h 429"/>
                <a:gd name="T66" fmla="*/ 59 w 313"/>
                <a:gd name="T67" fmla="*/ 107 h 429"/>
                <a:gd name="T68" fmla="*/ 30 w 313"/>
                <a:gd name="T69" fmla="*/ 107 h 429"/>
                <a:gd name="T70" fmla="*/ 20 w 313"/>
                <a:gd name="T71" fmla="*/ 146 h 429"/>
                <a:gd name="T72" fmla="*/ 30 w 313"/>
                <a:gd name="T73" fmla="*/ 185 h 429"/>
                <a:gd name="T74" fmla="*/ 49 w 313"/>
                <a:gd name="T75" fmla="*/ 195 h 429"/>
                <a:gd name="T76" fmla="*/ 30 w 313"/>
                <a:gd name="T77" fmla="*/ 215 h 429"/>
                <a:gd name="T78" fmla="*/ 0 w 313"/>
                <a:gd name="T79" fmla="*/ 215 h 429"/>
                <a:gd name="T80" fmla="*/ 20 w 313"/>
                <a:gd name="T81" fmla="*/ 234 h 429"/>
                <a:gd name="T82" fmla="*/ 20 w 313"/>
                <a:gd name="T83" fmla="*/ 263 h 42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13"/>
                <a:gd name="T127" fmla="*/ 0 h 429"/>
                <a:gd name="T128" fmla="*/ 313 w 313"/>
                <a:gd name="T129" fmla="*/ 429 h 42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13" h="429">
                  <a:moveTo>
                    <a:pt x="20" y="263"/>
                  </a:moveTo>
                  <a:lnTo>
                    <a:pt x="39" y="273"/>
                  </a:lnTo>
                  <a:lnTo>
                    <a:pt x="49" y="283"/>
                  </a:lnTo>
                  <a:lnTo>
                    <a:pt x="39" y="293"/>
                  </a:lnTo>
                  <a:lnTo>
                    <a:pt x="59" y="302"/>
                  </a:lnTo>
                  <a:lnTo>
                    <a:pt x="69" y="312"/>
                  </a:lnTo>
                  <a:lnTo>
                    <a:pt x="69" y="322"/>
                  </a:lnTo>
                  <a:lnTo>
                    <a:pt x="98" y="322"/>
                  </a:lnTo>
                  <a:lnTo>
                    <a:pt x="98" y="332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37" y="371"/>
                  </a:lnTo>
                  <a:lnTo>
                    <a:pt x="127" y="390"/>
                  </a:lnTo>
                  <a:lnTo>
                    <a:pt x="137" y="410"/>
                  </a:lnTo>
                  <a:lnTo>
                    <a:pt x="166" y="390"/>
                  </a:lnTo>
                  <a:lnTo>
                    <a:pt x="176" y="410"/>
                  </a:lnTo>
                  <a:lnTo>
                    <a:pt x="166" y="419"/>
                  </a:lnTo>
                  <a:lnTo>
                    <a:pt x="176" y="429"/>
                  </a:lnTo>
                  <a:lnTo>
                    <a:pt x="195" y="419"/>
                  </a:lnTo>
                  <a:lnTo>
                    <a:pt x="205" y="429"/>
                  </a:lnTo>
                  <a:lnTo>
                    <a:pt x="215" y="410"/>
                  </a:lnTo>
                  <a:lnTo>
                    <a:pt x="195" y="400"/>
                  </a:lnTo>
                  <a:lnTo>
                    <a:pt x="186" y="380"/>
                  </a:lnTo>
                  <a:lnTo>
                    <a:pt x="205" y="380"/>
                  </a:lnTo>
                  <a:lnTo>
                    <a:pt x="215" y="390"/>
                  </a:lnTo>
                  <a:lnTo>
                    <a:pt x="225" y="371"/>
                  </a:lnTo>
                  <a:lnTo>
                    <a:pt x="225" y="351"/>
                  </a:lnTo>
                  <a:lnTo>
                    <a:pt x="234" y="351"/>
                  </a:lnTo>
                  <a:lnTo>
                    <a:pt x="254" y="371"/>
                  </a:lnTo>
                  <a:lnTo>
                    <a:pt x="273" y="371"/>
                  </a:lnTo>
                  <a:lnTo>
                    <a:pt x="283" y="361"/>
                  </a:lnTo>
                  <a:lnTo>
                    <a:pt x="293" y="351"/>
                  </a:lnTo>
                  <a:lnTo>
                    <a:pt x="313" y="332"/>
                  </a:lnTo>
                  <a:lnTo>
                    <a:pt x="313" y="322"/>
                  </a:lnTo>
                  <a:lnTo>
                    <a:pt x="293" y="293"/>
                  </a:lnTo>
                  <a:lnTo>
                    <a:pt x="264" y="234"/>
                  </a:lnTo>
                  <a:lnTo>
                    <a:pt x="264" y="215"/>
                  </a:lnTo>
                  <a:lnTo>
                    <a:pt x="273" y="195"/>
                  </a:lnTo>
                  <a:lnTo>
                    <a:pt x="273" y="176"/>
                  </a:lnTo>
                  <a:lnTo>
                    <a:pt x="264" y="156"/>
                  </a:lnTo>
                  <a:lnTo>
                    <a:pt x="254" y="146"/>
                  </a:lnTo>
                  <a:lnTo>
                    <a:pt x="254" y="127"/>
                  </a:lnTo>
                  <a:lnTo>
                    <a:pt x="254" y="117"/>
                  </a:lnTo>
                  <a:lnTo>
                    <a:pt x="244" y="97"/>
                  </a:lnTo>
                  <a:lnTo>
                    <a:pt x="225" y="97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205" y="78"/>
                  </a:lnTo>
                  <a:lnTo>
                    <a:pt x="195" y="68"/>
                  </a:lnTo>
                  <a:lnTo>
                    <a:pt x="186" y="68"/>
                  </a:lnTo>
                  <a:lnTo>
                    <a:pt x="176" y="78"/>
                  </a:lnTo>
                  <a:lnTo>
                    <a:pt x="166" y="58"/>
                  </a:lnTo>
                  <a:lnTo>
                    <a:pt x="156" y="39"/>
                  </a:lnTo>
                  <a:lnTo>
                    <a:pt x="127" y="0"/>
                  </a:lnTo>
                  <a:lnTo>
                    <a:pt x="117" y="10"/>
                  </a:lnTo>
                  <a:lnTo>
                    <a:pt x="98" y="19"/>
                  </a:lnTo>
                  <a:lnTo>
                    <a:pt x="98" y="0"/>
                  </a:lnTo>
                  <a:lnTo>
                    <a:pt x="78" y="10"/>
                  </a:lnTo>
                  <a:lnTo>
                    <a:pt x="69" y="29"/>
                  </a:lnTo>
                  <a:lnTo>
                    <a:pt x="59" y="29"/>
                  </a:lnTo>
                  <a:lnTo>
                    <a:pt x="59" y="49"/>
                  </a:lnTo>
                  <a:lnTo>
                    <a:pt x="69" y="58"/>
                  </a:lnTo>
                  <a:lnTo>
                    <a:pt x="59" y="68"/>
                  </a:lnTo>
                  <a:lnTo>
                    <a:pt x="49" y="97"/>
                  </a:lnTo>
                  <a:lnTo>
                    <a:pt x="59" y="107"/>
                  </a:lnTo>
                  <a:lnTo>
                    <a:pt x="39" y="12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20" y="146"/>
                  </a:lnTo>
                  <a:lnTo>
                    <a:pt x="20" y="166"/>
                  </a:lnTo>
                  <a:lnTo>
                    <a:pt x="30" y="185"/>
                  </a:lnTo>
                  <a:lnTo>
                    <a:pt x="39" y="185"/>
                  </a:lnTo>
                  <a:lnTo>
                    <a:pt x="49" y="19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10" y="215"/>
                  </a:lnTo>
                  <a:lnTo>
                    <a:pt x="0" y="215"/>
                  </a:lnTo>
                  <a:lnTo>
                    <a:pt x="10" y="224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63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347"/>
            <p:cNvSpPr>
              <a:spLocks/>
            </p:cNvSpPr>
            <p:nvPr/>
          </p:nvSpPr>
          <p:spPr bwMode="auto">
            <a:xfrm>
              <a:off x="1053" y="2750"/>
              <a:ext cx="430" cy="430"/>
            </a:xfrm>
            <a:custGeom>
              <a:avLst/>
              <a:gdLst>
                <a:gd name="T0" fmla="*/ 157 w 430"/>
                <a:gd name="T1" fmla="*/ 313 h 430"/>
                <a:gd name="T2" fmla="*/ 137 w 430"/>
                <a:gd name="T3" fmla="*/ 274 h 430"/>
                <a:gd name="T4" fmla="*/ 108 w 430"/>
                <a:gd name="T5" fmla="*/ 196 h 430"/>
                <a:gd name="T6" fmla="*/ 117 w 430"/>
                <a:gd name="T7" fmla="*/ 157 h 430"/>
                <a:gd name="T8" fmla="*/ 98 w 430"/>
                <a:gd name="T9" fmla="*/ 137 h 430"/>
                <a:gd name="T10" fmla="*/ 98 w 430"/>
                <a:gd name="T11" fmla="*/ 98 h 430"/>
                <a:gd name="T12" fmla="*/ 69 w 430"/>
                <a:gd name="T13" fmla="*/ 78 h 430"/>
                <a:gd name="T14" fmla="*/ 39 w 430"/>
                <a:gd name="T15" fmla="*/ 69 h 430"/>
                <a:gd name="T16" fmla="*/ 39 w 430"/>
                <a:gd name="T17" fmla="*/ 49 h 430"/>
                <a:gd name="T18" fmla="*/ 20 w 430"/>
                <a:gd name="T19" fmla="*/ 59 h 430"/>
                <a:gd name="T20" fmla="*/ 0 w 430"/>
                <a:gd name="T21" fmla="*/ 30 h 430"/>
                <a:gd name="T22" fmla="*/ 30 w 430"/>
                <a:gd name="T23" fmla="*/ 10 h 430"/>
                <a:gd name="T24" fmla="*/ 69 w 430"/>
                <a:gd name="T25" fmla="*/ 30 h 430"/>
                <a:gd name="T26" fmla="*/ 78 w 430"/>
                <a:gd name="T27" fmla="*/ 0 h 430"/>
                <a:gd name="T28" fmla="*/ 88 w 430"/>
                <a:gd name="T29" fmla="*/ 39 h 430"/>
                <a:gd name="T30" fmla="*/ 108 w 430"/>
                <a:gd name="T31" fmla="*/ 69 h 430"/>
                <a:gd name="T32" fmla="*/ 117 w 430"/>
                <a:gd name="T33" fmla="*/ 117 h 430"/>
                <a:gd name="T34" fmla="*/ 157 w 430"/>
                <a:gd name="T35" fmla="*/ 137 h 430"/>
                <a:gd name="T36" fmla="*/ 186 w 430"/>
                <a:gd name="T37" fmla="*/ 117 h 430"/>
                <a:gd name="T38" fmla="*/ 196 w 430"/>
                <a:gd name="T39" fmla="*/ 98 h 430"/>
                <a:gd name="T40" fmla="*/ 235 w 430"/>
                <a:gd name="T41" fmla="*/ 98 h 430"/>
                <a:gd name="T42" fmla="*/ 283 w 430"/>
                <a:gd name="T43" fmla="*/ 69 h 430"/>
                <a:gd name="T44" fmla="*/ 264 w 430"/>
                <a:gd name="T45" fmla="*/ 49 h 430"/>
                <a:gd name="T46" fmla="*/ 235 w 430"/>
                <a:gd name="T47" fmla="*/ 49 h 430"/>
                <a:gd name="T48" fmla="*/ 264 w 430"/>
                <a:gd name="T49" fmla="*/ 30 h 430"/>
                <a:gd name="T50" fmla="*/ 283 w 430"/>
                <a:gd name="T51" fmla="*/ 20 h 430"/>
                <a:gd name="T52" fmla="*/ 313 w 430"/>
                <a:gd name="T53" fmla="*/ 39 h 430"/>
                <a:gd name="T54" fmla="*/ 322 w 430"/>
                <a:gd name="T55" fmla="*/ 10 h 430"/>
                <a:gd name="T56" fmla="*/ 342 w 430"/>
                <a:gd name="T57" fmla="*/ 30 h 430"/>
                <a:gd name="T58" fmla="*/ 371 w 430"/>
                <a:gd name="T59" fmla="*/ 39 h 430"/>
                <a:gd name="T60" fmla="*/ 391 w 430"/>
                <a:gd name="T61" fmla="*/ 78 h 430"/>
                <a:gd name="T62" fmla="*/ 391 w 430"/>
                <a:gd name="T63" fmla="*/ 98 h 430"/>
                <a:gd name="T64" fmla="*/ 381 w 430"/>
                <a:gd name="T65" fmla="*/ 147 h 430"/>
                <a:gd name="T66" fmla="*/ 391 w 430"/>
                <a:gd name="T67" fmla="*/ 176 h 430"/>
                <a:gd name="T68" fmla="*/ 430 w 430"/>
                <a:gd name="T69" fmla="*/ 196 h 430"/>
                <a:gd name="T70" fmla="*/ 430 w 430"/>
                <a:gd name="T71" fmla="*/ 205 h 430"/>
                <a:gd name="T72" fmla="*/ 391 w 430"/>
                <a:gd name="T73" fmla="*/ 196 h 430"/>
                <a:gd name="T74" fmla="*/ 371 w 430"/>
                <a:gd name="T75" fmla="*/ 244 h 430"/>
                <a:gd name="T76" fmla="*/ 381 w 430"/>
                <a:gd name="T77" fmla="*/ 283 h 430"/>
                <a:gd name="T78" fmla="*/ 342 w 430"/>
                <a:gd name="T79" fmla="*/ 283 h 430"/>
                <a:gd name="T80" fmla="*/ 322 w 430"/>
                <a:gd name="T81" fmla="*/ 283 h 430"/>
                <a:gd name="T82" fmla="*/ 313 w 430"/>
                <a:gd name="T83" fmla="*/ 293 h 430"/>
                <a:gd name="T84" fmla="*/ 313 w 430"/>
                <a:gd name="T85" fmla="*/ 332 h 430"/>
                <a:gd name="T86" fmla="*/ 274 w 430"/>
                <a:gd name="T87" fmla="*/ 352 h 430"/>
                <a:gd name="T88" fmla="*/ 293 w 430"/>
                <a:gd name="T89" fmla="*/ 381 h 430"/>
                <a:gd name="T90" fmla="*/ 283 w 430"/>
                <a:gd name="T91" fmla="*/ 410 h 430"/>
                <a:gd name="T92" fmla="*/ 254 w 430"/>
                <a:gd name="T93" fmla="*/ 420 h 430"/>
                <a:gd name="T94" fmla="*/ 215 w 430"/>
                <a:gd name="T95" fmla="*/ 430 h 430"/>
                <a:gd name="T96" fmla="*/ 196 w 430"/>
                <a:gd name="T97" fmla="*/ 420 h 430"/>
                <a:gd name="T98" fmla="*/ 205 w 430"/>
                <a:gd name="T99" fmla="*/ 410 h 430"/>
                <a:gd name="T100" fmla="*/ 186 w 430"/>
                <a:gd name="T101" fmla="*/ 400 h 430"/>
                <a:gd name="T102" fmla="*/ 137 w 430"/>
                <a:gd name="T103" fmla="*/ 332 h 43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30"/>
                <a:gd name="T157" fmla="*/ 0 h 430"/>
                <a:gd name="T158" fmla="*/ 430 w 430"/>
                <a:gd name="T159" fmla="*/ 430 h 43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30" h="430">
                  <a:moveTo>
                    <a:pt x="137" y="332"/>
                  </a:moveTo>
                  <a:lnTo>
                    <a:pt x="157" y="313"/>
                  </a:lnTo>
                  <a:lnTo>
                    <a:pt x="157" y="303"/>
                  </a:lnTo>
                  <a:lnTo>
                    <a:pt x="137" y="274"/>
                  </a:lnTo>
                  <a:lnTo>
                    <a:pt x="117" y="225"/>
                  </a:lnTo>
                  <a:lnTo>
                    <a:pt x="108" y="196"/>
                  </a:lnTo>
                  <a:lnTo>
                    <a:pt x="117" y="176"/>
                  </a:lnTo>
                  <a:lnTo>
                    <a:pt x="117" y="157"/>
                  </a:lnTo>
                  <a:lnTo>
                    <a:pt x="117" y="147"/>
                  </a:lnTo>
                  <a:lnTo>
                    <a:pt x="98" y="137"/>
                  </a:lnTo>
                  <a:lnTo>
                    <a:pt x="98" y="117"/>
                  </a:lnTo>
                  <a:lnTo>
                    <a:pt x="98" y="98"/>
                  </a:lnTo>
                  <a:lnTo>
                    <a:pt x="88" y="78"/>
                  </a:lnTo>
                  <a:lnTo>
                    <a:pt x="69" y="78"/>
                  </a:lnTo>
                  <a:lnTo>
                    <a:pt x="49" y="78"/>
                  </a:lnTo>
                  <a:lnTo>
                    <a:pt x="39" y="69"/>
                  </a:lnTo>
                  <a:lnTo>
                    <a:pt x="49" y="59"/>
                  </a:lnTo>
                  <a:lnTo>
                    <a:pt x="39" y="49"/>
                  </a:lnTo>
                  <a:lnTo>
                    <a:pt x="30" y="59"/>
                  </a:lnTo>
                  <a:lnTo>
                    <a:pt x="20" y="59"/>
                  </a:lnTo>
                  <a:lnTo>
                    <a:pt x="10" y="39"/>
                  </a:lnTo>
                  <a:lnTo>
                    <a:pt x="0" y="30"/>
                  </a:lnTo>
                  <a:lnTo>
                    <a:pt x="20" y="10"/>
                  </a:lnTo>
                  <a:lnTo>
                    <a:pt x="30" y="10"/>
                  </a:lnTo>
                  <a:lnTo>
                    <a:pt x="59" y="20"/>
                  </a:lnTo>
                  <a:lnTo>
                    <a:pt x="69" y="3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88" y="30"/>
                  </a:lnTo>
                  <a:lnTo>
                    <a:pt x="88" y="39"/>
                  </a:lnTo>
                  <a:lnTo>
                    <a:pt x="108" y="49"/>
                  </a:lnTo>
                  <a:lnTo>
                    <a:pt x="108" y="69"/>
                  </a:lnTo>
                  <a:lnTo>
                    <a:pt x="117" y="98"/>
                  </a:lnTo>
                  <a:lnTo>
                    <a:pt x="117" y="117"/>
                  </a:lnTo>
                  <a:lnTo>
                    <a:pt x="157" y="117"/>
                  </a:lnTo>
                  <a:lnTo>
                    <a:pt x="157" y="137"/>
                  </a:lnTo>
                  <a:lnTo>
                    <a:pt x="166" y="137"/>
                  </a:lnTo>
                  <a:lnTo>
                    <a:pt x="186" y="117"/>
                  </a:lnTo>
                  <a:lnTo>
                    <a:pt x="176" y="108"/>
                  </a:lnTo>
                  <a:lnTo>
                    <a:pt x="196" y="98"/>
                  </a:lnTo>
                  <a:lnTo>
                    <a:pt x="215" y="108"/>
                  </a:lnTo>
                  <a:lnTo>
                    <a:pt x="235" y="98"/>
                  </a:lnTo>
                  <a:lnTo>
                    <a:pt x="264" y="88"/>
                  </a:lnTo>
                  <a:lnTo>
                    <a:pt x="283" y="69"/>
                  </a:lnTo>
                  <a:lnTo>
                    <a:pt x="274" y="59"/>
                  </a:lnTo>
                  <a:lnTo>
                    <a:pt x="264" y="49"/>
                  </a:lnTo>
                  <a:lnTo>
                    <a:pt x="244" y="59"/>
                  </a:lnTo>
                  <a:lnTo>
                    <a:pt x="235" y="49"/>
                  </a:lnTo>
                  <a:lnTo>
                    <a:pt x="244" y="39"/>
                  </a:lnTo>
                  <a:lnTo>
                    <a:pt x="264" y="30"/>
                  </a:lnTo>
                  <a:lnTo>
                    <a:pt x="264" y="10"/>
                  </a:lnTo>
                  <a:lnTo>
                    <a:pt x="283" y="20"/>
                  </a:lnTo>
                  <a:lnTo>
                    <a:pt x="303" y="30"/>
                  </a:lnTo>
                  <a:lnTo>
                    <a:pt x="313" y="39"/>
                  </a:lnTo>
                  <a:lnTo>
                    <a:pt x="322" y="30"/>
                  </a:lnTo>
                  <a:lnTo>
                    <a:pt x="322" y="10"/>
                  </a:lnTo>
                  <a:lnTo>
                    <a:pt x="342" y="10"/>
                  </a:lnTo>
                  <a:lnTo>
                    <a:pt x="342" y="30"/>
                  </a:lnTo>
                  <a:lnTo>
                    <a:pt x="352" y="39"/>
                  </a:lnTo>
                  <a:lnTo>
                    <a:pt x="371" y="39"/>
                  </a:lnTo>
                  <a:lnTo>
                    <a:pt x="371" y="59"/>
                  </a:lnTo>
                  <a:lnTo>
                    <a:pt x="391" y="78"/>
                  </a:lnTo>
                  <a:lnTo>
                    <a:pt x="381" y="88"/>
                  </a:lnTo>
                  <a:lnTo>
                    <a:pt x="391" y="98"/>
                  </a:lnTo>
                  <a:lnTo>
                    <a:pt x="381" y="117"/>
                  </a:lnTo>
                  <a:lnTo>
                    <a:pt x="381" y="147"/>
                  </a:lnTo>
                  <a:lnTo>
                    <a:pt x="381" y="166"/>
                  </a:lnTo>
                  <a:lnTo>
                    <a:pt x="391" y="176"/>
                  </a:lnTo>
                  <a:lnTo>
                    <a:pt x="410" y="176"/>
                  </a:lnTo>
                  <a:lnTo>
                    <a:pt x="430" y="196"/>
                  </a:lnTo>
                  <a:lnTo>
                    <a:pt x="430" y="205"/>
                  </a:lnTo>
                  <a:lnTo>
                    <a:pt x="410" y="196"/>
                  </a:lnTo>
                  <a:lnTo>
                    <a:pt x="391" y="196"/>
                  </a:lnTo>
                  <a:lnTo>
                    <a:pt x="381" y="225"/>
                  </a:lnTo>
                  <a:lnTo>
                    <a:pt x="371" y="244"/>
                  </a:lnTo>
                  <a:lnTo>
                    <a:pt x="371" y="264"/>
                  </a:lnTo>
                  <a:lnTo>
                    <a:pt x="381" y="283"/>
                  </a:lnTo>
                  <a:lnTo>
                    <a:pt x="361" y="283"/>
                  </a:lnTo>
                  <a:lnTo>
                    <a:pt x="342" y="283"/>
                  </a:lnTo>
                  <a:lnTo>
                    <a:pt x="332" y="293"/>
                  </a:lnTo>
                  <a:lnTo>
                    <a:pt x="322" y="283"/>
                  </a:lnTo>
                  <a:lnTo>
                    <a:pt x="303" y="283"/>
                  </a:lnTo>
                  <a:lnTo>
                    <a:pt x="313" y="293"/>
                  </a:lnTo>
                  <a:lnTo>
                    <a:pt x="303" y="313"/>
                  </a:lnTo>
                  <a:lnTo>
                    <a:pt x="313" y="332"/>
                  </a:lnTo>
                  <a:lnTo>
                    <a:pt x="293" y="342"/>
                  </a:lnTo>
                  <a:lnTo>
                    <a:pt x="274" y="352"/>
                  </a:lnTo>
                  <a:lnTo>
                    <a:pt x="274" y="371"/>
                  </a:lnTo>
                  <a:lnTo>
                    <a:pt x="293" y="381"/>
                  </a:lnTo>
                  <a:lnTo>
                    <a:pt x="293" y="400"/>
                  </a:lnTo>
                  <a:lnTo>
                    <a:pt x="283" y="410"/>
                  </a:lnTo>
                  <a:lnTo>
                    <a:pt x="274" y="420"/>
                  </a:lnTo>
                  <a:lnTo>
                    <a:pt x="254" y="420"/>
                  </a:lnTo>
                  <a:lnTo>
                    <a:pt x="235" y="430"/>
                  </a:lnTo>
                  <a:lnTo>
                    <a:pt x="215" y="430"/>
                  </a:lnTo>
                  <a:lnTo>
                    <a:pt x="215" y="420"/>
                  </a:lnTo>
                  <a:lnTo>
                    <a:pt x="196" y="420"/>
                  </a:lnTo>
                  <a:lnTo>
                    <a:pt x="205" y="410"/>
                  </a:lnTo>
                  <a:lnTo>
                    <a:pt x="196" y="391"/>
                  </a:lnTo>
                  <a:lnTo>
                    <a:pt x="186" y="400"/>
                  </a:lnTo>
                  <a:lnTo>
                    <a:pt x="166" y="352"/>
                  </a:lnTo>
                  <a:lnTo>
                    <a:pt x="137" y="332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346"/>
            <p:cNvSpPr>
              <a:spLocks/>
            </p:cNvSpPr>
            <p:nvPr/>
          </p:nvSpPr>
          <p:spPr bwMode="auto">
            <a:xfrm>
              <a:off x="1329" y="2783"/>
              <a:ext cx="242" cy="407"/>
            </a:xfrm>
            <a:custGeom>
              <a:avLst/>
              <a:gdLst>
                <a:gd name="T0" fmla="*/ 39 w 243"/>
                <a:gd name="T1" fmla="*/ 351 h 409"/>
                <a:gd name="T2" fmla="*/ 48 w 243"/>
                <a:gd name="T3" fmla="*/ 361 h 409"/>
                <a:gd name="T4" fmla="*/ 68 w 243"/>
                <a:gd name="T5" fmla="*/ 370 h 409"/>
                <a:gd name="T6" fmla="*/ 87 w 243"/>
                <a:gd name="T7" fmla="*/ 390 h 409"/>
                <a:gd name="T8" fmla="*/ 117 w 243"/>
                <a:gd name="T9" fmla="*/ 390 h 409"/>
                <a:gd name="T10" fmla="*/ 136 w 243"/>
                <a:gd name="T11" fmla="*/ 400 h 409"/>
                <a:gd name="T12" fmla="*/ 146 w 243"/>
                <a:gd name="T13" fmla="*/ 400 h 409"/>
                <a:gd name="T14" fmla="*/ 185 w 243"/>
                <a:gd name="T15" fmla="*/ 400 h 409"/>
                <a:gd name="T16" fmla="*/ 195 w 243"/>
                <a:gd name="T17" fmla="*/ 380 h 409"/>
                <a:gd name="T18" fmla="*/ 165 w 243"/>
                <a:gd name="T19" fmla="*/ 351 h 409"/>
                <a:gd name="T20" fmla="*/ 175 w 243"/>
                <a:gd name="T21" fmla="*/ 331 h 409"/>
                <a:gd name="T22" fmla="*/ 185 w 243"/>
                <a:gd name="T23" fmla="*/ 341 h 409"/>
                <a:gd name="T24" fmla="*/ 204 w 243"/>
                <a:gd name="T25" fmla="*/ 351 h 409"/>
                <a:gd name="T26" fmla="*/ 224 w 243"/>
                <a:gd name="T27" fmla="*/ 322 h 409"/>
                <a:gd name="T28" fmla="*/ 234 w 243"/>
                <a:gd name="T29" fmla="*/ 253 h 409"/>
                <a:gd name="T30" fmla="*/ 234 w 243"/>
                <a:gd name="T31" fmla="*/ 224 h 409"/>
                <a:gd name="T32" fmla="*/ 214 w 243"/>
                <a:gd name="T33" fmla="*/ 185 h 409"/>
                <a:gd name="T34" fmla="*/ 195 w 243"/>
                <a:gd name="T35" fmla="*/ 185 h 409"/>
                <a:gd name="T36" fmla="*/ 195 w 243"/>
                <a:gd name="T37" fmla="*/ 166 h 409"/>
                <a:gd name="T38" fmla="*/ 214 w 243"/>
                <a:gd name="T39" fmla="*/ 146 h 409"/>
                <a:gd name="T40" fmla="*/ 224 w 243"/>
                <a:gd name="T41" fmla="*/ 117 h 409"/>
                <a:gd name="T42" fmla="*/ 214 w 243"/>
                <a:gd name="T43" fmla="*/ 78 h 409"/>
                <a:gd name="T44" fmla="*/ 234 w 243"/>
                <a:gd name="T45" fmla="*/ 68 h 409"/>
                <a:gd name="T46" fmla="*/ 234 w 243"/>
                <a:gd name="T47" fmla="*/ 48 h 409"/>
                <a:gd name="T48" fmla="*/ 185 w 243"/>
                <a:gd name="T49" fmla="*/ 29 h 409"/>
                <a:gd name="T50" fmla="*/ 146 w 243"/>
                <a:gd name="T51" fmla="*/ 9 h 409"/>
                <a:gd name="T52" fmla="*/ 136 w 243"/>
                <a:gd name="T53" fmla="*/ 9 h 409"/>
                <a:gd name="T54" fmla="*/ 117 w 243"/>
                <a:gd name="T55" fmla="*/ 0 h 409"/>
                <a:gd name="T56" fmla="*/ 107 w 243"/>
                <a:gd name="T57" fmla="*/ 58 h 409"/>
                <a:gd name="T58" fmla="*/ 107 w 243"/>
                <a:gd name="T59" fmla="*/ 87 h 409"/>
                <a:gd name="T60" fmla="*/ 107 w 243"/>
                <a:gd name="T61" fmla="*/ 136 h 409"/>
                <a:gd name="T62" fmla="*/ 136 w 243"/>
                <a:gd name="T63" fmla="*/ 146 h 409"/>
                <a:gd name="T64" fmla="*/ 156 w 243"/>
                <a:gd name="T65" fmla="*/ 175 h 409"/>
                <a:gd name="T66" fmla="*/ 136 w 243"/>
                <a:gd name="T67" fmla="*/ 166 h 409"/>
                <a:gd name="T68" fmla="*/ 107 w 243"/>
                <a:gd name="T69" fmla="*/ 185 h 409"/>
                <a:gd name="T70" fmla="*/ 97 w 243"/>
                <a:gd name="T71" fmla="*/ 234 h 409"/>
                <a:gd name="T72" fmla="*/ 87 w 243"/>
                <a:gd name="T73" fmla="*/ 253 h 409"/>
                <a:gd name="T74" fmla="*/ 58 w 243"/>
                <a:gd name="T75" fmla="*/ 253 h 409"/>
                <a:gd name="T76" fmla="*/ 29 w 243"/>
                <a:gd name="T77" fmla="*/ 244 h 409"/>
                <a:gd name="T78" fmla="*/ 29 w 243"/>
                <a:gd name="T79" fmla="*/ 283 h 409"/>
                <a:gd name="T80" fmla="*/ 19 w 243"/>
                <a:gd name="T81" fmla="*/ 312 h 409"/>
                <a:gd name="T82" fmla="*/ 0 w 243"/>
                <a:gd name="T83" fmla="*/ 341 h 409"/>
                <a:gd name="T84" fmla="*/ 19 w 243"/>
                <a:gd name="T85" fmla="*/ 370 h 40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43"/>
                <a:gd name="T130" fmla="*/ 0 h 409"/>
                <a:gd name="T131" fmla="*/ 243 w 243"/>
                <a:gd name="T132" fmla="*/ 409 h 40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43" h="409">
                  <a:moveTo>
                    <a:pt x="29" y="351"/>
                  </a:moveTo>
                  <a:lnTo>
                    <a:pt x="39" y="351"/>
                  </a:lnTo>
                  <a:lnTo>
                    <a:pt x="39" y="370"/>
                  </a:lnTo>
                  <a:lnTo>
                    <a:pt x="48" y="361"/>
                  </a:lnTo>
                  <a:lnTo>
                    <a:pt x="48" y="380"/>
                  </a:lnTo>
                  <a:lnTo>
                    <a:pt x="68" y="370"/>
                  </a:lnTo>
                  <a:lnTo>
                    <a:pt x="68" y="380"/>
                  </a:lnTo>
                  <a:lnTo>
                    <a:pt x="87" y="390"/>
                  </a:lnTo>
                  <a:lnTo>
                    <a:pt x="97" y="390"/>
                  </a:lnTo>
                  <a:lnTo>
                    <a:pt x="117" y="390"/>
                  </a:lnTo>
                  <a:lnTo>
                    <a:pt x="126" y="409"/>
                  </a:lnTo>
                  <a:lnTo>
                    <a:pt x="136" y="400"/>
                  </a:lnTo>
                  <a:lnTo>
                    <a:pt x="136" y="390"/>
                  </a:lnTo>
                  <a:lnTo>
                    <a:pt x="146" y="400"/>
                  </a:lnTo>
                  <a:lnTo>
                    <a:pt x="165" y="400"/>
                  </a:lnTo>
                  <a:lnTo>
                    <a:pt x="185" y="400"/>
                  </a:lnTo>
                  <a:lnTo>
                    <a:pt x="195" y="390"/>
                  </a:lnTo>
                  <a:lnTo>
                    <a:pt x="195" y="380"/>
                  </a:lnTo>
                  <a:lnTo>
                    <a:pt x="185" y="370"/>
                  </a:lnTo>
                  <a:lnTo>
                    <a:pt x="165" y="351"/>
                  </a:lnTo>
                  <a:lnTo>
                    <a:pt x="165" y="341"/>
                  </a:lnTo>
                  <a:lnTo>
                    <a:pt x="175" y="331"/>
                  </a:lnTo>
                  <a:lnTo>
                    <a:pt x="185" y="331"/>
                  </a:lnTo>
                  <a:lnTo>
                    <a:pt x="185" y="341"/>
                  </a:lnTo>
                  <a:lnTo>
                    <a:pt x="195" y="351"/>
                  </a:lnTo>
                  <a:lnTo>
                    <a:pt x="204" y="351"/>
                  </a:lnTo>
                  <a:lnTo>
                    <a:pt x="214" y="341"/>
                  </a:lnTo>
                  <a:lnTo>
                    <a:pt x="224" y="322"/>
                  </a:lnTo>
                  <a:lnTo>
                    <a:pt x="224" y="292"/>
                  </a:lnTo>
                  <a:lnTo>
                    <a:pt x="234" y="253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14" y="205"/>
                  </a:lnTo>
                  <a:lnTo>
                    <a:pt x="214" y="185"/>
                  </a:lnTo>
                  <a:lnTo>
                    <a:pt x="204" y="185"/>
                  </a:lnTo>
                  <a:lnTo>
                    <a:pt x="195" y="185"/>
                  </a:lnTo>
                  <a:lnTo>
                    <a:pt x="195" y="175"/>
                  </a:lnTo>
                  <a:lnTo>
                    <a:pt x="195" y="166"/>
                  </a:lnTo>
                  <a:lnTo>
                    <a:pt x="204" y="156"/>
                  </a:lnTo>
                  <a:lnTo>
                    <a:pt x="214" y="146"/>
                  </a:lnTo>
                  <a:lnTo>
                    <a:pt x="22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14" y="78"/>
                  </a:lnTo>
                  <a:lnTo>
                    <a:pt x="224" y="78"/>
                  </a:lnTo>
                  <a:lnTo>
                    <a:pt x="234" y="68"/>
                  </a:lnTo>
                  <a:lnTo>
                    <a:pt x="243" y="58"/>
                  </a:lnTo>
                  <a:lnTo>
                    <a:pt x="234" y="48"/>
                  </a:lnTo>
                  <a:lnTo>
                    <a:pt x="204" y="29"/>
                  </a:lnTo>
                  <a:lnTo>
                    <a:pt x="185" y="29"/>
                  </a:lnTo>
                  <a:lnTo>
                    <a:pt x="165" y="9"/>
                  </a:lnTo>
                  <a:lnTo>
                    <a:pt x="146" y="9"/>
                  </a:lnTo>
                  <a:lnTo>
                    <a:pt x="136" y="9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39"/>
                  </a:lnTo>
                  <a:lnTo>
                    <a:pt x="107" y="58"/>
                  </a:lnTo>
                  <a:lnTo>
                    <a:pt x="117" y="68"/>
                  </a:lnTo>
                  <a:lnTo>
                    <a:pt x="107" y="87"/>
                  </a:lnTo>
                  <a:lnTo>
                    <a:pt x="107" y="107"/>
                  </a:lnTo>
                  <a:lnTo>
                    <a:pt x="107" y="136"/>
                  </a:lnTo>
                  <a:lnTo>
                    <a:pt x="117" y="146"/>
                  </a:lnTo>
                  <a:lnTo>
                    <a:pt x="136" y="146"/>
                  </a:lnTo>
                  <a:lnTo>
                    <a:pt x="156" y="166"/>
                  </a:lnTo>
                  <a:lnTo>
                    <a:pt x="156" y="175"/>
                  </a:lnTo>
                  <a:lnTo>
                    <a:pt x="146" y="175"/>
                  </a:lnTo>
                  <a:lnTo>
                    <a:pt x="136" y="166"/>
                  </a:lnTo>
                  <a:lnTo>
                    <a:pt x="117" y="166"/>
                  </a:lnTo>
                  <a:lnTo>
                    <a:pt x="107" y="185"/>
                  </a:lnTo>
                  <a:lnTo>
                    <a:pt x="97" y="214"/>
                  </a:lnTo>
                  <a:lnTo>
                    <a:pt x="97" y="234"/>
                  </a:lnTo>
                  <a:lnTo>
                    <a:pt x="97" y="244"/>
                  </a:lnTo>
                  <a:lnTo>
                    <a:pt x="87" y="253"/>
                  </a:lnTo>
                  <a:lnTo>
                    <a:pt x="68" y="244"/>
                  </a:lnTo>
                  <a:lnTo>
                    <a:pt x="58" y="253"/>
                  </a:lnTo>
                  <a:lnTo>
                    <a:pt x="48" y="244"/>
                  </a:lnTo>
                  <a:lnTo>
                    <a:pt x="29" y="244"/>
                  </a:lnTo>
                  <a:lnTo>
                    <a:pt x="39" y="263"/>
                  </a:lnTo>
                  <a:lnTo>
                    <a:pt x="29" y="283"/>
                  </a:lnTo>
                  <a:lnTo>
                    <a:pt x="39" y="292"/>
                  </a:lnTo>
                  <a:lnTo>
                    <a:pt x="19" y="312"/>
                  </a:lnTo>
                  <a:lnTo>
                    <a:pt x="0" y="322"/>
                  </a:lnTo>
                  <a:lnTo>
                    <a:pt x="0" y="341"/>
                  </a:lnTo>
                  <a:lnTo>
                    <a:pt x="19" y="351"/>
                  </a:lnTo>
                  <a:lnTo>
                    <a:pt x="19" y="370"/>
                  </a:lnTo>
                  <a:lnTo>
                    <a:pt x="29" y="35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3" name="Group 343"/>
            <p:cNvGrpSpPr>
              <a:grpSpLocks/>
            </p:cNvGrpSpPr>
            <p:nvPr/>
          </p:nvGrpSpPr>
          <p:grpSpPr bwMode="auto">
            <a:xfrm>
              <a:off x="1327" y="2781"/>
              <a:ext cx="243" cy="409"/>
              <a:chOff x="1327" y="2781"/>
              <a:chExt cx="243" cy="409"/>
            </a:xfrm>
          </p:grpSpPr>
          <p:sp>
            <p:nvSpPr>
              <p:cNvPr id="384" name="Freeform 345"/>
              <p:cNvSpPr>
                <a:spLocks/>
              </p:cNvSpPr>
              <p:nvPr/>
            </p:nvSpPr>
            <p:spPr bwMode="auto">
              <a:xfrm>
                <a:off x="1329" y="2781"/>
                <a:ext cx="242" cy="409"/>
              </a:xfrm>
              <a:custGeom>
                <a:avLst/>
                <a:gdLst>
                  <a:gd name="T0" fmla="*/ 39 w 243"/>
                  <a:gd name="T1" fmla="*/ 351 h 409"/>
                  <a:gd name="T2" fmla="*/ 48 w 243"/>
                  <a:gd name="T3" fmla="*/ 361 h 409"/>
                  <a:gd name="T4" fmla="*/ 68 w 243"/>
                  <a:gd name="T5" fmla="*/ 380 h 409"/>
                  <a:gd name="T6" fmla="*/ 87 w 243"/>
                  <a:gd name="T7" fmla="*/ 390 h 409"/>
                  <a:gd name="T8" fmla="*/ 117 w 243"/>
                  <a:gd name="T9" fmla="*/ 390 h 409"/>
                  <a:gd name="T10" fmla="*/ 136 w 243"/>
                  <a:gd name="T11" fmla="*/ 400 h 409"/>
                  <a:gd name="T12" fmla="*/ 146 w 243"/>
                  <a:gd name="T13" fmla="*/ 400 h 409"/>
                  <a:gd name="T14" fmla="*/ 185 w 243"/>
                  <a:gd name="T15" fmla="*/ 400 h 409"/>
                  <a:gd name="T16" fmla="*/ 195 w 243"/>
                  <a:gd name="T17" fmla="*/ 380 h 409"/>
                  <a:gd name="T18" fmla="*/ 165 w 243"/>
                  <a:gd name="T19" fmla="*/ 351 h 409"/>
                  <a:gd name="T20" fmla="*/ 175 w 243"/>
                  <a:gd name="T21" fmla="*/ 331 h 409"/>
                  <a:gd name="T22" fmla="*/ 185 w 243"/>
                  <a:gd name="T23" fmla="*/ 341 h 409"/>
                  <a:gd name="T24" fmla="*/ 204 w 243"/>
                  <a:gd name="T25" fmla="*/ 351 h 409"/>
                  <a:gd name="T26" fmla="*/ 224 w 243"/>
                  <a:gd name="T27" fmla="*/ 322 h 409"/>
                  <a:gd name="T28" fmla="*/ 234 w 243"/>
                  <a:gd name="T29" fmla="*/ 253 h 409"/>
                  <a:gd name="T30" fmla="*/ 234 w 243"/>
                  <a:gd name="T31" fmla="*/ 224 h 409"/>
                  <a:gd name="T32" fmla="*/ 214 w 243"/>
                  <a:gd name="T33" fmla="*/ 185 h 409"/>
                  <a:gd name="T34" fmla="*/ 195 w 243"/>
                  <a:gd name="T35" fmla="*/ 185 h 409"/>
                  <a:gd name="T36" fmla="*/ 195 w 243"/>
                  <a:gd name="T37" fmla="*/ 166 h 409"/>
                  <a:gd name="T38" fmla="*/ 214 w 243"/>
                  <a:gd name="T39" fmla="*/ 146 h 409"/>
                  <a:gd name="T40" fmla="*/ 224 w 243"/>
                  <a:gd name="T41" fmla="*/ 117 h 409"/>
                  <a:gd name="T42" fmla="*/ 214 w 243"/>
                  <a:gd name="T43" fmla="*/ 78 h 409"/>
                  <a:gd name="T44" fmla="*/ 243 w 243"/>
                  <a:gd name="T45" fmla="*/ 68 h 409"/>
                  <a:gd name="T46" fmla="*/ 234 w 243"/>
                  <a:gd name="T47" fmla="*/ 48 h 409"/>
                  <a:gd name="T48" fmla="*/ 185 w 243"/>
                  <a:gd name="T49" fmla="*/ 29 h 409"/>
                  <a:gd name="T50" fmla="*/ 146 w 243"/>
                  <a:gd name="T51" fmla="*/ 9 h 409"/>
                  <a:gd name="T52" fmla="*/ 136 w 243"/>
                  <a:gd name="T53" fmla="*/ 9 h 409"/>
                  <a:gd name="T54" fmla="*/ 117 w 243"/>
                  <a:gd name="T55" fmla="*/ 0 h 409"/>
                  <a:gd name="T56" fmla="*/ 107 w 243"/>
                  <a:gd name="T57" fmla="*/ 58 h 409"/>
                  <a:gd name="T58" fmla="*/ 107 w 243"/>
                  <a:gd name="T59" fmla="*/ 87 h 409"/>
                  <a:gd name="T60" fmla="*/ 107 w 243"/>
                  <a:gd name="T61" fmla="*/ 136 h 409"/>
                  <a:gd name="T62" fmla="*/ 136 w 243"/>
                  <a:gd name="T63" fmla="*/ 146 h 409"/>
                  <a:gd name="T64" fmla="*/ 156 w 243"/>
                  <a:gd name="T65" fmla="*/ 175 h 409"/>
                  <a:gd name="T66" fmla="*/ 136 w 243"/>
                  <a:gd name="T67" fmla="*/ 166 h 409"/>
                  <a:gd name="T68" fmla="*/ 107 w 243"/>
                  <a:gd name="T69" fmla="*/ 185 h 409"/>
                  <a:gd name="T70" fmla="*/ 97 w 243"/>
                  <a:gd name="T71" fmla="*/ 234 h 409"/>
                  <a:gd name="T72" fmla="*/ 87 w 243"/>
                  <a:gd name="T73" fmla="*/ 253 h 409"/>
                  <a:gd name="T74" fmla="*/ 58 w 243"/>
                  <a:gd name="T75" fmla="*/ 263 h 409"/>
                  <a:gd name="T76" fmla="*/ 29 w 243"/>
                  <a:gd name="T77" fmla="*/ 244 h 409"/>
                  <a:gd name="T78" fmla="*/ 29 w 243"/>
                  <a:gd name="T79" fmla="*/ 283 h 409"/>
                  <a:gd name="T80" fmla="*/ 19 w 243"/>
                  <a:gd name="T81" fmla="*/ 312 h 409"/>
                  <a:gd name="T82" fmla="*/ 0 w 243"/>
                  <a:gd name="T83" fmla="*/ 341 h 409"/>
                  <a:gd name="T84" fmla="*/ 19 w 243"/>
                  <a:gd name="T85" fmla="*/ 370 h 40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43"/>
                  <a:gd name="T130" fmla="*/ 0 h 409"/>
                  <a:gd name="T131" fmla="*/ 243 w 243"/>
                  <a:gd name="T132" fmla="*/ 409 h 40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5" name="Freeform 344"/>
              <p:cNvSpPr>
                <a:spLocks/>
              </p:cNvSpPr>
              <p:nvPr/>
            </p:nvSpPr>
            <p:spPr bwMode="auto">
              <a:xfrm>
                <a:off x="1329" y="2781"/>
                <a:ext cx="242" cy="409"/>
              </a:xfrm>
              <a:custGeom>
                <a:avLst/>
                <a:gdLst>
                  <a:gd name="T0" fmla="*/ 39 w 243"/>
                  <a:gd name="T1" fmla="*/ 351 h 409"/>
                  <a:gd name="T2" fmla="*/ 48 w 243"/>
                  <a:gd name="T3" fmla="*/ 361 h 409"/>
                  <a:gd name="T4" fmla="*/ 68 w 243"/>
                  <a:gd name="T5" fmla="*/ 380 h 409"/>
                  <a:gd name="T6" fmla="*/ 87 w 243"/>
                  <a:gd name="T7" fmla="*/ 390 h 409"/>
                  <a:gd name="T8" fmla="*/ 117 w 243"/>
                  <a:gd name="T9" fmla="*/ 390 h 409"/>
                  <a:gd name="T10" fmla="*/ 136 w 243"/>
                  <a:gd name="T11" fmla="*/ 400 h 409"/>
                  <a:gd name="T12" fmla="*/ 146 w 243"/>
                  <a:gd name="T13" fmla="*/ 400 h 409"/>
                  <a:gd name="T14" fmla="*/ 185 w 243"/>
                  <a:gd name="T15" fmla="*/ 400 h 409"/>
                  <a:gd name="T16" fmla="*/ 195 w 243"/>
                  <a:gd name="T17" fmla="*/ 380 h 409"/>
                  <a:gd name="T18" fmla="*/ 165 w 243"/>
                  <a:gd name="T19" fmla="*/ 351 h 409"/>
                  <a:gd name="T20" fmla="*/ 175 w 243"/>
                  <a:gd name="T21" fmla="*/ 331 h 409"/>
                  <a:gd name="T22" fmla="*/ 185 w 243"/>
                  <a:gd name="T23" fmla="*/ 341 h 409"/>
                  <a:gd name="T24" fmla="*/ 204 w 243"/>
                  <a:gd name="T25" fmla="*/ 351 h 409"/>
                  <a:gd name="T26" fmla="*/ 224 w 243"/>
                  <a:gd name="T27" fmla="*/ 322 h 409"/>
                  <a:gd name="T28" fmla="*/ 234 w 243"/>
                  <a:gd name="T29" fmla="*/ 253 h 409"/>
                  <a:gd name="T30" fmla="*/ 234 w 243"/>
                  <a:gd name="T31" fmla="*/ 224 h 409"/>
                  <a:gd name="T32" fmla="*/ 214 w 243"/>
                  <a:gd name="T33" fmla="*/ 185 h 409"/>
                  <a:gd name="T34" fmla="*/ 195 w 243"/>
                  <a:gd name="T35" fmla="*/ 185 h 409"/>
                  <a:gd name="T36" fmla="*/ 195 w 243"/>
                  <a:gd name="T37" fmla="*/ 166 h 409"/>
                  <a:gd name="T38" fmla="*/ 214 w 243"/>
                  <a:gd name="T39" fmla="*/ 146 h 409"/>
                  <a:gd name="T40" fmla="*/ 224 w 243"/>
                  <a:gd name="T41" fmla="*/ 117 h 409"/>
                  <a:gd name="T42" fmla="*/ 214 w 243"/>
                  <a:gd name="T43" fmla="*/ 78 h 409"/>
                  <a:gd name="T44" fmla="*/ 243 w 243"/>
                  <a:gd name="T45" fmla="*/ 68 h 409"/>
                  <a:gd name="T46" fmla="*/ 234 w 243"/>
                  <a:gd name="T47" fmla="*/ 48 h 409"/>
                  <a:gd name="T48" fmla="*/ 185 w 243"/>
                  <a:gd name="T49" fmla="*/ 29 h 409"/>
                  <a:gd name="T50" fmla="*/ 146 w 243"/>
                  <a:gd name="T51" fmla="*/ 9 h 409"/>
                  <a:gd name="T52" fmla="*/ 136 w 243"/>
                  <a:gd name="T53" fmla="*/ 9 h 409"/>
                  <a:gd name="T54" fmla="*/ 117 w 243"/>
                  <a:gd name="T55" fmla="*/ 0 h 409"/>
                  <a:gd name="T56" fmla="*/ 107 w 243"/>
                  <a:gd name="T57" fmla="*/ 58 h 409"/>
                  <a:gd name="T58" fmla="*/ 107 w 243"/>
                  <a:gd name="T59" fmla="*/ 87 h 409"/>
                  <a:gd name="T60" fmla="*/ 107 w 243"/>
                  <a:gd name="T61" fmla="*/ 136 h 409"/>
                  <a:gd name="T62" fmla="*/ 136 w 243"/>
                  <a:gd name="T63" fmla="*/ 146 h 409"/>
                  <a:gd name="T64" fmla="*/ 156 w 243"/>
                  <a:gd name="T65" fmla="*/ 175 h 409"/>
                  <a:gd name="T66" fmla="*/ 136 w 243"/>
                  <a:gd name="T67" fmla="*/ 166 h 409"/>
                  <a:gd name="T68" fmla="*/ 107 w 243"/>
                  <a:gd name="T69" fmla="*/ 185 h 409"/>
                  <a:gd name="T70" fmla="*/ 97 w 243"/>
                  <a:gd name="T71" fmla="*/ 234 h 409"/>
                  <a:gd name="T72" fmla="*/ 87 w 243"/>
                  <a:gd name="T73" fmla="*/ 253 h 409"/>
                  <a:gd name="T74" fmla="*/ 58 w 243"/>
                  <a:gd name="T75" fmla="*/ 263 h 409"/>
                  <a:gd name="T76" fmla="*/ 29 w 243"/>
                  <a:gd name="T77" fmla="*/ 244 h 409"/>
                  <a:gd name="T78" fmla="*/ 29 w 243"/>
                  <a:gd name="T79" fmla="*/ 283 h 409"/>
                  <a:gd name="T80" fmla="*/ 19 w 243"/>
                  <a:gd name="T81" fmla="*/ 312 h 409"/>
                  <a:gd name="T82" fmla="*/ 0 w 243"/>
                  <a:gd name="T83" fmla="*/ 341 h 409"/>
                  <a:gd name="T84" fmla="*/ 19 w 243"/>
                  <a:gd name="T85" fmla="*/ 370 h 40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43"/>
                  <a:gd name="T130" fmla="*/ 0 h 409"/>
                  <a:gd name="T131" fmla="*/ 243 w 243"/>
                  <a:gd name="T132" fmla="*/ 409 h 40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4" name="Freeform 342"/>
            <p:cNvSpPr>
              <a:spLocks/>
            </p:cNvSpPr>
            <p:nvPr/>
          </p:nvSpPr>
          <p:spPr bwMode="auto">
            <a:xfrm>
              <a:off x="1483" y="1150"/>
              <a:ext cx="293" cy="383"/>
            </a:xfrm>
            <a:custGeom>
              <a:avLst/>
              <a:gdLst>
                <a:gd name="T0" fmla="*/ 107 w 292"/>
                <a:gd name="T1" fmla="*/ 352 h 381"/>
                <a:gd name="T2" fmla="*/ 78 w 292"/>
                <a:gd name="T3" fmla="*/ 371 h 381"/>
                <a:gd name="T4" fmla="*/ 48 w 292"/>
                <a:gd name="T5" fmla="*/ 361 h 381"/>
                <a:gd name="T6" fmla="*/ 29 w 292"/>
                <a:gd name="T7" fmla="*/ 352 h 381"/>
                <a:gd name="T8" fmla="*/ 39 w 292"/>
                <a:gd name="T9" fmla="*/ 322 h 381"/>
                <a:gd name="T10" fmla="*/ 19 w 292"/>
                <a:gd name="T11" fmla="*/ 293 h 381"/>
                <a:gd name="T12" fmla="*/ 0 w 292"/>
                <a:gd name="T13" fmla="*/ 273 h 381"/>
                <a:gd name="T14" fmla="*/ 19 w 292"/>
                <a:gd name="T15" fmla="*/ 254 h 381"/>
                <a:gd name="T16" fmla="*/ 9 w 292"/>
                <a:gd name="T17" fmla="*/ 234 h 381"/>
                <a:gd name="T18" fmla="*/ 0 w 292"/>
                <a:gd name="T19" fmla="*/ 215 h 381"/>
                <a:gd name="T20" fmla="*/ 0 w 292"/>
                <a:gd name="T21" fmla="*/ 195 h 381"/>
                <a:gd name="T22" fmla="*/ 0 w 292"/>
                <a:gd name="T23" fmla="*/ 176 h 381"/>
                <a:gd name="T24" fmla="*/ 29 w 292"/>
                <a:gd name="T25" fmla="*/ 166 h 381"/>
                <a:gd name="T26" fmla="*/ 39 w 292"/>
                <a:gd name="T27" fmla="*/ 147 h 381"/>
                <a:gd name="T28" fmla="*/ 58 w 292"/>
                <a:gd name="T29" fmla="*/ 127 h 381"/>
                <a:gd name="T30" fmla="*/ 58 w 292"/>
                <a:gd name="T31" fmla="*/ 108 h 381"/>
                <a:gd name="T32" fmla="*/ 78 w 292"/>
                <a:gd name="T33" fmla="*/ 98 h 381"/>
                <a:gd name="T34" fmla="*/ 107 w 292"/>
                <a:gd name="T35" fmla="*/ 88 h 381"/>
                <a:gd name="T36" fmla="*/ 126 w 292"/>
                <a:gd name="T37" fmla="*/ 59 h 381"/>
                <a:gd name="T38" fmla="*/ 146 w 292"/>
                <a:gd name="T39" fmla="*/ 49 h 381"/>
                <a:gd name="T40" fmla="*/ 185 w 292"/>
                <a:gd name="T41" fmla="*/ 49 h 381"/>
                <a:gd name="T42" fmla="*/ 195 w 292"/>
                <a:gd name="T43" fmla="*/ 39 h 381"/>
                <a:gd name="T44" fmla="*/ 224 w 292"/>
                <a:gd name="T45" fmla="*/ 30 h 381"/>
                <a:gd name="T46" fmla="*/ 253 w 292"/>
                <a:gd name="T47" fmla="*/ 10 h 381"/>
                <a:gd name="T48" fmla="*/ 283 w 292"/>
                <a:gd name="T49" fmla="*/ 0 h 381"/>
                <a:gd name="T50" fmla="*/ 292 w 292"/>
                <a:gd name="T51" fmla="*/ 10 h 381"/>
                <a:gd name="T52" fmla="*/ 292 w 292"/>
                <a:gd name="T53" fmla="*/ 30 h 381"/>
                <a:gd name="T54" fmla="*/ 292 w 292"/>
                <a:gd name="T55" fmla="*/ 69 h 381"/>
                <a:gd name="T56" fmla="*/ 283 w 292"/>
                <a:gd name="T57" fmla="*/ 98 h 381"/>
                <a:gd name="T58" fmla="*/ 283 w 292"/>
                <a:gd name="T59" fmla="*/ 117 h 381"/>
                <a:gd name="T60" fmla="*/ 263 w 292"/>
                <a:gd name="T61" fmla="*/ 127 h 381"/>
                <a:gd name="T62" fmla="*/ 243 w 292"/>
                <a:gd name="T63" fmla="*/ 127 h 381"/>
                <a:gd name="T64" fmla="*/ 253 w 292"/>
                <a:gd name="T65" fmla="*/ 176 h 381"/>
                <a:gd name="T66" fmla="*/ 224 w 292"/>
                <a:gd name="T67" fmla="*/ 215 h 381"/>
                <a:gd name="T68" fmla="*/ 195 w 292"/>
                <a:gd name="T69" fmla="*/ 215 h 381"/>
                <a:gd name="T70" fmla="*/ 185 w 292"/>
                <a:gd name="T71" fmla="*/ 244 h 381"/>
                <a:gd name="T72" fmla="*/ 165 w 292"/>
                <a:gd name="T73" fmla="*/ 264 h 381"/>
                <a:gd name="T74" fmla="*/ 156 w 292"/>
                <a:gd name="T75" fmla="*/ 283 h 381"/>
                <a:gd name="T76" fmla="*/ 136 w 292"/>
                <a:gd name="T77" fmla="*/ 293 h 381"/>
                <a:gd name="T78" fmla="*/ 136 w 292"/>
                <a:gd name="T79" fmla="*/ 313 h 381"/>
                <a:gd name="T80" fmla="*/ 117 w 292"/>
                <a:gd name="T81" fmla="*/ 332 h 38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92"/>
                <a:gd name="T124" fmla="*/ 0 h 381"/>
                <a:gd name="T125" fmla="*/ 292 w 292"/>
                <a:gd name="T126" fmla="*/ 381 h 38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92" h="381">
                  <a:moveTo>
                    <a:pt x="117" y="332"/>
                  </a:moveTo>
                  <a:lnTo>
                    <a:pt x="107" y="352"/>
                  </a:lnTo>
                  <a:lnTo>
                    <a:pt x="97" y="361"/>
                  </a:lnTo>
                  <a:lnTo>
                    <a:pt x="78" y="371"/>
                  </a:lnTo>
                  <a:lnTo>
                    <a:pt x="48" y="381"/>
                  </a:lnTo>
                  <a:lnTo>
                    <a:pt x="48" y="361"/>
                  </a:lnTo>
                  <a:lnTo>
                    <a:pt x="39" y="352"/>
                  </a:lnTo>
                  <a:lnTo>
                    <a:pt x="29" y="352"/>
                  </a:lnTo>
                  <a:lnTo>
                    <a:pt x="29" y="342"/>
                  </a:lnTo>
                  <a:lnTo>
                    <a:pt x="39" y="322"/>
                  </a:lnTo>
                  <a:lnTo>
                    <a:pt x="39" y="303"/>
                  </a:lnTo>
                  <a:lnTo>
                    <a:pt x="19" y="293"/>
                  </a:lnTo>
                  <a:lnTo>
                    <a:pt x="9" y="283"/>
                  </a:lnTo>
                  <a:lnTo>
                    <a:pt x="0" y="273"/>
                  </a:lnTo>
                  <a:lnTo>
                    <a:pt x="9" y="264"/>
                  </a:lnTo>
                  <a:lnTo>
                    <a:pt x="19" y="254"/>
                  </a:lnTo>
                  <a:lnTo>
                    <a:pt x="19" y="244"/>
                  </a:lnTo>
                  <a:lnTo>
                    <a:pt x="9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9" y="19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0" y="176"/>
                  </a:lnTo>
                  <a:lnTo>
                    <a:pt x="9" y="166"/>
                  </a:lnTo>
                  <a:lnTo>
                    <a:pt x="29" y="166"/>
                  </a:lnTo>
                  <a:lnTo>
                    <a:pt x="39" y="156"/>
                  </a:lnTo>
                  <a:lnTo>
                    <a:pt x="39" y="14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58" y="117"/>
                  </a:lnTo>
                  <a:lnTo>
                    <a:pt x="58" y="108"/>
                  </a:lnTo>
                  <a:lnTo>
                    <a:pt x="68" y="98"/>
                  </a:lnTo>
                  <a:lnTo>
                    <a:pt x="78" y="98"/>
                  </a:lnTo>
                  <a:lnTo>
                    <a:pt x="97" y="98"/>
                  </a:lnTo>
                  <a:lnTo>
                    <a:pt x="107" y="88"/>
                  </a:lnTo>
                  <a:lnTo>
                    <a:pt x="117" y="69"/>
                  </a:lnTo>
                  <a:lnTo>
                    <a:pt x="126" y="59"/>
                  </a:lnTo>
                  <a:lnTo>
                    <a:pt x="136" y="49"/>
                  </a:lnTo>
                  <a:lnTo>
                    <a:pt x="146" y="49"/>
                  </a:lnTo>
                  <a:lnTo>
                    <a:pt x="165" y="59"/>
                  </a:lnTo>
                  <a:lnTo>
                    <a:pt x="185" y="49"/>
                  </a:lnTo>
                  <a:lnTo>
                    <a:pt x="195" y="39"/>
                  </a:lnTo>
                  <a:lnTo>
                    <a:pt x="204" y="30"/>
                  </a:lnTo>
                  <a:lnTo>
                    <a:pt x="224" y="30"/>
                  </a:lnTo>
                  <a:lnTo>
                    <a:pt x="234" y="20"/>
                  </a:lnTo>
                  <a:lnTo>
                    <a:pt x="253" y="10"/>
                  </a:lnTo>
                  <a:lnTo>
                    <a:pt x="273" y="10"/>
                  </a:lnTo>
                  <a:lnTo>
                    <a:pt x="283" y="0"/>
                  </a:lnTo>
                  <a:lnTo>
                    <a:pt x="292" y="10"/>
                  </a:lnTo>
                  <a:lnTo>
                    <a:pt x="283" y="30"/>
                  </a:lnTo>
                  <a:lnTo>
                    <a:pt x="292" y="30"/>
                  </a:lnTo>
                  <a:lnTo>
                    <a:pt x="292" y="49"/>
                  </a:lnTo>
                  <a:lnTo>
                    <a:pt x="292" y="69"/>
                  </a:lnTo>
                  <a:lnTo>
                    <a:pt x="283" y="78"/>
                  </a:lnTo>
                  <a:lnTo>
                    <a:pt x="283" y="98"/>
                  </a:lnTo>
                  <a:lnTo>
                    <a:pt x="283" y="108"/>
                  </a:lnTo>
                  <a:lnTo>
                    <a:pt x="283" y="117"/>
                  </a:lnTo>
                  <a:lnTo>
                    <a:pt x="283" y="127"/>
                  </a:lnTo>
                  <a:lnTo>
                    <a:pt x="263" y="127"/>
                  </a:lnTo>
                  <a:lnTo>
                    <a:pt x="263" y="117"/>
                  </a:lnTo>
                  <a:lnTo>
                    <a:pt x="243" y="127"/>
                  </a:lnTo>
                  <a:lnTo>
                    <a:pt x="243" y="166"/>
                  </a:lnTo>
                  <a:lnTo>
                    <a:pt x="253" y="176"/>
                  </a:lnTo>
                  <a:lnTo>
                    <a:pt x="224" y="195"/>
                  </a:lnTo>
                  <a:lnTo>
                    <a:pt x="224" y="215"/>
                  </a:lnTo>
                  <a:lnTo>
                    <a:pt x="195" y="215"/>
                  </a:lnTo>
                  <a:lnTo>
                    <a:pt x="204" y="234"/>
                  </a:lnTo>
                  <a:lnTo>
                    <a:pt x="185" y="244"/>
                  </a:lnTo>
                  <a:lnTo>
                    <a:pt x="165" y="254"/>
                  </a:lnTo>
                  <a:lnTo>
                    <a:pt x="165" y="264"/>
                  </a:lnTo>
                  <a:lnTo>
                    <a:pt x="175" y="283"/>
                  </a:lnTo>
                  <a:lnTo>
                    <a:pt x="156" y="283"/>
                  </a:lnTo>
                  <a:lnTo>
                    <a:pt x="146" y="283"/>
                  </a:lnTo>
                  <a:lnTo>
                    <a:pt x="136" y="293"/>
                  </a:lnTo>
                  <a:lnTo>
                    <a:pt x="136" y="303"/>
                  </a:lnTo>
                  <a:lnTo>
                    <a:pt x="136" y="313"/>
                  </a:lnTo>
                  <a:lnTo>
                    <a:pt x="126" y="322"/>
                  </a:lnTo>
                  <a:lnTo>
                    <a:pt x="117" y="332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 341"/>
            <p:cNvSpPr>
              <a:spLocks/>
            </p:cNvSpPr>
            <p:nvPr/>
          </p:nvSpPr>
          <p:spPr bwMode="auto">
            <a:xfrm>
              <a:off x="840" y="2995"/>
              <a:ext cx="174" cy="127"/>
            </a:xfrm>
            <a:custGeom>
              <a:avLst/>
              <a:gdLst>
                <a:gd name="T0" fmla="*/ 39 w 175"/>
                <a:gd name="T1" fmla="*/ 98 h 127"/>
                <a:gd name="T2" fmla="*/ 39 w 175"/>
                <a:gd name="T3" fmla="*/ 69 h 127"/>
                <a:gd name="T4" fmla="*/ 29 w 175"/>
                <a:gd name="T5" fmla="*/ 49 h 127"/>
                <a:gd name="T6" fmla="*/ 10 w 175"/>
                <a:gd name="T7" fmla="*/ 39 h 127"/>
                <a:gd name="T8" fmla="*/ 10 w 175"/>
                <a:gd name="T9" fmla="*/ 20 h 127"/>
                <a:gd name="T10" fmla="*/ 0 w 175"/>
                <a:gd name="T11" fmla="*/ 10 h 127"/>
                <a:gd name="T12" fmla="*/ 29 w 175"/>
                <a:gd name="T13" fmla="*/ 0 h 127"/>
                <a:gd name="T14" fmla="*/ 49 w 175"/>
                <a:gd name="T15" fmla="*/ 0 h 127"/>
                <a:gd name="T16" fmla="*/ 78 w 175"/>
                <a:gd name="T17" fmla="*/ 0 h 127"/>
                <a:gd name="T18" fmla="*/ 97 w 175"/>
                <a:gd name="T19" fmla="*/ 10 h 127"/>
                <a:gd name="T20" fmla="*/ 107 w 175"/>
                <a:gd name="T21" fmla="*/ 20 h 127"/>
                <a:gd name="T22" fmla="*/ 97 w 175"/>
                <a:gd name="T23" fmla="*/ 30 h 127"/>
                <a:gd name="T24" fmla="*/ 127 w 175"/>
                <a:gd name="T25" fmla="*/ 39 h 127"/>
                <a:gd name="T26" fmla="*/ 127 w 175"/>
                <a:gd name="T27" fmla="*/ 49 h 127"/>
                <a:gd name="T28" fmla="*/ 127 w 175"/>
                <a:gd name="T29" fmla="*/ 59 h 127"/>
                <a:gd name="T30" fmla="*/ 156 w 175"/>
                <a:gd name="T31" fmla="*/ 49 h 127"/>
                <a:gd name="T32" fmla="*/ 156 w 175"/>
                <a:gd name="T33" fmla="*/ 69 h 127"/>
                <a:gd name="T34" fmla="*/ 175 w 175"/>
                <a:gd name="T35" fmla="*/ 69 h 127"/>
                <a:gd name="T36" fmla="*/ 175 w 175"/>
                <a:gd name="T37" fmla="*/ 88 h 127"/>
                <a:gd name="T38" fmla="*/ 175 w 175"/>
                <a:gd name="T39" fmla="*/ 98 h 127"/>
                <a:gd name="T40" fmla="*/ 156 w 175"/>
                <a:gd name="T41" fmla="*/ 117 h 127"/>
                <a:gd name="T42" fmla="*/ 146 w 175"/>
                <a:gd name="T43" fmla="*/ 117 h 127"/>
                <a:gd name="T44" fmla="*/ 127 w 175"/>
                <a:gd name="T45" fmla="*/ 127 h 127"/>
                <a:gd name="T46" fmla="*/ 107 w 175"/>
                <a:gd name="T47" fmla="*/ 117 h 127"/>
                <a:gd name="T48" fmla="*/ 97 w 175"/>
                <a:gd name="T49" fmla="*/ 117 h 127"/>
                <a:gd name="T50" fmla="*/ 78 w 175"/>
                <a:gd name="T51" fmla="*/ 117 h 127"/>
                <a:gd name="T52" fmla="*/ 49 w 175"/>
                <a:gd name="T53" fmla="*/ 117 h 127"/>
                <a:gd name="T54" fmla="*/ 39 w 175"/>
                <a:gd name="T55" fmla="*/ 117 h 127"/>
                <a:gd name="T56" fmla="*/ 39 w 175"/>
                <a:gd name="T57" fmla="*/ 98 h 1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5"/>
                <a:gd name="T88" fmla="*/ 0 h 127"/>
                <a:gd name="T89" fmla="*/ 175 w 175"/>
                <a:gd name="T90" fmla="*/ 127 h 12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5" h="127">
                  <a:moveTo>
                    <a:pt x="39" y="98"/>
                  </a:moveTo>
                  <a:lnTo>
                    <a:pt x="39" y="69"/>
                  </a:lnTo>
                  <a:lnTo>
                    <a:pt x="29" y="49"/>
                  </a:lnTo>
                  <a:lnTo>
                    <a:pt x="10" y="39"/>
                  </a:lnTo>
                  <a:lnTo>
                    <a:pt x="10" y="20"/>
                  </a:lnTo>
                  <a:lnTo>
                    <a:pt x="0" y="10"/>
                  </a:lnTo>
                  <a:lnTo>
                    <a:pt x="29" y="0"/>
                  </a:lnTo>
                  <a:lnTo>
                    <a:pt x="49" y="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20"/>
                  </a:lnTo>
                  <a:lnTo>
                    <a:pt x="97" y="30"/>
                  </a:lnTo>
                  <a:lnTo>
                    <a:pt x="127" y="39"/>
                  </a:lnTo>
                  <a:lnTo>
                    <a:pt x="127" y="49"/>
                  </a:lnTo>
                  <a:lnTo>
                    <a:pt x="127" y="59"/>
                  </a:lnTo>
                  <a:lnTo>
                    <a:pt x="156" y="49"/>
                  </a:lnTo>
                  <a:lnTo>
                    <a:pt x="156" y="69"/>
                  </a:lnTo>
                  <a:lnTo>
                    <a:pt x="175" y="69"/>
                  </a:lnTo>
                  <a:lnTo>
                    <a:pt x="175" y="88"/>
                  </a:lnTo>
                  <a:lnTo>
                    <a:pt x="175" y="98"/>
                  </a:lnTo>
                  <a:lnTo>
                    <a:pt x="156" y="117"/>
                  </a:lnTo>
                  <a:lnTo>
                    <a:pt x="146" y="11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97" y="117"/>
                  </a:lnTo>
                  <a:lnTo>
                    <a:pt x="78" y="117"/>
                  </a:lnTo>
                  <a:lnTo>
                    <a:pt x="49" y="117"/>
                  </a:lnTo>
                  <a:lnTo>
                    <a:pt x="39" y="117"/>
                  </a:lnTo>
                  <a:lnTo>
                    <a:pt x="39" y="9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6" name="Group 338"/>
            <p:cNvGrpSpPr>
              <a:grpSpLocks/>
            </p:cNvGrpSpPr>
            <p:nvPr/>
          </p:nvGrpSpPr>
          <p:grpSpPr bwMode="auto">
            <a:xfrm>
              <a:off x="839" y="2995"/>
              <a:ext cx="175" cy="127"/>
              <a:chOff x="839" y="2995"/>
              <a:chExt cx="175" cy="127"/>
            </a:xfrm>
          </p:grpSpPr>
          <p:sp>
            <p:nvSpPr>
              <p:cNvPr id="382" name="Freeform 340"/>
              <p:cNvSpPr>
                <a:spLocks/>
              </p:cNvSpPr>
              <p:nvPr/>
            </p:nvSpPr>
            <p:spPr bwMode="auto">
              <a:xfrm>
                <a:off x="840" y="2995"/>
                <a:ext cx="174" cy="127"/>
              </a:xfrm>
              <a:custGeom>
                <a:avLst/>
                <a:gdLst>
                  <a:gd name="T0" fmla="*/ 39 w 175"/>
                  <a:gd name="T1" fmla="*/ 98 h 127"/>
                  <a:gd name="T2" fmla="*/ 39 w 175"/>
                  <a:gd name="T3" fmla="*/ 69 h 127"/>
                  <a:gd name="T4" fmla="*/ 29 w 175"/>
                  <a:gd name="T5" fmla="*/ 59 h 127"/>
                  <a:gd name="T6" fmla="*/ 10 w 175"/>
                  <a:gd name="T7" fmla="*/ 39 h 127"/>
                  <a:gd name="T8" fmla="*/ 10 w 175"/>
                  <a:gd name="T9" fmla="*/ 20 h 127"/>
                  <a:gd name="T10" fmla="*/ 0 w 175"/>
                  <a:gd name="T11" fmla="*/ 20 h 127"/>
                  <a:gd name="T12" fmla="*/ 29 w 175"/>
                  <a:gd name="T13" fmla="*/ 0 h 127"/>
                  <a:gd name="T14" fmla="*/ 49 w 175"/>
                  <a:gd name="T15" fmla="*/ 0 h 127"/>
                  <a:gd name="T16" fmla="*/ 78 w 175"/>
                  <a:gd name="T17" fmla="*/ 0 h 127"/>
                  <a:gd name="T18" fmla="*/ 97 w 175"/>
                  <a:gd name="T19" fmla="*/ 10 h 127"/>
                  <a:gd name="T20" fmla="*/ 107 w 175"/>
                  <a:gd name="T21" fmla="*/ 20 h 127"/>
                  <a:gd name="T22" fmla="*/ 97 w 175"/>
                  <a:gd name="T23" fmla="*/ 30 h 127"/>
                  <a:gd name="T24" fmla="*/ 127 w 175"/>
                  <a:gd name="T25" fmla="*/ 39 h 127"/>
                  <a:gd name="T26" fmla="*/ 127 w 175"/>
                  <a:gd name="T27" fmla="*/ 49 h 127"/>
                  <a:gd name="T28" fmla="*/ 127 w 175"/>
                  <a:gd name="T29" fmla="*/ 59 h 127"/>
                  <a:gd name="T30" fmla="*/ 156 w 175"/>
                  <a:gd name="T31" fmla="*/ 59 h 127"/>
                  <a:gd name="T32" fmla="*/ 156 w 175"/>
                  <a:gd name="T33" fmla="*/ 69 h 127"/>
                  <a:gd name="T34" fmla="*/ 175 w 175"/>
                  <a:gd name="T35" fmla="*/ 78 h 127"/>
                  <a:gd name="T36" fmla="*/ 175 w 175"/>
                  <a:gd name="T37" fmla="*/ 88 h 127"/>
                  <a:gd name="T38" fmla="*/ 175 w 175"/>
                  <a:gd name="T39" fmla="*/ 98 h 127"/>
                  <a:gd name="T40" fmla="*/ 156 w 175"/>
                  <a:gd name="T41" fmla="*/ 108 h 127"/>
                  <a:gd name="T42" fmla="*/ 146 w 175"/>
                  <a:gd name="T43" fmla="*/ 117 h 127"/>
                  <a:gd name="T44" fmla="*/ 127 w 175"/>
                  <a:gd name="T45" fmla="*/ 127 h 127"/>
                  <a:gd name="T46" fmla="*/ 107 w 175"/>
                  <a:gd name="T47" fmla="*/ 117 h 127"/>
                  <a:gd name="T48" fmla="*/ 97 w 175"/>
                  <a:gd name="T49" fmla="*/ 108 h 127"/>
                  <a:gd name="T50" fmla="*/ 78 w 175"/>
                  <a:gd name="T51" fmla="*/ 117 h 127"/>
                  <a:gd name="T52" fmla="*/ 49 w 175"/>
                  <a:gd name="T53" fmla="*/ 117 h 127"/>
                  <a:gd name="T54" fmla="*/ 39 w 175"/>
                  <a:gd name="T55" fmla="*/ 117 h 127"/>
                  <a:gd name="T56" fmla="*/ 39 w 175"/>
                  <a:gd name="T57" fmla="*/ 98 h 12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5"/>
                  <a:gd name="T88" fmla="*/ 0 h 127"/>
                  <a:gd name="T89" fmla="*/ 175 w 175"/>
                  <a:gd name="T90" fmla="*/ 127 h 12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3" name="Freeform 339"/>
              <p:cNvSpPr>
                <a:spLocks/>
              </p:cNvSpPr>
              <p:nvPr/>
            </p:nvSpPr>
            <p:spPr bwMode="auto">
              <a:xfrm>
                <a:off x="840" y="2995"/>
                <a:ext cx="174" cy="127"/>
              </a:xfrm>
              <a:custGeom>
                <a:avLst/>
                <a:gdLst>
                  <a:gd name="T0" fmla="*/ 39 w 175"/>
                  <a:gd name="T1" fmla="*/ 98 h 127"/>
                  <a:gd name="T2" fmla="*/ 39 w 175"/>
                  <a:gd name="T3" fmla="*/ 69 h 127"/>
                  <a:gd name="T4" fmla="*/ 29 w 175"/>
                  <a:gd name="T5" fmla="*/ 59 h 127"/>
                  <a:gd name="T6" fmla="*/ 10 w 175"/>
                  <a:gd name="T7" fmla="*/ 39 h 127"/>
                  <a:gd name="T8" fmla="*/ 10 w 175"/>
                  <a:gd name="T9" fmla="*/ 20 h 127"/>
                  <a:gd name="T10" fmla="*/ 0 w 175"/>
                  <a:gd name="T11" fmla="*/ 20 h 127"/>
                  <a:gd name="T12" fmla="*/ 29 w 175"/>
                  <a:gd name="T13" fmla="*/ 0 h 127"/>
                  <a:gd name="T14" fmla="*/ 49 w 175"/>
                  <a:gd name="T15" fmla="*/ 0 h 127"/>
                  <a:gd name="T16" fmla="*/ 78 w 175"/>
                  <a:gd name="T17" fmla="*/ 0 h 127"/>
                  <a:gd name="T18" fmla="*/ 97 w 175"/>
                  <a:gd name="T19" fmla="*/ 10 h 127"/>
                  <a:gd name="T20" fmla="*/ 107 w 175"/>
                  <a:gd name="T21" fmla="*/ 20 h 127"/>
                  <a:gd name="T22" fmla="*/ 97 w 175"/>
                  <a:gd name="T23" fmla="*/ 30 h 127"/>
                  <a:gd name="T24" fmla="*/ 127 w 175"/>
                  <a:gd name="T25" fmla="*/ 39 h 127"/>
                  <a:gd name="T26" fmla="*/ 127 w 175"/>
                  <a:gd name="T27" fmla="*/ 49 h 127"/>
                  <a:gd name="T28" fmla="*/ 127 w 175"/>
                  <a:gd name="T29" fmla="*/ 59 h 127"/>
                  <a:gd name="T30" fmla="*/ 156 w 175"/>
                  <a:gd name="T31" fmla="*/ 59 h 127"/>
                  <a:gd name="T32" fmla="*/ 156 w 175"/>
                  <a:gd name="T33" fmla="*/ 69 h 127"/>
                  <a:gd name="T34" fmla="*/ 175 w 175"/>
                  <a:gd name="T35" fmla="*/ 78 h 127"/>
                  <a:gd name="T36" fmla="*/ 175 w 175"/>
                  <a:gd name="T37" fmla="*/ 88 h 127"/>
                  <a:gd name="T38" fmla="*/ 175 w 175"/>
                  <a:gd name="T39" fmla="*/ 98 h 127"/>
                  <a:gd name="T40" fmla="*/ 156 w 175"/>
                  <a:gd name="T41" fmla="*/ 108 h 127"/>
                  <a:gd name="T42" fmla="*/ 146 w 175"/>
                  <a:gd name="T43" fmla="*/ 117 h 127"/>
                  <a:gd name="T44" fmla="*/ 127 w 175"/>
                  <a:gd name="T45" fmla="*/ 127 h 127"/>
                  <a:gd name="T46" fmla="*/ 107 w 175"/>
                  <a:gd name="T47" fmla="*/ 117 h 127"/>
                  <a:gd name="T48" fmla="*/ 97 w 175"/>
                  <a:gd name="T49" fmla="*/ 108 h 127"/>
                  <a:gd name="T50" fmla="*/ 78 w 175"/>
                  <a:gd name="T51" fmla="*/ 117 h 127"/>
                  <a:gd name="T52" fmla="*/ 49 w 175"/>
                  <a:gd name="T53" fmla="*/ 117 h 127"/>
                  <a:gd name="T54" fmla="*/ 39 w 175"/>
                  <a:gd name="T55" fmla="*/ 117 h 127"/>
                  <a:gd name="T56" fmla="*/ 39 w 175"/>
                  <a:gd name="T57" fmla="*/ 98 h 12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5"/>
                  <a:gd name="T88" fmla="*/ 0 h 127"/>
                  <a:gd name="T89" fmla="*/ 175 w 175"/>
                  <a:gd name="T90" fmla="*/ 127 h 12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7" name="Freeform 337"/>
            <p:cNvSpPr>
              <a:spLocks/>
            </p:cNvSpPr>
            <p:nvPr/>
          </p:nvSpPr>
          <p:spPr bwMode="auto">
            <a:xfrm>
              <a:off x="879" y="3093"/>
              <a:ext cx="155" cy="106"/>
            </a:xfrm>
            <a:custGeom>
              <a:avLst/>
              <a:gdLst>
                <a:gd name="T0" fmla="*/ 146 w 156"/>
                <a:gd name="T1" fmla="*/ 29 h 107"/>
                <a:gd name="T2" fmla="*/ 146 w 156"/>
                <a:gd name="T3" fmla="*/ 39 h 107"/>
                <a:gd name="T4" fmla="*/ 136 w 156"/>
                <a:gd name="T5" fmla="*/ 39 h 107"/>
                <a:gd name="T6" fmla="*/ 136 w 156"/>
                <a:gd name="T7" fmla="*/ 29 h 107"/>
                <a:gd name="T8" fmla="*/ 127 w 156"/>
                <a:gd name="T9" fmla="*/ 29 h 107"/>
                <a:gd name="T10" fmla="*/ 117 w 156"/>
                <a:gd name="T11" fmla="*/ 29 h 107"/>
                <a:gd name="T12" fmla="*/ 107 w 156"/>
                <a:gd name="T13" fmla="*/ 39 h 107"/>
                <a:gd name="T14" fmla="*/ 117 w 156"/>
                <a:gd name="T15" fmla="*/ 58 h 107"/>
                <a:gd name="T16" fmla="*/ 107 w 156"/>
                <a:gd name="T17" fmla="*/ 58 h 107"/>
                <a:gd name="T18" fmla="*/ 107 w 156"/>
                <a:gd name="T19" fmla="*/ 78 h 107"/>
                <a:gd name="T20" fmla="*/ 97 w 156"/>
                <a:gd name="T21" fmla="*/ 97 h 107"/>
                <a:gd name="T22" fmla="*/ 88 w 156"/>
                <a:gd name="T23" fmla="*/ 107 h 107"/>
                <a:gd name="T24" fmla="*/ 68 w 156"/>
                <a:gd name="T25" fmla="*/ 97 h 107"/>
                <a:gd name="T26" fmla="*/ 49 w 156"/>
                <a:gd name="T27" fmla="*/ 97 h 107"/>
                <a:gd name="T28" fmla="*/ 39 w 156"/>
                <a:gd name="T29" fmla="*/ 88 h 107"/>
                <a:gd name="T30" fmla="*/ 29 w 156"/>
                <a:gd name="T31" fmla="*/ 78 h 107"/>
                <a:gd name="T32" fmla="*/ 19 w 156"/>
                <a:gd name="T33" fmla="*/ 88 h 107"/>
                <a:gd name="T34" fmla="*/ 0 w 156"/>
                <a:gd name="T35" fmla="*/ 78 h 107"/>
                <a:gd name="T36" fmla="*/ 0 w 156"/>
                <a:gd name="T37" fmla="*/ 58 h 107"/>
                <a:gd name="T38" fmla="*/ 10 w 156"/>
                <a:gd name="T39" fmla="*/ 49 h 107"/>
                <a:gd name="T40" fmla="*/ 10 w 156"/>
                <a:gd name="T41" fmla="*/ 29 h 107"/>
                <a:gd name="T42" fmla="*/ 0 w 156"/>
                <a:gd name="T43" fmla="*/ 19 h 107"/>
                <a:gd name="T44" fmla="*/ 19 w 156"/>
                <a:gd name="T45" fmla="*/ 19 h 107"/>
                <a:gd name="T46" fmla="*/ 39 w 156"/>
                <a:gd name="T47" fmla="*/ 19 h 107"/>
                <a:gd name="T48" fmla="*/ 58 w 156"/>
                <a:gd name="T49" fmla="*/ 19 h 107"/>
                <a:gd name="T50" fmla="*/ 68 w 156"/>
                <a:gd name="T51" fmla="*/ 19 h 107"/>
                <a:gd name="T52" fmla="*/ 88 w 156"/>
                <a:gd name="T53" fmla="*/ 29 h 107"/>
                <a:gd name="T54" fmla="*/ 107 w 156"/>
                <a:gd name="T55" fmla="*/ 19 h 107"/>
                <a:gd name="T56" fmla="*/ 117 w 156"/>
                <a:gd name="T57" fmla="*/ 19 h 107"/>
                <a:gd name="T58" fmla="*/ 136 w 156"/>
                <a:gd name="T59" fmla="*/ 0 h 107"/>
                <a:gd name="T60" fmla="*/ 156 w 156"/>
                <a:gd name="T61" fmla="*/ 10 h 107"/>
                <a:gd name="T62" fmla="*/ 146 w 156"/>
                <a:gd name="T63" fmla="*/ 19 h 107"/>
                <a:gd name="T64" fmla="*/ 146 w 156"/>
                <a:gd name="T65" fmla="*/ 29 h 10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6"/>
                <a:gd name="T100" fmla="*/ 0 h 107"/>
                <a:gd name="T101" fmla="*/ 156 w 156"/>
                <a:gd name="T102" fmla="*/ 107 h 10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6" h="107">
                  <a:moveTo>
                    <a:pt x="146" y="29"/>
                  </a:moveTo>
                  <a:lnTo>
                    <a:pt x="146" y="39"/>
                  </a:lnTo>
                  <a:lnTo>
                    <a:pt x="136" y="39"/>
                  </a:lnTo>
                  <a:lnTo>
                    <a:pt x="136" y="29"/>
                  </a:lnTo>
                  <a:lnTo>
                    <a:pt x="127" y="29"/>
                  </a:lnTo>
                  <a:lnTo>
                    <a:pt x="117" y="29"/>
                  </a:lnTo>
                  <a:lnTo>
                    <a:pt x="107" y="39"/>
                  </a:lnTo>
                  <a:lnTo>
                    <a:pt x="117" y="58"/>
                  </a:lnTo>
                  <a:lnTo>
                    <a:pt x="107" y="58"/>
                  </a:lnTo>
                  <a:lnTo>
                    <a:pt x="107" y="78"/>
                  </a:lnTo>
                  <a:lnTo>
                    <a:pt x="97" y="97"/>
                  </a:lnTo>
                  <a:lnTo>
                    <a:pt x="88" y="107"/>
                  </a:lnTo>
                  <a:lnTo>
                    <a:pt x="68" y="97"/>
                  </a:lnTo>
                  <a:lnTo>
                    <a:pt x="49" y="97"/>
                  </a:lnTo>
                  <a:lnTo>
                    <a:pt x="39" y="88"/>
                  </a:lnTo>
                  <a:lnTo>
                    <a:pt x="29" y="78"/>
                  </a:lnTo>
                  <a:lnTo>
                    <a:pt x="19" y="88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0" y="49"/>
                  </a:lnTo>
                  <a:lnTo>
                    <a:pt x="10" y="29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9" y="19"/>
                  </a:lnTo>
                  <a:lnTo>
                    <a:pt x="58" y="19"/>
                  </a:lnTo>
                  <a:lnTo>
                    <a:pt x="68" y="19"/>
                  </a:lnTo>
                  <a:lnTo>
                    <a:pt x="88" y="29"/>
                  </a:lnTo>
                  <a:lnTo>
                    <a:pt x="107" y="19"/>
                  </a:lnTo>
                  <a:lnTo>
                    <a:pt x="117" y="19"/>
                  </a:lnTo>
                  <a:lnTo>
                    <a:pt x="136" y="0"/>
                  </a:lnTo>
                  <a:lnTo>
                    <a:pt x="156" y="10"/>
                  </a:lnTo>
                  <a:lnTo>
                    <a:pt x="146" y="19"/>
                  </a:lnTo>
                  <a:lnTo>
                    <a:pt x="146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68" name="Group 334"/>
            <p:cNvGrpSpPr>
              <a:grpSpLocks/>
            </p:cNvGrpSpPr>
            <p:nvPr/>
          </p:nvGrpSpPr>
          <p:grpSpPr bwMode="auto">
            <a:xfrm>
              <a:off x="878" y="3093"/>
              <a:ext cx="156" cy="107"/>
              <a:chOff x="878" y="3093"/>
              <a:chExt cx="156" cy="107"/>
            </a:xfrm>
          </p:grpSpPr>
          <p:sp>
            <p:nvSpPr>
              <p:cNvPr id="380" name="Freeform 336"/>
              <p:cNvSpPr>
                <a:spLocks/>
              </p:cNvSpPr>
              <p:nvPr/>
            </p:nvSpPr>
            <p:spPr bwMode="auto">
              <a:xfrm>
                <a:off x="879" y="3093"/>
                <a:ext cx="157" cy="106"/>
              </a:xfrm>
              <a:custGeom>
                <a:avLst/>
                <a:gdLst>
                  <a:gd name="T0" fmla="*/ 146 w 156"/>
                  <a:gd name="T1" fmla="*/ 39 h 107"/>
                  <a:gd name="T2" fmla="*/ 136 w 156"/>
                  <a:gd name="T3" fmla="*/ 39 h 107"/>
                  <a:gd name="T4" fmla="*/ 136 w 156"/>
                  <a:gd name="T5" fmla="*/ 39 h 107"/>
                  <a:gd name="T6" fmla="*/ 136 w 156"/>
                  <a:gd name="T7" fmla="*/ 29 h 107"/>
                  <a:gd name="T8" fmla="*/ 127 w 156"/>
                  <a:gd name="T9" fmla="*/ 29 h 107"/>
                  <a:gd name="T10" fmla="*/ 117 w 156"/>
                  <a:gd name="T11" fmla="*/ 39 h 107"/>
                  <a:gd name="T12" fmla="*/ 107 w 156"/>
                  <a:gd name="T13" fmla="*/ 39 h 107"/>
                  <a:gd name="T14" fmla="*/ 117 w 156"/>
                  <a:gd name="T15" fmla="*/ 58 h 107"/>
                  <a:gd name="T16" fmla="*/ 107 w 156"/>
                  <a:gd name="T17" fmla="*/ 58 h 107"/>
                  <a:gd name="T18" fmla="*/ 107 w 156"/>
                  <a:gd name="T19" fmla="*/ 78 h 107"/>
                  <a:gd name="T20" fmla="*/ 97 w 156"/>
                  <a:gd name="T21" fmla="*/ 97 h 107"/>
                  <a:gd name="T22" fmla="*/ 88 w 156"/>
                  <a:gd name="T23" fmla="*/ 107 h 107"/>
                  <a:gd name="T24" fmla="*/ 68 w 156"/>
                  <a:gd name="T25" fmla="*/ 97 h 107"/>
                  <a:gd name="T26" fmla="*/ 49 w 156"/>
                  <a:gd name="T27" fmla="*/ 97 h 107"/>
                  <a:gd name="T28" fmla="*/ 39 w 156"/>
                  <a:gd name="T29" fmla="*/ 88 h 107"/>
                  <a:gd name="T30" fmla="*/ 29 w 156"/>
                  <a:gd name="T31" fmla="*/ 78 h 107"/>
                  <a:gd name="T32" fmla="*/ 19 w 156"/>
                  <a:gd name="T33" fmla="*/ 88 h 107"/>
                  <a:gd name="T34" fmla="*/ 0 w 156"/>
                  <a:gd name="T35" fmla="*/ 78 h 107"/>
                  <a:gd name="T36" fmla="*/ 0 w 156"/>
                  <a:gd name="T37" fmla="*/ 58 h 107"/>
                  <a:gd name="T38" fmla="*/ 10 w 156"/>
                  <a:gd name="T39" fmla="*/ 49 h 107"/>
                  <a:gd name="T40" fmla="*/ 10 w 156"/>
                  <a:gd name="T41" fmla="*/ 29 h 107"/>
                  <a:gd name="T42" fmla="*/ 0 w 156"/>
                  <a:gd name="T43" fmla="*/ 19 h 107"/>
                  <a:gd name="T44" fmla="*/ 19 w 156"/>
                  <a:gd name="T45" fmla="*/ 19 h 107"/>
                  <a:gd name="T46" fmla="*/ 39 w 156"/>
                  <a:gd name="T47" fmla="*/ 19 h 107"/>
                  <a:gd name="T48" fmla="*/ 58 w 156"/>
                  <a:gd name="T49" fmla="*/ 19 h 107"/>
                  <a:gd name="T50" fmla="*/ 68 w 156"/>
                  <a:gd name="T51" fmla="*/ 19 h 107"/>
                  <a:gd name="T52" fmla="*/ 88 w 156"/>
                  <a:gd name="T53" fmla="*/ 29 h 107"/>
                  <a:gd name="T54" fmla="*/ 107 w 156"/>
                  <a:gd name="T55" fmla="*/ 19 h 107"/>
                  <a:gd name="T56" fmla="*/ 117 w 156"/>
                  <a:gd name="T57" fmla="*/ 19 h 107"/>
                  <a:gd name="T58" fmla="*/ 136 w 156"/>
                  <a:gd name="T59" fmla="*/ 0 h 107"/>
                  <a:gd name="T60" fmla="*/ 156 w 156"/>
                  <a:gd name="T61" fmla="*/ 10 h 107"/>
                  <a:gd name="T62" fmla="*/ 146 w 156"/>
                  <a:gd name="T63" fmla="*/ 19 h 107"/>
                  <a:gd name="T64" fmla="*/ 146 w 156"/>
                  <a:gd name="T65" fmla="*/ 39 h 10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56"/>
                  <a:gd name="T100" fmla="*/ 0 h 107"/>
                  <a:gd name="T101" fmla="*/ 156 w 156"/>
                  <a:gd name="T102" fmla="*/ 107 h 10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  <a:lnTo>
                      <a:pt x="146" y="39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1" name="Freeform 335"/>
              <p:cNvSpPr>
                <a:spLocks/>
              </p:cNvSpPr>
              <p:nvPr/>
            </p:nvSpPr>
            <p:spPr bwMode="auto">
              <a:xfrm>
                <a:off x="879" y="3093"/>
                <a:ext cx="157" cy="106"/>
              </a:xfrm>
              <a:custGeom>
                <a:avLst/>
                <a:gdLst>
                  <a:gd name="T0" fmla="*/ 146 w 156"/>
                  <a:gd name="T1" fmla="*/ 39 h 107"/>
                  <a:gd name="T2" fmla="*/ 136 w 156"/>
                  <a:gd name="T3" fmla="*/ 39 h 107"/>
                  <a:gd name="T4" fmla="*/ 136 w 156"/>
                  <a:gd name="T5" fmla="*/ 39 h 107"/>
                  <a:gd name="T6" fmla="*/ 136 w 156"/>
                  <a:gd name="T7" fmla="*/ 29 h 107"/>
                  <a:gd name="T8" fmla="*/ 127 w 156"/>
                  <a:gd name="T9" fmla="*/ 29 h 107"/>
                  <a:gd name="T10" fmla="*/ 117 w 156"/>
                  <a:gd name="T11" fmla="*/ 39 h 107"/>
                  <a:gd name="T12" fmla="*/ 107 w 156"/>
                  <a:gd name="T13" fmla="*/ 39 h 107"/>
                  <a:gd name="T14" fmla="*/ 117 w 156"/>
                  <a:gd name="T15" fmla="*/ 58 h 107"/>
                  <a:gd name="T16" fmla="*/ 107 w 156"/>
                  <a:gd name="T17" fmla="*/ 58 h 107"/>
                  <a:gd name="T18" fmla="*/ 107 w 156"/>
                  <a:gd name="T19" fmla="*/ 78 h 107"/>
                  <a:gd name="T20" fmla="*/ 97 w 156"/>
                  <a:gd name="T21" fmla="*/ 97 h 107"/>
                  <a:gd name="T22" fmla="*/ 88 w 156"/>
                  <a:gd name="T23" fmla="*/ 107 h 107"/>
                  <a:gd name="T24" fmla="*/ 68 w 156"/>
                  <a:gd name="T25" fmla="*/ 97 h 107"/>
                  <a:gd name="T26" fmla="*/ 49 w 156"/>
                  <a:gd name="T27" fmla="*/ 97 h 107"/>
                  <a:gd name="T28" fmla="*/ 39 w 156"/>
                  <a:gd name="T29" fmla="*/ 88 h 107"/>
                  <a:gd name="T30" fmla="*/ 29 w 156"/>
                  <a:gd name="T31" fmla="*/ 78 h 107"/>
                  <a:gd name="T32" fmla="*/ 19 w 156"/>
                  <a:gd name="T33" fmla="*/ 88 h 107"/>
                  <a:gd name="T34" fmla="*/ 0 w 156"/>
                  <a:gd name="T35" fmla="*/ 78 h 107"/>
                  <a:gd name="T36" fmla="*/ 0 w 156"/>
                  <a:gd name="T37" fmla="*/ 58 h 107"/>
                  <a:gd name="T38" fmla="*/ 10 w 156"/>
                  <a:gd name="T39" fmla="*/ 49 h 107"/>
                  <a:gd name="T40" fmla="*/ 10 w 156"/>
                  <a:gd name="T41" fmla="*/ 29 h 107"/>
                  <a:gd name="T42" fmla="*/ 0 w 156"/>
                  <a:gd name="T43" fmla="*/ 19 h 107"/>
                  <a:gd name="T44" fmla="*/ 19 w 156"/>
                  <a:gd name="T45" fmla="*/ 19 h 107"/>
                  <a:gd name="T46" fmla="*/ 39 w 156"/>
                  <a:gd name="T47" fmla="*/ 19 h 107"/>
                  <a:gd name="T48" fmla="*/ 58 w 156"/>
                  <a:gd name="T49" fmla="*/ 19 h 107"/>
                  <a:gd name="T50" fmla="*/ 68 w 156"/>
                  <a:gd name="T51" fmla="*/ 19 h 107"/>
                  <a:gd name="T52" fmla="*/ 88 w 156"/>
                  <a:gd name="T53" fmla="*/ 29 h 107"/>
                  <a:gd name="T54" fmla="*/ 107 w 156"/>
                  <a:gd name="T55" fmla="*/ 19 h 107"/>
                  <a:gd name="T56" fmla="*/ 117 w 156"/>
                  <a:gd name="T57" fmla="*/ 19 h 107"/>
                  <a:gd name="T58" fmla="*/ 136 w 156"/>
                  <a:gd name="T59" fmla="*/ 0 h 107"/>
                  <a:gd name="T60" fmla="*/ 156 w 156"/>
                  <a:gd name="T61" fmla="*/ 10 h 107"/>
                  <a:gd name="T62" fmla="*/ 146 w 156"/>
                  <a:gd name="T63" fmla="*/ 19 h 10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56"/>
                  <a:gd name="T97" fmla="*/ 0 h 107"/>
                  <a:gd name="T98" fmla="*/ 156 w 156"/>
                  <a:gd name="T99" fmla="*/ 107 h 10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9" name="Freeform 333"/>
            <p:cNvSpPr>
              <a:spLocks/>
            </p:cNvSpPr>
            <p:nvPr/>
          </p:nvSpPr>
          <p:spPr bwMode="auto">
            <a:xfrm>
              <a:off x="937" y="3122"/>
              <a:ext cx="97" cy="118"/>
            </a:xfrm>
            <a:custGeom>
              <a:avLst/>
              <a:gdLst>
                <a:gd name="T0" fmla="*/ 30 w 98"/>
                <a:gd name="T1" fmla="*/ 117 h 117"/>
                <a:gd name="T2" fmla="*/ 59 w 98"/>
                <a:gd name="T3" fmla="*/ 107 h 117"/>
                <a:gd name="T4" fmla="*/ 78 w 98"/>
                <a:gd name="T5" fmla="*/ 78 h 117"/>
                <a:gd name="T6" fmla="*/ 98 w 98"/>
                <a:gd name="T7" fmla="*/ 49 h 117"/>
                <a:gd name="T8" fmla="*/ 98 w 98"/>
                <a:gd name="T9" fmla="*/ 20 h 117"/>
                <a:gd name="T10" fmla="*/ 88 w 98"/>
                <a:gd name="T11" fmla="*/ 0 h 117"/>
                <a:gd name="T12" fmla="*/ 88 w 98"/>
                <a:gd name="T13" fmla="*/ 10 h 117"/>
                <a:gd name="T14" fmla="*/ 78 w 98"/>
                <a:gd name="T15" fmla="*/ 10 h 117"/>
                <a:gd name="T16" fmla="*/ 78 w 98"/>
                <a:gd name="T17" fmla="*/ 0 h 117"/>
                <a:gd name="T18" fmla="*/ 69 w 98"/>
                <a:gd name="T19" fmla="*/ 0 h 117"/>
                <a:gd name="T20" fmla="*/ 59 w 98"/>
                <a:gd name="T21" fmla="*/ 0 h 117"/>
                <a:gd name="T22" fmla="*/ 49 w 98"/>
                <a:gd name="T23" fmla="*/ 10 h 117"/>
                <a:gd name="T24" fmla="*/ 59 w 98"/>
                <a:gd name="T25" fmla="*/ 20 h 117"/>
                <a:gd name="T26" fmla="*/ 49 w 98"/>
                <a:gd name="T27" fmla="*/ 29 h 117"/>
                <a:gd name="T28" fmla="*/ 49 w 98"/>
                <a:gd name="T29" fmla="*/ 49 h 117"/>
                <a:gd name="T30" fmla="*/ 39 w 98"/>
                <a:gd name="T31" fmla="*/ 68 h 117"/>
                <a:gd name="T32" fmla="*/ 30 w 98"/>
                <a:gd name="T33" fmla="*/ 78 h 117"/>
                <a:gd name="T34" fmla="*/ 10 w 98"/>
                <a:gd name="T35" fmla="*/ 68 h 117"/>
                <a:gd name="T36" fmla="*/ 0 w 98"/>
                <a:gd name="T37" fmla="*/ 78 h 117"/>
                <a:gd name="T38" fmla="*/ 10 w 98"/>
                <a:gd name="T39" fmla="*/ 88 h 117"/>
                <a:gd name="T40" fmla="*/ 30 w 98"/>
                <a:gd name="T41" fmla="*/ 107 h 117"/>
                <a:gd name="T42" fmla="*/ 30 w 98"/>
                <a:gd name="T43" fmla="*/ 117 h 1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8"/>
                <a:gd name="T67" fmla="*/ 0 h 117"/>
                <a:gd name="T68" fmla="*/ 98 w 98"/>
                <a:gd name="T69" fmla="*/ 117 h 1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8" h="117">
                  <a:moveTo>
                    <a:pt x="30" y="117"/>
                  </a:moveTo>
                  <a:lnTo>
                    <a:pt x="59" y="107"/>
                  </a:lnTo>
                  <a:lnTo>
                    <a:pt x="78" y="78"/>
                  </a:lnTo>
                  <a:lnTo>
                    <a:pt x="98" y="49"/>
                  </a:lnTo>
                  <a:lnTo>
                    <a:pt x="98" y="20"/>
                  </a:lnTo>
                  <a:lnTo>
                    <a:pt x="88" y="0"/>
                  </a:lnTo>
                  <a:lnTo>
                    <a:pt x="88" y="1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1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49" y="49"/>
                  </a:lnTo>
                  <a:lnTo>
                    <a:pt x="39" y="68"/>
                  </a:lnTo>
                  <a:lnTo>
                    <a:pt x="30" y="7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30" y="107"/>
                  </a:lnTo>
                  <a:lnTo>
                    <a:pt x="30" y="11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70" name="Group 330"/>
            <p:cNvGrpSpPr>
              <a:grpSpLocks/>
            </p:cNvGrpSpPr>
            <p:nvPr/>
          </p:nvGrpSpPr>
          <p:grpSpPr bwMode="auto">
            <a:xfrm>
              <a:off x="936" y="3122"/>
              <a:ext cx="98" cy="117"/>
              <a:chOff x="936" y="3122"/>
              <a:chExt cx="98" cy="117"/>
            </a:xfrm>
          </p:grpSpPr>
          <p:sp>
            <p:nvSpPr>
              <p:cNvPr id="378" name="Freeform 332"/>
              <p:cNvSpPr>
                <a:spLocks/>
              </p:cNvSpPr>
              <p:nvPr/>
            </p:nvSpPr>
            <p:spPr bwMode="auto">
              <a:xfrm>
                <a:off x="937" y="3122"/>
                <a:ext cx="99" cy="118"/>
              </a:xfrm>
              <a:custGeom>
                <a:avLst/>
                <a:gdLst>
                  <a:gd name="T0" fmla="*/ 30 w 98"/>
                  <a:gd name="T1" fmla="*/ 117 h 117"/>
                  <a:gd name="T2" fmla="*/ 59 w 98"/>
                  <a:gd name="T3" fmla="*/ 107 h 117"/>
                  <a:gd name="T4" fmla="*/ 78 w 98"/>
                  <a:gd name="T5" fmla="*/ 78 h 117"/>
                  <a:gd name="T6" fmla="*/ 98 w 98"/>
                  <a:gd name="T7" fmla="*/ 49 h 117"/>
                  <a:gd name="T8" fmla="*/ 98 w 98"/>
                  <a:gd name="T9" fmla="*/ 20 h 117"/>
                  <a:gd name="T10" fmla="*/ 88 w 98"/>
                  <a:gd name="T11" fmla="*/ 0 h 117"/>
                  <a:gd name="T12" fmla="*/ 88 w 98"/>
                  <a:gd name="T13" fmla="*/ 10 h 117"/>
                  <a:gd name="T14" fmla="*/ 78 w 98"/>
                  <a:gd name="T15" fmla="*/ 10 h 117"/>
                  <a:gd name="T16" fmla="*/ 78 w 98"/>
                  <a:gd name="T17" fmla="*/ 0 h 117"/>
                  <a:gd name="T18" fmla="*/ 69 w 98"/>
                  <a:gd name="T19" fmla="*/ 0 h 117"/>
                  <a:gd name="T20" fmla="*/ 59 w 98"/>
                  <a:gd name="T21" fmla="*/ 0 h 117"/>
                  <a:gd name="T22" fmla="*/ 49 w 98"/>
                  <a:gd name="T23" fmla="*/ 10 h 117"/>
                  <a:gd name="T24" fmla="*/ 59 w 98"/>
                  <a:gd name="T25" fmla="*/ 20 h 117"/>
                  <a:gd name="T26" fmla="*/ 49 w 98"/>
                  <a:gd name="T27" fmla="*/ 29 h 117"/>
                  <a:gd name="T28" fmla="*/ 49 w 98"/>
                  <a:gd name="T29" fmla="*/ 49 h 117"/>
                  <a:gd name="T30" fmla="*/ 49 w 98"/>
                  <a:gd name="T31" fmla="*/ 68 h 117"/>
                  <a:gd name="T32" fmla="*/ 30 w 98"/>
                  <a:gd name="T33" fmla="*/ 78 h 117"/>
                  <a:gd name="T34" fmla="*/ 10 w 98"/>
                  <a:gd name="T35" fmla="*/ 68 h 117"/>
                  <a:gd name="T36" fmla="*/ 0 w 98"/>
                  <a:gd name="T37" fmla="*/ 78 h 117"/>
                  <a:gd name="T38" fmla="*/ 10 w 98"/>
                  <a:gd name="T39" fmla="*/ 88 h 117"/>
                  <a:gd name="T40" fmla="*/ 30 w 98"/>
                  <a:gd name="T41" fmla="*/ 98 h 117"/>
                  <a:gd name="T42" fmla="*/ 30 w 98"/>
                  <a:gd name="T43" fmla="*/ 117 h 1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8"/>
                  <a:gd name="T67" fmla="*/ 0 h 117"/>
                  <a:gd name="T68" fmla="*/ 98 w 98"/>
                  <a:gd name="T69" fmla="*/ 117 h 117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9" name="Freeform 331"/>
              <p:cNvSpPr>
                <a:spLocks/>
              </p:cNvSpPr>
              <p:nvPr/>
            </p:nvSpPr>
            <p:spPr bwMode="auto">
              <a:xfrm>
                <a:off x="937" y="3122"/>
                <a:ext cx="99" cy="118"/>
              </a:xfrm>
              <a:custGeom>
                <a:avLst/>
                <a:gdLst>
                  <a:gd name="T0" fmla="*/ 30 w 98"/>
                  <a:gd name="T1" fmla="*/ 117 h 117"/>
                  <a:gd name="T2" fmla="*/ 59 w 98"/>
                  <a:gd name="T3" fmla="*/ 107 h 117"/>
                  <a:gd name="T4" fmla="*/ 78 w 98"/>
                  <a:gd name="T5" fmla="*/ 78 h 117"/>
                  <a:gd name="T6" fmla="*/ 98 w 98"/>
                  <a:gd name="T7" fmla="*/ 49 h 117"/>
                  <a:gd name="T8" fmla="*/ 98 w 98"/>
                  <a:gd name="T9" fmla="*/ 20 h 117"/>
                  <a:gd name="T10" fmla="*/ 88 w 98"/>
                  <a:gd name="T11" fmla="*/ 0 h 117"/>
                  <a:gd name="T12" fmla="*/ 88 w 98"/>
                  <a:gd name="T13" fmla="*/ 10 h 117"/>
                  <a:gd name="T14" fmla="*/ 78 w 98"/>
                  <a:gd name="T15" fmla="*/ 10 h 117"/>
                  <a:gd name="T16" fmla="*/ 78 w 98"/>
                  <a:gd name="T17" fmla="*/ 0 h 117"/>
                  <a:gd name="T18" fmla="*/ 69 w 98"/>
                  <a:gd name="T19" fmla="*/ 0 h 117"/>
                  <a:gd name="T20" fmla="*/ 59 w 98"/>
                  <a:gd name="T21" fmla="*/ 0 h 117"/>
                  <a:gd name="T22" fmla="*/ 49 w 98"/>
                  <a:gd name="T23" fmla="*/ 10 h 117"/>
                  <a:gd name="T24" fmla="*/ 59 w 98"/>
                  <a:gd name="T25" fmla="*/ 20 h 117"/>
                  <a:gd name="T26" fmla="*/ 49 w 98"/>
                  <a:gd name="T27" fmla="*/ 29 h 117"/>
                  <a:gd name="T28" fmla="*/ 49 w 98"/>
                  <a:gd name="T29" fmla="*/ 49 h 117"/>
                  <a:gd name="T30" fmla="*/ 49 w 98"/>
                  <a:gd name="T31" fmla="*/ 68 h 117"/>
                  <a:gd name="T32" fmla="*/ 30 w 98"/>
                  <a:gd name="T33" fmla="*/ 78 h 117"/>
                  <a:gd name="T34" fmla="*/ 10 w 98"/>
                  <a:gd name="T35" fmla="*/ 68 h 117"/>
                  <a:gd name="T36" fmla="*/ 0 w 98"/>
                  <a:gd name="T37" fmla="*/ 78 h 117"/>
                  <a:gd name="T38" fmla="*/ 10 w 98"/>
                  <a:gd name="T39" fmla="*/ 88 h 117"/>
                  <a:gd name="T40" fmla="*/ 30 w 98"/>
                  <a:gd name="T41" fmla="*/ 98 h 117"/>
                  <a:gd name="T42" fmla="*/ 30 w 98"/>
                  <a:gd name="T43" fmla="*/ 117 h 1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8"/>
                  <a:gd name="T67" fmla="*/ 0 h 117"/>
                  <a:gd name="T68" fmla="*/ 98 w 98"/>
                  <a:gd name="T69" fmla="*/ 117 h 117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1" name="Freeform 329"/>
            <p:cNvSpPr>
              <a:spLocks/>
            </p:cNvSpPr>
            <p:nvPr/>
          </p:nvSpPr>
          <p:spPr bwMode="auto">
            <a:xfrm>
              <a:off x="966" y="3122"/>
              <a:ext cx="174" cy="179"/>
            </a:xfrm>
            <a:custGeom>
              <a:avLst/>
              <a:gdLst>
                <a:gd name="T0" fmla="*/ 68 w 175"/>
                <a:gd name="T1" fmla="*/ 20 h 176"/>
                <a:gd name="T2" fmla="*/ 68 w 175"/>
                <a:gd name="T3" fmla="*/ 49 h 176"/>
                <a:gd name="T4" fmla="*/ 48 w 175"/>
                <a:gd name="T5" fmla="*/ 78 h 176"/>
                <a:gd name="T6" fmla="*/ 29 w 175"/>
                <a:gd name="T7" fmla="*/ 107 h 176"/>
                <a:gd name="T8" fmla="*/ 0 w 175"/>
                <a:gd name="T9" fmla="*/ 117 h 176"/>
                <a:gd name="T10" fmla="*/ 0 w 175"/>
                <a:gd name="T11" fmla="*/ 137 h 176"/>
                <a:gd name="T12" fmla="*/ 19 w 175"/>
                <a:gd name="T13" fmla="*/ 156 h 176"/>
                <a:gd name="T14" fmla="*/ 39 w 175"/>
                <a:gd name="T15" fmla="*/ 166 h 176"/>
                <a:gd name="T16" fmla="*/ 58 w 175"/>
                <a:gd name="T17" fmla="*/ 156 h 176"/>
                <a:gd name="T18" fmla="*/ 68 w 175"/>
                <a:gd name="T19" fmla="*/ 147 h 176"/>
                <a:gd name="T20" fmla="*/ 68 w 175"/>
                <a:gd name="T21" fmla="*/ 156 h 176"/>
                <a:gd name="T22" fmla="*/ 78 w 175"/>
                <a:gd name="T23" fmla="*/ 176 h 176"/>
                <a:gd name="T24" fmla="*/ 87 w 175"/>
                <a:gd name="T25" fmla="*/ 176 h 176"/>
                <a:gd name="T26" fmla="*/ 97 w 175"/>
                <a:gd name="T27" fmla="*/ 166 h 176"/>
                <a:gd name="T28" fmla="*/ 117 w 175"/>
                <a:gd name="T29" fmla="*/ 156 h 176"/>
                <a:gd name="T30" fmla="*/ 107 w 175"/>
                <a:gd name="T31" fmla="*/ 137 h 176"/>
                <a:gd name="T32" fmla="*/ 117 w 175"/>
                <a:gd name="T33" fmla="*/ 127 h 176"/>
                <a:gd name="T34" fmla="*/ 117 w 175"/>
                <a:gd name="T35" fmla="*/ 117 h 176"/>
                <a:gd name="T36" fmla="*/ 126 w 175"/>
                <a:gd name="T37" fmla="*/ 127 h 176"/>
                <a:gd name="T38" fmla="*/ 156 w 175"/>
                <a:gd name="T39" fmla="*/ 117 h 176"/>
                <a:gd name="T40" fmla="*/ 165 w 175"/>
                <a:gd name="T41" fmla="*/ 117 h 176"/>
                <a:gd name="T42" fmla="*/ 175 w 175"/>
                <a:gd name="T43" fmla="*/ 107 h 176"/>
                <a:gd name="T44" fmla="*/ 175 w 175"/>
                <a:gd name="T45" fmla="*/ 88 h 176"/>
                <a:gd name="T46" fmla="*/ 165 w 175"/>
                <a:gd name="T47" fmla="*/ 88 h 176"/>
                <a:gd name="T48" fmla="*/ 146 w 175"/>
                <a:gd name="T49" fmla="*/ 88 h 176"/>
                <a:gd name="T50" fmla="*/ 136 w 175"/>
                <a:gd name="T51" fmla="*/ 78 h 176"/>
                <a:gd name="T52" fmla="*/ 146 w 175"/>
                <a:gd name="T53" fmla="*/ 59 h 176"/>
                <a:gd name="T54" fmla="*/ 146 w 175"/>
                <a:gd name="T55" fmla="*/ 49 h 176"/>
                <a:gd name="T56" fmla="*/ 126 w 175"/>
                <a:gd name="T57" fmla="*/ 49 h 176"/>
                <a:gd name="T58" fmla="*/ 126 w 175"/>
                <a:gd name="T59" fmla="*/ 39 h 176"/>
                <a:gd name="T60" fmla="*/ 126 w 175"/>
                <a:gd name="T61" fmla="*/ 29 h 176"/>
                <a:gd name="T62" fmla="*/ 107 w 175"/>
                <a:gd name="T63" fmla="*/ 39 h 176"/>
                <a:gd name="T64" fmla="*/ 97 w 175"/>
                <a:gd name="T65" fmla="*/ 29 h 176"/>
                <a:gd name="T66" fmla="*/ 97 w 175"/>
                <a:gd name="T67" fmla="*/ 10 h 176"/>
                <a:gd name="T68" fmla="*/ 97 w 175"/>
                <a:gd name="T69" fmla="*/ 0 h 176"/>
                <a:gd name="T70" fmla="*/ 68 w 175"/>
                <a:gd name="T71" fmla="*/ 20 h 17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5"/>
                <a:gd name="T109" fmla="*/ 0 h 176"/>
                <a:gd name="T110" fmla="*/ 175 w 175"/>
                <a:gd name="T111" fmla="*/ 176 h 17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5" h="176">
                  <a:moveTo>
                    <a:pt x="68" y="20"/>
                  </a:moveTo>
                  <a:lnTo>
                    <a:pt x="68" y="49"/>
                  </a:lnTo>
                  <a:lnTo>
                    <a:pt x="48" y="78"/>
                  </a:lnTo>
                  <a:lnTo>
                    <a:pt x="29" y="107"/>
                  </a:lnTo>
                  <a:lnTo>
                    <a:pt x="0" y="117"/>
                  </a:lnTo>
                  <a:lnTo>
                    <a:pt x="0" y="137"/>
                  </a:lnTo>
                  <a:lnTo>
                    <a:pt x="19" y="156"/>
                  </a:lnTo>
                  <a:lnTo>
                    <a:pt x="39" y="166"/>
                  </a:lnTo>
                  <a:lnTo>
                    <a:pt x="58" y="156"/>
                  </a:lnTo>
                  <a:lnTo>
                    <a:pt x="68" y="147"/>
                  </a:lnTo>
                  <a:lnTo>
                    <a:pt x="68" y="156"/>
                  </a:lnTo>
                  <a:lnTo>
                    <a:pt x="78" y="176"/>
                  </a:lnTo>
                  <a:lnTo>
                    <a:pt x="87" y="176"/>
                  </a:lnTo>
                  <a:lnTo>
                    <a:pt x="97" y="166"/>
                  </a:lnTo>
                  <a:lnTo>
                    <a:pt x="117" y="156"/>
                  </a:lnTo>
                  <a:lnTo>
                    <a:pt x="107" y="137"/>
                  </a:lnTo>
                  <a:lnTo>
                    <a:pt x="117" y="127"/>
                  </a:lnTo>
                  <a:lnTo>
                    <a:pt x="117" y="117"/>
                  </a:lnTo>
                  <a:lnTo>
                    <a:pt x="126" y="127"/>
                  </a:lnTo>
                  <a:lnTo>
                    <a:pt x="156" y="117"/>
                  </a:lnTo>
                  <a:lnTo>
                    <a:pt x="165" y="117"/>
                  </a:lnTo>
                  <a:lnTo>
                    <a:pt x="175" y="107"/>
                  </a:lnTo>
                  <a:lnTo>
                    <a:pt x="175" y="88"/>
                  </a:lnTo>
                  <a:lnTo>
                    <a:pt x="165" y="88"/>
                  </a:lnTo>
                  <a:lnTo>
                    <a:pt x="146" y="88"/>
                  </a:lnTo>
                  <a:lnTo>
                    <a:pt x="136" y="78"/>
                  </a:lnTo>
                  <a:lnTo>
                    <a:pt x="146" y="59"/>
                  </a:lnTo>
                  <a:lnTo>
                    <a:pt x="146" y="49"/>
                  </a:lnTo>
                  <a:lnTo>
                    <a:pt x="126" y="49"/>
                  </a:lnTo>
                  <a:lnTo>
                    <a:pt x="126" y="39"/>
                  </a:lnTo>
                  <a:lnTo>
                    <a:pt x="126" y="29"/>
                  </a:lnTo>
                  <a:lnTo>
                    <a:pt x="107" y="39"/>
                  </a:lnTo>
                  <a:lnTo>
                    <a:pt x="97" y="29"/>
                  </a:lnTo>
                  <a:lnTo>
                    <a:pt x="97" y="10"/>
                  </a:lnTo>
                  <a:lnTo>
                    <a:pt x="97" y="0"/>
                  </a:lnTo>
                  <a:lnTo>
                    <a:pt x="68" y="2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72" name="Group 326"/>
            <p:cNvGrpSpPr>
              <a:grpSpLocks/>
            </p:cNvGrpSpPr>
            <p:nvPr/>
          </p:nvGrpSpPr>
          <p:grpSpPr bwMode="auto">
            <a:xfrm>
              <a:off x="966" y="3122"/>
              <a:ext cx="175" cy="176"/>
              <a:chOff x="966" y="3122"/>
              <a:chExt cx="175" cy="176"/>
            </a:xfrm>
          </p:grpSpPr>
          <p:sp>
            <p:nvSpPr>
              <p:cNvPr id="376" name="Freeform 328"/>
              <p:cNvSpPr>
                <a:spLocks/>
              </p:cNvSpPr>
              <p:nvPr/>
            </p:nvSpPr>
            <p:spPr bwMode="auto">
              <a:xfrm>
                <a:off x="966" y="3122"/>
                <a:ext cx="172" cy="176"/>
              </a:xfrm>
              <a:custGeom>
                <a:avLst/>
                <a:gdLst>
                  <a:gd name="T0" fmla="*/ 68 w 175"/>
                  <a:gd name="T1" fmla="*/ 20 h 176"/>
                  <a:gd name="T2" fmla="*/ 68 w 175"/>
                  <a:gd name="T3" fmla="*/ 49 h 176"/>
                  <a:gd name="T4" fmla="*/ 48 w 175"/>
                  <a:gd name="T5" fmla="*/ 78 h 176"/>
                  <a:gd name="T6" fmla="*/ 29 w 175"/>
                  <a:gd name="T7" fmla="*/ 107 h 176"/>
                  <a:gd name="T8" fmla="*/ 0 w 175"/>
                  <a:gd name="T9" fmla="*/ 117 h 176"/>
                  <a:gd name="T10" fmla="*/ 0 w 175"/>
                  <a:gd name="T11" fmla="*/ 137 h 176"/>
                  <a:gd name="T12" fmla="*/ 19 w 175"/>
                  <a:gd name="T13" fmla="*/ 156 h 176"/>
                  <a:gd name="T14" fmla="*/ 39 w 175"/>
                  <a:gd name="T15" fmla="*/ 156 h 176"/>
                  <a:gd name="T16" fmla="*/ 58 w 175"/>
                  <a:gd name="T17" fmla="*/ 156 h 176"/>
                  <a:gd name="T18" fmla="*/ 68 w 175"/>
                  <a:gd name="T19" fmla="*/ 147 h 176"/>
                  <a:gd name="T20" fmla="*/ 68 w 175"/>
                  <a:gd name="T21" fmla="*/ 156 h 176"/>
                  <a:gd name="T22" fmla="*/ 78 w 175"/>
                  <a:gd name="T23" fmla="*/ 176 h 176"/>
                  <a:gd name="T24" fmla="*/ 87 w 175"/>
                  <a:gd name="T25" fmla="*/ 176 h 176"/>
                  <a:gd name="T26" fmla="*/ 97 w 175"/>
                  <a:gd name="T27" fmla="*/ 156 h 176"/>
                  <a:gd name="T28" fmla="*/ 117 w 175"/>
                  <a:gd name="T29" fmla="*/ 156 h 176"/>
                  <a:gd name="T30" fmla="*/ 107 w 175"/>
                  <a:gd name="T31" fmla="*/ 137 h 176"/>
                  <a:gd name="T32" fmla="*/ 117 w 175"/>
                  <a:gd name="T33" fmla="*/ 127 h 176"/>
                  <a:gd name="T34" fmla="*/ 117 w 175"/>
                  <a:gd name="T35" fmla="*/ 117 h 176"/>
                  <a:gd name="T36" fmla="*/ 126 w 175"/>
                  <a:gd name="T37" fmla="*/ 117 h 176"/>
                  <a:gd name="T38" fmla="*/ 156 w 175"/>
                  <a:gd name="T39" fmla="*/ 117 h 176"/>
                  <a:gd name="T40" fmla="*/ 165 w 175"/>
                  <a:gd name="T41" fmla="*/ 117 h 176"/>
                  <a:gd name="T42" fmla="*/ 175 w 175"/>
                  <a:gd name="T43" fmla="*/ 107 h 176"/>
                  <a:gd name="T44" fmla="*/ 175 w 175"/>
                  <a:gd name="T45" fmla="*/ 88 h 176"/>
                  <a:gd name="T46" fmla="*/ 165 w 175"/>
                  <a:gd name="T47" fmla="*/ 78 h 176"/>
                  <a:gd name="T48" fmla="*/ 146 w 175"/>
                  <a:gd name="T49" fmla="*/ 78 h 176"/>
                  <a:gd name="T50" fmla="*/ 136 w 175"/>
                  <a:gd name="T51" fmla="*/ 78 h 176"/>
                  <a:gd name="T52" fmla="*/ 146 w 175"/>
                  <a:gd name="T53" fmla="*/ 68 h 176"/>
                  <a:gd name="T54" fmla="*/ 146 w 175"/>
                  <a:gd name="T55" fmla="*/ 49 h 176"/>
                  <a:gd name="T56" fmla="*/ 126 w 175"/>
                  <a:gd name="T57" fmla="*/ 49 h 176"/>
                  <a:gd name="T58" fmla="*/ 126 w 175"/>
                  <a:gd name="T59" fmla="*/ 39 h 176"/>
                  <a:gd name="T60" fmla="*/ 126 w 175"/>
                  <a:gd name="T61" fmla="*/ 29 h 176"/>
                  <a:gd name="T62" fmla="*/ 107 w 175"/>
                  <a:gd name="T63" fmla="*/ 39 h 176"/>
                  <a:gd name="T64" fmla="*/ 87 w 175"/>
                  <a:gd name="T65" fmla="*/ 29 h 176"/>
                  <a:gd name="T66" fmla="*/ 97 w 175"/>
                  <a:gd name="T67" fmla="*/ 10 h 176"/>
                  <a:gd name="T68" fmla="*/ 87 w 175"/>
                  <a:gd name="T69" fmla="*/ 0 h 176"/>
                  <a:gd name="T70" fmla="*/ 68 w 175"/>
                  <a:gd name="T71" fmla="*/ 20 h 17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75"/>
                  <a:gd name="T109" fmla="*/ 0 h 176"/>
                  <a:gd name="T110" fmla="*/ 175 w 175"/>
                  <a:gd name="T111" fmla="*/ 176 h 17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  <a:lnTo>
                      <a:pt x="68" y="20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7" name="Freeform 327"/>
              <p:cNvSpPr>
                <a:spLocks/>
              </p:cNvSpPr>
              <p:nvPr/>
            </p:nvSpPr>
            <p:spPr bwMode="auto">
              <a:xfrm>
                <a:off x="966" y="3122"/>
                <a:ext cx="172" cy="176"/>
              </a:xfrm>
              <a:custGeom>
                <a:avLst/>
                <a:gdLst>
                  <a:gd name="T0" fmla="*/ 68 w 175"/>
                  <a:gd name="T1" fmla="*/ 20 h 176"/>
                  <a:gd name="T2" fmla="*/ 68 w 175"/>
                  <a:gd name="T3" fmla="*/ 49 h 176"/>
                  <a:gd name="T4" fmla="*/ 48 w 175"/>
                  <a:gd name="T5" fmla="*/ 78 h 176"/>
                  <a:gd name="T6" fmla="*/ 29 w 175"/>
                  <a:gd name="T7" fmla="*/ 107 h 176"/>
                  <a:gd name="T8" fmla="*/ 0 w 175"/>
                  <a:gd name="T9" fmla="*/ 117 h 176"/>
                  <a:gd name="T10" fmla="*/ 0 w 175"/>
                  <a:gd name="T11" fmla="*/ 137 h 176"/>
                  <a:gd name="T12" fmla="*/ 19 w 175"/>
                  <a:gd name="T13" fmla="*/ 156 h 176"/>
                  <a:gd name="T14" fmla="*/ 39 w 175"/>
                  <a:gd name="T15" fmla="*/ 156 h 176"/>
                  <a:gd name="T16" fmla="*/ 58 w 175"/>
                  <a:gd name="T17" fmla="*/ 156 h 176"/>
                  <a:gd name="T18" fmla="*/ 68 w 175"/>
                  <a:gd name="T19" fmla="*/ 147 h 176"/>
                  <a:gd name="T20" fmla="*/ 68 w 175"/>
                  <a:gd name="T21" fmla="*/ 156 h 176"/>
                  <a:gd name="T22" fmla="*/ 78 w 175"/>
                  <a:gd name="T23" fmla="*/ 176 h 176"/>
                  <a:gd name="T24" fmla="*/ 87 w 175"/>
                  <a:gd name="T25" fmla="*/ 176 h 176"/>
                  <a:gd name="T26" fmla="*/ 97 w 175"/>
                  <a:gd name="T27" fmla="*/ 156 h 176"/>
                  <a:gd name="T28" fmla="*/ 117 w 175"/>
                  <a:gd name="T29" fmla="*/ 156 h 176"/>
                  <a:gd name="T30" fmla="*/ 107 w 175"/>
                  <a:gd name="T31" fmla="*/ 137 h 176"/>
                  <a:gd name="T32" fmla="*/ 117 w 175"/>
                  <a:gd name="T33" fmla="*/ 127 h 176"/>
                  <a:gd name="T34" fmla="*/ 117 w 175"/>
                  <a:gd name="T35" fmla="*/ 117 h 176"/>
                  <a:gd name="T36" fmla="*/ 126 w 175"/>
                  <a:gd name="T37" fmla="*/ 117 h 176"/>
                  <a:gd name="T38" fmla="*/ 156 w 175"/>
                  <a:gd name="T39" fmla="*/ 117 h 176"/>
                  <a:gd name="T40" fmla="*/ 165 w 175"/>
                  <a:gd name="T41" fmla="*/ 117 h 176"/>
                  <a:gd name="T42" fmla="*/ 175 w 175"/>
                  <a:gd name="T43" fmla="*/ 107 h 176"/>
                  <a:gd name="T44" fmla="*/ 175 w 175"/>
                  <a:gd name="T45" fmla="*/ 88 h 176"/>
                  <a:gd name="T46" fmla="*/ 165 w 175"/>
                  <a:gd name="T47" fmla="*/ 78 h 176"/>
                  <a:gd name="T48" fmla="*/ 146 w 175"/>
                  <a:gd name="T49" fmla="*/ 78 h 176"/>
                  <a:gd name="T50" fmla="*/ 136 w 175"/>
                  <a:gd name="T51" fmla="*/ 78 h 176"/>
                  <a:gd name="T52" fmla="*/ 146 w 175"/>
                  <a:gd name="T53" fmla="*/ 68 h 176"/>
                  <a:gd name="T54" fmla="*/ 146 w 175"/>
                  <a:gd name="T55" fmla="*/ 49 h 176"/>
                  <a:gd name="T56" fmla="*/ 126 w 175"/>
                  <a:gd name="T57" fmla="*/ 49 h 176"/>
                  <a:gd name="T58" fmla="*/ 126 w 175"/>
                  <a:gd name="T59" fmla="*/ 39 h 176"/>
                  <a:gd name="T60" fmla="*/ 126 w 175"/>
                  <a:gd name="T61" fmla="*/ 29 h 176"/>
                  <a:gd name="T62" fmla="*/ 107 w 175"/>
                  <a:gd name="T63" fmla="*/ 39 h 176"/>
                  <a:gd name="T64" fmla="*/ 87 w 175"/>
                  <a:gd name="T65" fmla="*/ 29 h 176"/>
                  <a:gd name="T66" fmla="*/ 97 w 175"/>
                  <a:gd name="T67" fmla="*/ 10 h 176"/>
                  <a:gd name="T68" fmla="*/ 87 w 175"/>
                  <a:gd name="T69" fmla="*/ 0 h 17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5"/>
                  <a:gd name="T106" fmla="*/ 0 h 176"/>
                  <a:gd name="T107" fmla="*/ 175 w 175"/>
                  <a:gd name="T108" fmla="*/ 176 h 17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3" name="Freeform 325"/>
            <p:cNvSpPr>
              <a:spLocks/>
            </p:cNvSpPr>
            <p:nvPr/>
          </p:nvSpPr>
          <p:spPr bwMode="auto">
            <a:xfrm>
              <a:off x="959" y="3072"/>
              <a:ext cx="300" cy="440"/>
            </a:xfrm>
            <a:custGeom>
              <a:avLst/>
              <a:gdLst>
                <a:gd name="T0" fmla="*/ 97 w 302"/>
                <a:gd name="T1" fmla="*/ 225 h 439"/>
                <a:gd name="T2" fmla="*/ 127 w 302"/>
                <a:gd name="T3" fmla="*/ 205 h 439"/>
                <a:gd name="T4" fmla="*/ 127 w 302"/>
                <a:gd name="T5" fmla="*/ 176 h 439"/>
                <a:gd name="T6" fmla="*/ 146 w 302"/>
                <a:gd name="T7" fmla="*/ 176 h 439"/>
                <a:gd name="T8" fmla="*/ 175 w 302"/>
                <a:gd name="T9" fmla="*/ 166 h 439"/>
                <a:gd name="T10" fmla="*/ 185 w 302"/>
                <a:gd name="T11" fmla="*/ 137 h 439"/>
                <a:gd name="T12" fmla="*/ 156 w 302"/>
                <a:gd name="T13" fmla="*/ 137 h 439"/>
                <a:gd name="T14" fmla="*/ 156 w 302"/>
                <a:gd name="T15" fmla="*/ 117 h 439"/>
                <a:gd name="T16" fmla="*/ 146 w 302"/>
                <a:gd name="T17" fmla="*/ 98 h 439"/>
                <a:gd name="T18" fmla="*/ 156 w 302"/>
                <a:gd name="T19" fmla="*/ 59 h 439"/>
                <a:gd name="T20" fmla="*/ 127 w 302"/>
                <a:gd name="T21" fmla="*/ 39 h 439"/>
                <a:gd name="T22" fmla="*/ 156 w 302"/>
                <a:gd name="T23" fmla="*/ 49 h 439"/>
                <a:gd name="T24" fmla="*/ 166 w 302"/>
                <a:gd name="T25" fmla="*/ 20 h 439"/>
                <a:gd name="T26" fmla="*/ 175 w 302"/>
                <a:gd name="T27" fmla="*/ 10 h 439"/>
                <a:gd name="T28" fmla="*/ 214 w 302"/>
                <a:gd name="T29" fmla="*/ 20 h 439"/>
                <a:gd name="T30" fmla="*/ 234 w 302"/>
                <a:gd name="T31" fmla="*/ 0 h 439"/>
                <a:gd name="T32" fmla="*/ 283 w 302"/>
                <a:gd name="T33" fmla="*/ 78 h 439"/>
                <a:gd name="T34" fmla="*/ 302 w 302"/>
                <a:gd name="T35" fmla="*/ 78 h 439"/>
                <a:gd name="T36" fmla="*/ 293 w 302"/>
                <a:gd name="T37" fmla="*/ 98 h 439"/>
                <a:gd name="T38" fmla="*/ 273 w 302"/>
                <a:gd name="T39" fmla="*/ 108 h 439"/>
                <a:gd name="T40" fmla="*/ 254 w 302"/>
                <a:gd name="T41" fmla="*/ 117 h 439"/>
                <a:gd name="T42" fmla="*/ 263 w 302"/>
                <a:gd name="T43" fmla="*/ 137 h 439"/>
                <a:gd name="T44" fmla="*/ 254 w 302"/>
                <a:gd name="T45" fmla="*/ 156 h 439"/>
                <a:gd name="T46" fmla="*/ 254 w 302"/>
                <a:gd name="T47" fmla="*/ 176 h 439"/>
                <a:gd name="T48" fmla="*/ 244 w 302"/>
                <a:gd name="T49" fmla="*/ 215 h 439"/>
                <a:gd name="T50" fmla="*/ 224 w 302"/>
                <a:gd name="T51" fmla="*/ 225 h 439"/>
                <a:gd name="T52" fmla="*/ 224 w 302"/>
                <a:gd name="T53" fmla="*/ 235 h 439"/>
                <a:gd name="T54" fmla="*/ 254 w 302"/>
                <a:gd name="T55" fmla="*/ 215 h 439"/>
                <a:gd name="T56" fmla="*/ 244 w 302"/>
                <a:gd name="T57" fmla="*/ 235 h 439"/>
                <a:gd name="T58" fmla="*/ 214 w 302"/>
                <a:gd name="T59" fmla="*/ 244 h 439"/>
                <a:gd name="T60" fmla="*/ 205 w 302"/>
                <a:gd name="T61" fmla="*/ 254 h 439"/>
                <a:gd name="T62" fmla="*/ 205 w 302"/>
                <a:gd name="T63" fmla="*/ 274 h 439"/>
                <a:gd name="T64" fmla="*/ 185 w 302"/>
                <a:gd name="T65" fmla="*/ 274 h 439"/>
                <a:gd name="T66" fmla="*/ 175 w 302"/>
                <a:gd name="T67" fmla="*/ 303 h 439"/>
                <a:gd name="T68" fmla="*/ 166 w 302"/>
                <a:gd name="T69" fmla="*/ 322 h 439"/>
                <a:gd name="T70" fmla="*/ 166 w 302"/>
                <a:gd name="T71" fmla="*/ 361 h 439"/>
                <a:gd name="T72" fmla="*/ 156 w 302"/>
                <a:gd name="T73" fmla="*/ 410 h 439"/>
                <a:gd name="T74" fmla="*/ 136 w 302"/>
                <a:gd name="T75" fmla="*/ 439 h 439"/>
                <a:gd name="T76" fmla="*/ 88 w 302"/>
                <a:gd name="T77" fmla="*/ 439 h 439"/>
                <a:gd name="T78" fmla="*/ 58 w 302"/>
                <a:gd name="T79" fmla="*/ 439 h 439"/>
                <a:gd name="T80" fmla="*/ 29 w 302"/>
                <a:gd name="T81" fmla="*/ 420 h 439"/>
                <a:gd name="T82" fmla="*/ 29 w 302"/>
                <a:gd name="T83" fmla="*/ 391 h 439"/>
                <a:gd name="T84" fmla="*/ 29 w 302"/>
                <a:gd name="T85" fmla="*/ 371 h 439"/>
                <a:gd name="T86" fmla="*/ 29 w 302"/>
                <a:gd name="T87" fmla="*/ 332 h 439"/>
                <a:gd name="T88" fmla="*/ 19 w 302"/>
                <a:gd name="T89" fmla="*/ 313 h 439"/>
                <a:gd name="T90" fmla="*/ 10 w 302"/>
                <a:gd name="T91" fmla="*/ 274 h 439"/>
                <a:gd name="T92" fmla="*/ 0 w 302"/>
                <a:gd name="T93" fmla="*/ 235 h 439"/>
                <a:gd name="T94" fmla="*/ 19 w 302"/>
                <a:gd name="T95" fmla="*/ 215 h 439"/>
                <a:gd name="T96" fmla="*/ 49 w 302"/>
                <a:gd name="T97" fmla="*/ 215 h 439"/>
                <a:gd name="T98" fmla="*/ 78 w 302"/>
                <a:gd name="T99" fmla="*/ 196 h 439"/>
                <a:gd name="T100" fmla="*/ 88 w 302"/>
                <a:gd name="T101" fmla="*/ 225 h 43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2"/>
                <a:gd name="T154" fmla="*/ 0 h 439"/>
                <a:gd name="T155" fmla="*/ 302 w 302"/>
                <a:gd name="T156" fmla="*/ 439 h 43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2" h="439">
                  <a:moveTo>
                    <a:pt x="88" y="225"/>
                  </a:moveTo>
                  <a:lnTo>
                    <a:pt x="97" y="225"/>
                  </a:lnTo>
                  <a:lnTo>
                    <a:pt x="107" y="215"/>
                  </a:lnTo>
                  <a:lnTo>
                    <a:pt x="127" y="205"/>
                  </a:lnTo>
                  <a:lnTo>
                    <a:pt x="117" y="186"/>
                  </a:lnTo>
                  <a:lnTo>
                    <a:pt x="127" y="176"/>
                  </a:lnTo>
                  <a:lnTo>
                    <a:pt x="127" y="166"/>
                  </a:lnTo>
                  <a:lnTo>
                    <a:pt x="146" y="176"/>
                  </a:lnTo>
                  <a:lnTo>
                    <a:pt x="166" y="166"/>
                  </a:lnTo>
                  <a:lnTo>
                    <a:pt x="175" y="166"/>
                  </a:lnTo>
                  <a:lnTo>
                    <a:pt x="185" y="156"/>
                  </a:lnTo>
                  <a:lnTo>
                    <a:pt x="185" y="137"/>
                  </a:lnTo>
                  <a:lnTo>
                    <a:pt x="175" y="137"/>
                  </a:lnTo>
                  <a:lnTo>
                    <a:pt x="156" y="137"/>
                  </a:lnTo>
                  <a:lnTo>
                    <a:pt x="156" y="127"/>
                  </a:lnTo>
                  <a:lnTo>
                    <a:pt x="156" y="117"/>
                  </a:lnTo>
                  <a:lnTo>
                    <a:pt x="156" y="98"/>
                  </a:lnTo>
                  <a:lnTo>
                    <a:pt x="146" y="98"/>
                  </a:lnTo>
                  <a:lnTo>
                    <a:pt x="146" y="88"/>
                  </a:lnTo>
                  <a:lnTo>
                    <a:pt x="156" y="59"/>
                  </a:lnTo>
                  <a:lnTo>
                    <a:pt x="136" y="59"/>
                  </a:lnTo>
                  <a:lnTo>
                    <a:pt x="127" y="39"/>
                  </a:lnTo>
                  <a:lnTo>
                    <a:pt x="146" y="39"/>
                  </a:lnTo>
                  <a:lnTo>
                    <a:pt x="156" y="49"/>
                  </a:lnTo>
                  <a:lnTo>
                    <a:pt x="166" y="30"/>
                  </a:lnTo>
                  <a:lnTo>
                    <a:pt x="166" y="20"/>
                  </a:lnTo>
                  <a:lnTo>
                    <a:pt x="166" y="10"/>
                  </a:lnTo>
                  <a:lnTo>
                    <a:pt x="175" y="10"/>
                  </a:lnTo>
                  <a:lnTo>
                    <a:pt x="195" y="20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0"/>
                  </a:lnTo>
                  <a:lnTo>
                    <a:pt x="254" y="30"/>
                  </a:lnTo>
                  <a:lnTo>
                    <a:pt x="283" y="78"/>
                  </a:lnTo>
                  <a:lnTo>
                    <a:pt x="293" y="69"/>
                  </a:lnTo>
                  <a:lnTo>
                    <a:pt x="302" y="78"/>
                  </a:lnTo>
                  <a:lnTo>
                    <a:pt x="293" y="88"/>
                  </a:lnTo>
                  <a:lnTo>
                    <a:pt x="293" y="98"/>
                  </a:lnTo>
                  <a:lnTo>
                    <a:pt x="293" y="108"/>
                  </a:lnTo>
                  <a:lnTo>
                    <a:pt x="273" y="108"/>
                  </a:lnTo>
                  <a:lnTo>
                    <a:pt x="263" y="108"/>
                  </a:lnTo>
                  <a:lnTo>
                    <a:pt x="254" y="117"/>
                  </a:lnTo>
                  <a:lnTo>
                    <a:pt x="254" y="127"/>
                  </a:lnTo>
                  <a:lnTo>
                    <a:pt x="263" y="137"/>
                  </a:lnTo>
                  <a:lnTo>
                    <a:pt x="254" y="147"/>
                  </a:lnTo>
                  <a:lnTo>
                    <a:pt x="254" y="156"/>
                  </a:lnTo>
                  <a:lnTo>
                    <a:pt x="263" y="166"/>
                  </a:lnTo>
                  <a:lnTo>
                    <a:pt x="254" y="176"/>
                  </a:lnTo>
                  <a:lnTo>
                    <a:pt x="254" y="196"/>
                  </a:lnTo>
                  <a:lnTo>
                    <a:pt x="244" y="215"/>
                  </a:lnTo>
                  <a:lnTo>
                    <a:pt x="244" y="225"/>
                  </a:lnTo>
                  <a:lnTo>
                    <a:pt x="224" y="225"/>
                  </a:lnTo>
                  <a:lnTo>
                    <a:pt x="214" y="235"/>
                  </a:lnTo>
                  <a:lnTo>
                    <a:pt x="224" y="235"/>
                  </a:lnTo>
                  <a:lnTo>
                    <a:pt x="244" y="215"/>
                  </a:lnTo>
                  <a:lnTo>
                    <a:pt x="254" y="215"/>
                  </a:lnTo>
                  <a:lnTo>
                    <a:pt x="263" y="215"/>
                  </a:lnTo>
                  <a:lnTo>
                    <a:pt x="244" y="235"/>
                  </a:lnTo>
                  <a:lnTo>
                    <a:pt x="224" y="244"/>
                  </a:lnTo>
                  <a:lnTo>
                    <a:pt x="214" y="244"/>
                  </a:lnTo>
                  <a:lnTo>
                    <a:pt x="205" y="254"/>
                  </a:lnTo>
                  <a:lnTo>
                    <a:pt x="214" y="264"/>
                  </a:lnTo>
                  <a:lnTo>
                    <a:pt x="205" y="274"/>
                  </a:lnTo>
                  <a:lnTo>
                    <a:pt x="205" y="264"/>
                  </a:lnTo>
                  <a:lnTo>
                    <a:pt x="185" y="274"/>
                  </a:lnTo>
                  <a:lnTo>
                    <a:pt x="175" y="283"/>
                  </a:lnTo>
                  <a:lnTo>
                    <a:pt x="175" y="303"/>
                  </a:lnTo>
                  <a:lnTo>
                    <a:pt x="175" y="313"/>
                  </a:lnTo>
                  <a:lnTo>
                    <a:pt x="166" y="322"/>
                  </a:lnTo>
                  <a:lnTo>
                    <a:pt x="166" y="342"/>
                  </a:lnTo>
                  <a:lnTo>
                    <a:pt x="166" y="361"/>
                  </a:lnTo>
                  <a:lnTo>
                    <a:pt x="156" y="391"/>
                  </a:lnTo>
                  <a:lnTo>
                    <a:pt x="156" y="410"/>
                  </a:lnTo>
                  <a:lnTo>
                    <a:pt x="146" y="430"/>
                  </a:lnTo>
                  <a:lnTo>
                    <a:pt x="136" y="439"/>
                  </a:lnTo>
                  <a:lnTo>
                    <a:pt x="117" y="439"/>
                  </a:lnTo>
                  <a:lnTo>
                    <a:pt x="88" y="439"/>
                  </a:lnTo>
                  <a:lnTo>
                    <a:pt x="78" y="439"/>
                  </a:lnTo>
                  <a:lnTo>
                    <a:pt x="58" y="439"/>
                  </a:lnTo>
                  <a:lnTo>
                    <a:pt x="39" y="430"/>
                  </a:lnTo>
                  <a:lnTo>
                    <a:pt x="29" y="420"/>
                  </a:lnTo>
                  <a:lnTo>
                    <a:pt x="19" y="410"/>
                  </a:lnTo>
                  <a:lnTo>
                    <a:pt x="29" y="391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29" y="352"/>
                  </a:lnTo>
                  <a:lnTo>
                    <a:pt x="29" y="332"/>
                  </a:lnTo>
                  <a:lnTo>
                    <a:pt x="29" y="322"/>
                  </a:lnTo>
                  <a:lnTo>
                    <a:pt x="19" y="313"/>
                  </a:lnTo>
                  <a:lnTo>
                    <a:pt x="10" y="293"/>
                  </a:lnTo>
                  <a:lnTo>
                    <a:pt x="10" y="274"/>
                  </a:lnTo>
                  <a:lnTo>
                    <a:pt x="0" y="244"/>
                  </a:lnTo>
                  <a:lnTo>
                    <a:pt x="0" y="235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29" y="205"/>
                  </a:lnTo>
                  <a:lnTo>
                    <a:pt x="49" y="215"/>
                  </a:lnTo>
                  <a:lnTo>
                    <a:pt x="68" y="205"/>
                  </a:lnTo>
                  <a:lnTo>
                    <a:pt x="78" y="196"/>
                  </a:lnTo>
                  <a:lnTo>
                    <a:pt x="78" y="205"/>
                  </a:lnTo>
                  <a:lnTo>
                    <a:pt x="88" y="22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74" name="Group 322"/>
            <p:cNvGrpSpPr>
              <a:grpSpLocks/>
            </p:cNvGrpSpPr>
            <p:nvPr/>
          </p:nvGrpSpPr>
          <p:grpSpPr bwMode="auto">
            <a:xfrm>
              <a:off x="956" y="3073"/>
              <a:ext cx="302" cy="439"/>
              <a:chOff x="956" y="3073"/>
              <a:chExt cx="302" cy="439"/>
            </a:xfrm>
          </p:grpSpPr>
          <p:sp>
            <p:nvSpPr>
              <p:cNvPr id="374" name="Freeform 324"/>
              <p:cNvSpPr>
                <a:spLocks/>
              </p:cNvSpPr>
              <p:nvPr/>
            </p:nvSpPr>
            <p:spPr bwMode="auto">
              <a:xfrm>
                <a:off x="956" y="3072"/>
                <a:ext cx="302" cy="440"/>
              </a:xfrm>
              <a:custGeom>
                <a:avLst/>
                <a:gdLst>
                  <a:gd name="T0" fmla="*/ 97 w 302"/>
                  <a:gd name="T1" fmla="*/ 225 h 439"/>
                  <a:gd name="T2" fmla="*/ 127 w 302"/>
                  <a:gd name="T3" fmla="*/ 205 h 439"/>
                  <a:gd name="T4" fmla="*/ 127 w 302"/>
                  <a:gd name="T5" fmla="*/ 176 h 439"/>
                  <a:gd name="T6" fmla="*/ 146 w 302"/>
                  <a:gd name="T7" fmla="*/ 176 h 439"/>
                  <a:gd name="T8" fmla="*/ 175 w 302"/>
                  <a:gd name="T9" fmla="*/ 166 h 439"/>
                  <a:gd name="T10" fmla="*/ 185 w 302"/>
                  <a:gd name="T11" fmla="*/ 137 h 439"/>
                  <a:gd name="T12" fmla="*/ 156 w 302"/>
                  <a:gd name="T13" fmla="*/ 137 h 439"/>
                  <a:gd name="T14" fmla="*/ 156 w 302"/>
                  <a:gd name="T15" fmla="*/ 117 h 439"/>
                  <a:gd name="T16" fmla="*/ 146 w 302"/>
                  <a:gd name="T17" fmla="*/ 98 h 439"/>
                  <a:gd name="T18" fmla="*/ 156 w 302"/>
                  <a:gd name="T19" fmla="*/ 59 h 439"/>
                  <a:gd name="T20" fmla="*/ 127 w 302"/>
                  <a:gd name="T21" fmla="*/ 39 h 439"/>
                  <a:gd name="T22" fmla="*/ 156 w 302"/>
                  <a:gd name="T23" fmla="*/ 49 h 439"/>
                  <a:gd name="T24" fmla="*/ 166 w 302"/>
                  <a:gd name="T25" fmla="*/ 20 h 439"/>
                  <a:gd name="T26" fmla="*/ 175 w 302"/>
                  <a:gd name="T27" fmla="*/ 10 h 439"/>
                  <a:gd name="T28" fmla="*/ 214 w 302"/>
                  <a:gd name="T29" fmla="*/ 20 h 439"/>
                  <a:gd name="T30" fmla="*/ 234 w 302"/>
                  <a:gd name="T31" fmla="*/ 0 h 439"/>
                  <a:gd name="T32" fmla="*/ 283 w 302"/>
                  <a:gd name="T33" fmla="*/ 78 h 439"/>
                  <a:gd name="T34" fmla="*/ 302 w 302"/>
                  <a:gd name="T35" fmla="*/ 78 h 439"/>
                  <a:gd name="T36" fmla="*/ 293 w 302"/>
                  <a:gd name="T37" fmla="*/ 98 h 439"/>
                  <a:gd name="T38" fmla="*/ 273 w 302"/>
                  <a:gd name="T39" fmla="*/ 108 h 439"/>
                  <a:gd name="T40" fmla="*/ 254 w 302"/>
                  <a:gd name="T41" fmla="*/ 117 h 439"/>
                  <a:gd name="T42" fmla="*/ 263 w 302"/>
                  <a:gd name="T43" fmla="*/ 137 h 439"/>
                  <a:gd name="T44" fmla="*/ 254 w 302"/>
                  <a:gd name="T45" fmla="*/ 156 h 439"/>
                  <a:gd name="T46" fmla="*/ 254 w 302"/>
                  <a:gd name="T47" fmla="*/ 176 h 439"/>
                  <a:gd name="T48" fmla="*/ 244 w 302"/>
                  <a:gd name="T49" fmla="*/ 215 h 439"/>
                  <a:gd name="T50" fmla="*/ 224 w 302"/>
                  <a:gd name="T51" fmla="*/ 225 h 439"/>
                  <a:gd name="T52" fmla="*/ 224 w 302"/>
                  <a:gd name="T53" fmla="*/ 235 h 439"/>
                  <a:gd name="T54" fmla="*/ 254 w 302"/>
                  <a:gd name="T55" fmla="*/ 215 h 439"/>
                  <a:gd name="T56" fmla="*/ 244 w 302"/>
                  <a:gd name="T57" fmla="*/ 235 h 439"/>
                  <a:gd name="T58" fmla="*/ 214 w 302"/>
                  <a:gd name="T59" fmla="*/ 244 h 439"/>
                  <a:gd name="T60" fmla="*/ 205 w 302"/>
                  <a:gd name="T61" fmla="*/ 254 h 439"/>
                  <a:gd name="T62" fmla="*/ 205 w 302"/>
                  <a:gd name="T63" fmla="*/ 274 h 439"/>
                  <a:gd name="T64" fmla="*/ 185 w 302"/>
                  <a:gd name="T65" fmla="*/ 274 h 439"/>
                  <a:gd name="T66" fmla="*/ 175 w 302"/>
                  <a:gd name="T67" fmla="*/ 303 h 439"/>
                  <a:gd name="T68" fmla="*/ 166 w 302"/>
                  <a:gd name="T69" fmla="*/ 322 h 439"/>
                  <a:gd name="T70" fmla="*/ 166 w 302"/>
                  <a:gd name="T71" fmla="*/ 361 h 439"/>
                  <a:gd name="T72" fmla="*/ 156 w 302"/>
                  <a:gd name="T73" fmla="*/ 410 h 439"/>
                  <a:gd name="T74" fmla="*/ 136 w 302"/>
                  <a:gd name="T75" fmla="*/ 439 h 439"/>
                  <a:gd name="T76" fmla="*/ 88 w 302"/>
                  <a:gd name="T77" fmla="*/ 439 h 439"/>
                  <a:gd name="T78" fmla="*/ 58 w 302"/>
                  <a:gd name="T79" fmla="*/ 439 h 439"/>
                  <a:gd name="T80" fmla="*/ 29 w 302"/>
                  <a:gd name="T81" fmla="*/ 420 h 439"/>
                  <a:gd name="T82" fmla="*/ 29 w 302"/>
                  <a:gd name="T83" fmla="*/ 391 h 439"/>
                  <a:gd name="T84" fmla="*/ 29 w 302"/>
                  <a:gd name="T85" fmla="*/ 371 h 439"/>
                  <a:gd name="T86" fmla="*/ 29 w 302"/>
                  <a:gd name="T87" fmla="*/ 332 h 439"/>
                  <a:gd name="T88" fmla="*/ 19 w 302"/>
                  <a:gd name="T89" fmla="*/ 313 h 439"/>
                  <a:gd name="T90" fmla="*/ 10 w 302"/>
                  <a:gd name="T91" fmla="*/ 274 h 439"/>
                  <a:gd name="T92" fmla="*/ 0 w 302"/>
                  <a:gd name="T93" fmla="*/ 235 h 439"/>
                  <a:gd name="T94" fmla="*/ 19 w 302"/>
                  <a:gd name="T95" fmla="*/ 215 h 439"/>
                  <a:gd name="T96" fmla="*/ 49 w 302"/>
                  <a:gd name="T97" fmla="*/ 215 h 439"/>
                  <a:gd name="T98" fmla="*/ 78 w 302"/>
                  <a:gd name="T99" fmla="*/ 196 h 439"/>
                  <a:gd name="T100" fmla="*/ 88 w 302"/>
                  <a:gd name="T101" fmla="*/ 225 h 43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2"/>
                  <a:gd name="T154" fmla="*/ 0 h 439"/>
                  <a:gd name="T155" fmla="*/ 302 w 302"/>
                  <a:gd name="T156" fmla="*/ 439 h 43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  <a:lnTo>
                      <a:pt x="88" y="225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5" name="Freeform 323"/>
              <p:cNvSpPr>
                <a:spLocks/>
              </p:cNvSpPr>
              <p:nvPr/>
            </p:nvSpPr>
            <p:spPr bwMode="auto">
              <a:xfrm>
                <a:off x="956" y="3072"/>
                <a:ext cx="302" cy="440"/>
              </a:xfrm>
              <a:custGeom>
                <a:avLst/>
                <a:gdLst>
                  <a:gd name="T0" fmla="*/ 97 w 302"/>
                  <a:gd name="T1" fmla="*/ 225 h 439"/>
                  <a:gd name="T2" fmla="*/ 127 w 302"/>
                  <a:gd name="T3" fmla="*/ 205 h 439"/>
                  <a:gd name="T4" fmla="*/ 127 w 302"/>
                  <a:gd name="T5" fmla="*/ 176 h 439"/>
                  <a:gd name="T6" fmla="*/ 146 w 302"/>
                  <a:gd name="T7" fmla="*/ 176 h 439"/>
                  <a:gd name="T8" fmla="*/ 175 w 302"/>
                  <a:gd name="T9" fmla="*/ 166 h 439"/>
                  <a:gd name="T10" fmla="*/ 185 w 302"/>
                  <a:gd name="T11" fmla="*/ 137 h 439"/>
                  <a:gd name="T12" fmla="*/ 156 w 302"/>
                  <a:gd name="T13" fmla="*/ 137 h 439"/>
                  <a:gd name="T14" fmla="*/ 156 w 302"/>
                  <a:gd name="T15" fmla="*/ 117 h 439"/>
                  <a:gd name="T16" fmla="*/ 146 w 302"/>
                  <a:gd name="T17" fmla="*/ 98 h 439"/>
                  <a:gd name="T18" fmla="*/ 156 w 302"/>
                  <a:gd name="T19" fmla="*/ 59 h 439"/>
                  <a:gd name="T20" fmla="*/ 127 w 302"/>
                  <a:gd name="T21" fmla="*/ 39 h 439"/>
                  <a:gd name="T22" fmla="*/ 156 w 302"/>
                  <a:gd name="T23" fmla="*/ 49 h 439"/>
                  <a:gd name="T24" fmla="*/ 166 w 302"/>
                  <a:gd name="T25" fmla="*/ 20 h 439"/>
                  <a:gd name="T26" fmla="*/ 175 w 302"/>
                  <a:gd name="T27" fmla="*/ 10 h 439"/>
                  <a:gd name="T28" fmla="*/ 214 w 302"/>
                  <a:gd name="T29" fmla="*/ 20 h 439"/>
                  <a:gd name="T30" fmla="*/ 234 w 302"/>
                  <a:gd name="T31" fmla="*/ 0 h 439"/>
                  <a:gd name="T32" fmla="*/ 283 w 302"/>
                  <a:gd name="T33" fmla="*/ 78 h 439"/>
                  <a:gd name="T34" fmla="*/ 302 w 302"/>
                  <a:gd name="T35" fmla="*/ 78 h 439"/>
                  <a:gd name="T36" fmla="*/ 293 w 302"/>
                  <a:gd name="T37" fmla="*/ 98 h 439"/>
                  <a:gd name="T38" fmla="*/ 273 w 302"/>
                  <a:gd name="T39" fmla="*/ 108 h 439"/>
                  <a:gd name="T40" fmla="*/ 254 w 302"/>
                  <a:gd name="T41" fmla="*/ 117 h 439"/>
                  <a:gd name="T42" fmla="*/ 263 w 302"/>
                  <a:gd name="T43" fmla="*/ 137 h 439"/>
                  <a:gd name="T44" fmla="*/ 254 w 302"/>
                  <a:gd name="T45" fmla="*/ 156 h 439"/>
                  <a:gd name="T46" fmla="*/ 254 w 302"/>
                  <a:gd name="T47" fmla="*/ 176 h 439"/>
                  <a:gd name="T48" fmla="*/ 244 w 302"/>
                  <a:gd name="T49" fmla="*/ 215 h 439"/>
                  <a:gd name="T50" fmla="*/ 224 w 302"/>
                  <a:gd name="T51" fmla="*/ 225 h 439"/>
                  <a:gd name="T52" fmla="*/ 224 w 302"/>
                  <a:gd name="T53" fmla="*/ 235 h 439"/>
                  <a:gd name="T54" fmla="*/ 254 w 302"/>
                  <a:gd name="T55" fmla="*/ 215 h 439"/>
                  <a:gd name="T56" fmla="*/ 244 w 302"/>
                  <a:gd name="T57" fmla="*/ 235 h 439"/>
                  <a:gd name="T58" fmla="*/ 214 w 302"/>
                  <a:gd name="T59" fmla="*/ 244 h 439"/>
                  <a:gd name="T60" fmla="*/ 205 w 302"/>
                  <a:gd name="T61" fmla="*/ 254 h 439"/>
                  <a:gd name="T62" fmla="*/ 205 w 302"/>
                  <a:gd name="T63" fmla="*/ 274 h 439"/>
                  <a:gd name="T64" fmla="*/ 185 w 302"/>
                  <a:gd name="T65" fmla="*/ 274 h 439"/>
                  <a:gd name="T66" fmla="*/ 175 w 302"/>
                  <a:gd name="T67" fmla="*/ 303 h 439"/>
                  <a:gd name="T68" fmla="*/ 166 w 302"/>
                  <a:gd name="T69" fmla="*/ 322 h 439"/>
                  <a:gd name="T70" fmla="*/ 166 w 302"/>
                  <a:gd name="T71" fmla="*/ 361 h 439"/>
                  <a:gd name="T72" fmla="*/ 156 w 302"/>
                  <a:gd name="T73" fmla="*/ 410 h 439"/>
                  <a:gd name="T74" fmla="*/ 136 w 302"/>
                  <a:gd name="T75" fmla="*/ 439 h 439"/>
                  <a:gd name="T76" fmla="*/ 88 w 302"/>
                  <a:gd name="T77" fmla="*/ 439 h 439"/>
                  <a:gd name="T78" fmla="*/ 58 w 302"/>
                  <a:gd name="T79" fmla="*/ 439 h 439"/>
                  <a:gd name="T80" fmla="*/ 29 w 302"/>
                  <a:gd name="T81" fmla="*/ 420 h 439"/>
                  <a:gd name="T82" fmla="*/ 29 w 302"/>
                  <a:gd name="T83" fmla="*/ 391 h 439"/>
                  <a:gd name="T84" fmla="*/ 29 w 302"/>
                  <a:gd name="T85" fmla="*/ 371 h 439"/>
                  <a:gd name="T86" fmla="*/ 29 w 302"/>
                  <a:gd name="T87" fmla="*/ 332 h 439"/>
                  <a:gd name="T88" fmla="*/ 19 w 302"/>
                  <a:gd name="T89" fmla="*/ 313 h 439"/>
                  <a:gd name="T90" fmla="*/ 10 w 302"/>
                  <a:gd name="T91" fmla="*/ 274 h 439"/>
                  <a:gd name="T92" fmla="*/ 0 w 302"/>
                  <a:gd name="T93" fmla="*/ 235 h 439"/>
                  <a:gd name="T94" fmla="*/ 19 w 302"/>
                  <a:gd name="T95" fmla="*/ 215 h 439"/>
                  <a:gd name="T96" fmla="*/ 49 w 302"/>
                  <a:gd name="T97" fmla="*/ 215 h 439"/>
                  <a:gd name="T98" fmla="*/ 78 w 302"/>
                  <a:gd name="T99" fmla="*/ 196 h 43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02"/>
                  <a:gd name="T151" fmla="*/ 0 h 439"/>
                  <a:gd name="T152" fmla="*/ 302 w 302"/>
                  <a:gd name="T153" fmla="*/ 439 h 43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5" name="Freeform 321"/>
            <p:cNvSpPr>
              <a:spLocks/>
            </p:cNvSpPr>
            <p:nvPr/>
          </p:nvSpPr>
          <p:spPr bwMode="auto">
            <a:xfrm>
              <a:off x="3171" y="2691"/>
              <a:ext cx="692" cy="529"/>
            </a:xfrm>
            <a:custGeom>
              <a:avLst/>
              <a:gdLst>
                <a:gd name="T0" fmla="*/ 263 w 693"/>
                <a:gd name="T1" fmla="*/ 517 h 527"/>
                <a:gd name="T2" fmla="*/ 283 w 693"/>
                <a:gd name="T3" fmla="*/ 497 h 527"/>
                <a:gd name="T4" fmla="*/ 293 w 693"/>
                <a:gd name="T5" fmla="*/ 468 h 527"/>
                <a:gd name="T6" fmla="*/ 312 w 693"/>
                <a:gd name="T7" fmla="*/ 449 h 527"/>
                <a:gd name="T8" fmla="*/ 322 w 693"/>
                <a:gd name="T9" fmla="*/ 449 h 527"/>
                <a:gd name="T10" fmla="*/ 332 w 693"/>
                <a:gd name="T11" fmla="*/ 429 h 527"/>
                <a:gd name="T12" fmla="*/ 342 w 693"/>
                <a:gd name="T13" fmla="*/ 429 h 527"/>
                <a:gd name="T14" fmla="*/ 342 w 693"/>
                <a:gd name="T15" fmla="*/ 410 h 527"/>
                <a:gd name="T16" fmla="*/ 361 w 693"/>
                <a:gd name="T17" fmla="*/ 400 h 527"/>
                <a:gd name="T18" fmla="*/ 361 w 693"/>
                <a:gd name="T19" fmla="*/ 390 h 527"/>
                <a:gd name="T20" fmla="*/ 400 w 693"/>
                <a:gd name="T21" fmla="*/ 390 h 527"/>
                <a:gd name="T22" fmla="*/ 410 w 693"/>
                <a:gd name="T23" fmla="*/ 371 h 527"/>
                <a:gd name="T24" fmla="*/ 390 w 693"/>
                <a:gd name="T25" fmla="*/ 312 h 527"/>
                <a:gd name="T26" fmla="*/ 351 w 693"/>
                <a:gd name="T27" fmla="*/ 293 h 527"/>
                <a:gd name="T28" fmla="*/ 381 w 693"/>
                <a:gd name="T29" fmla="*/ 293 h 527"/>
                <a:gd name="T30" fmla="*/ 390 w 693"/>
                <a:gd name="T31" fmla="*/ 283 h 527"/>
                <a:gd name="T32" fmla="*/ 390 w 693"/>
                <a:gd name="T33" fmla="*/ 234 h 527"/>
                <a:gd name="T34" fmla="*/ 439 w 693"/>
                <a:gd name="T35" fmla="*/ 185 h 527"/>
                <a:gd name="T36" fmla="*/ 449 w 693"/>
                <a:gd name="T37" fmla="*/ 215 h 527"/>
                <a:gd name="T38" fmla="*/ 449 w 693"/>
                <a:gd name="T39" fmla="*/ 244 h 527"/>
                <a:gd name="T40" fmla="*/ 468 w 693"/>
                <a:gd name="T41" fmla="*/ 254 h 527"/>
                <a:gd name="T42" fmla="*/ 507 w 693"/>
                <a:gd name="T43" fmla="*/ 293 h 527"/>
                <a:gd name="T44" fmla="*/ 546 w 693"/>
                <a:gd name="T45" fmla="*/ 293 h 527"/>
                <a:gd name="T46" fmla="*/ 595 w 693"/>
                <a:gd name="T47" fmla="*/ 302 h 527"/>
                <a:gd name="T48" fmla="*/ 624 w 693"/>
                <a:gd name="T49" fmla="*/ 312 h 527"/>
                <a:gd name="T50" fmla="*/ 654 w 693"/>
                <a:gd name="T51" fmla="*/ 293 h 527"/>
                <a:gd name="T52" fmla="*/ 683 w 693"/>
                <a:gd name="T53" fmla="*/ 283 h 527"/>
                <a:gd name="T54" fmla="*/ 663 w 693"/>
                <a:gd name="T55" fmla="*/ 263 h 527"/>
                <a:gd name="T56" fmla="*/ 624 w 693"/>
                <a:gd name="T57" fmla="*/ 234 h 527"/>
                <a:gd name="T58" fmla="*/ 585 w 693"/>
                <a:gd name="T59" fmla="*/ 205 h 527"/>
                <a:gd name="T60" fmla="*/ 585 w 693"/>
                <a:gd name="T61" fmla="*/ 175 h 527"/>
                <a:gd name="T62" fmla="*/ 566 w 693"/>
                <a:gd name="T63" fmla="*/ 166 h 527"/>
                <a:gd name="T64" fmla="*/ 566 w 693"/>
                <a:gd name="T65" fmla="*/ 136 h 527"/>
                <a:gd name="T66" fmla="*/ 537 w 693"/>
                <a:gd name="T67" fmla="*/ 68 h 527"/>
                <a:gd name="T68" fmla="*/ 498 w 693"/>
                <a:gd name="T69" fmla="*/ 39 h 527"/>
                <a:gd name="T70" fmla="*/ 468 w 693"/>
                <a:gd name="T71" fmla="*/ 19 h 527"/>
                <a:gd name="T72" fmla="*/ 449 w 693"/>
                <a:gd name="T73" fmla="*/ 0 h 527"/>
                <a:gd name="T74" fmla="*/ 420 w 693"/>
                <a:gd name="T75" fmla="*/ 0 h 527"/>
                <a:gd name="T76" fmla="*/ 410 w 693"/>
                <a:gd name="T77" fmla="*/ 19 h 527"/>
                <a:gd name="T78" fmla="*/ 361 w 693"/>
                <a:gd name="T79" fmla="*/ 29 h 527"/>
                <a:gd name="T80" fmla="*/ 332 w 693"/>
                <a:gd name="T81" fmla="*/ 49 h 527"/>
                <a:gd name="T82" fmla="*/ 303 w 693"/>
                <a:gd name="T83" fmla="*/ 49 h 527"/>
                <a:gd name="T84" fmla="*/ 263 w 693"/>
                <a:gd name="T85" fmla="*/ 39 h 527"/>
                <a:gd name="T86" fmla="*/ 234 w 693"/>
                <a:gd name="T87" fmla="*/ 39 h 527"/>
                <a:gd name="T88" fmla="*/ 215 w 693"/>
                <a:gd name="T89" fmla="*/ 68 h 527"/>
                <a:gd name="T90" fmla="*/ 176 w 693"/>
                <a:gd name="T91" fmla="*/ 58 h 527"/>
                <a:gd name="T92" fmla="*/ 166 w 693"/>
                <a:gd name="T93" fmla="*/ 117 h 527"/>
                <a:gd name="T94" fmla="*/ 107 w 693"/>
                <a:gd name="T95" fmla="*/ 117 h 527"/>
                <a:gd name="T96" fmla="*/ 49 w 693"/>
                <a:gd name="T97" fmla="*/ 146 h 527"/>
                <a:gd name="T98" fmla="*/ 49 w 693"/>
                <a:gd name="T99" fmla="*/ 185 h 527"/>
                <a:gd name="T100" fmla="*/ 0 w 693"/>
                <a:gd name="T101" fmla="*/ 224 h 527"/>
                <a:gd name="T102" fmla="*/ 10 w 693"/>
                <a:gd name="T103" fmla="*/ 263 h 527"/>
                <a:gd name="T104" fmla="*/ 29 w 693"/>
                <a:gd name="T105" fmla="*/ 312 h 527"/>
                <a:gd name="T106" fmla="*/ 78 w 693"/>
                <a:gd name="T107" fmla="*/ 341 h 527"/>
                <a:gd name="T108" fmla="*/ 88 w 693"/>
                <a:gd name="T109" fmla="*/ 380 h 527"/>
                <a:gd name="T110" fmla="*/ 127 w 693"/>
                <a:gd name="T111" fmla="*/ 410 h 527"/>
                <a:gd name="T112" fmla="*/ 146 w 693"/>
                <a:gd name="T113" fmla="*/ 419 h 527"/>
                <a:gd name="T114" fmla="*/ 166 w 693"/>
                <a:gd name="T115" fmla="*/ 468 h 527"/>
                <a:gd name="T116" fmla="*/ 195 w 693"/>
                <a:gd name="T117" fmla="*/ 468 h 527"/>
                <a:gd name="T118" fmla="*/ 205 w 693"/>
                <a:gd name="T119" fmla="*/ 478 h 527"/>
                <a:gd name="T120" fmla="*/ 234 w 693"/>
                <a:gd name="T121" fmla="*/ 517 h 527"/>
                <a:gd name="T122" fmla="*/ 254 w 693"/>
                <a:gd name="T123" fmla="*/ 517 h 52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93"/>
                <a:gd name="T187" fmla="*/ 0 h 527"/>
                <a:gd name="T188" fmla="*/ 693 w 693"/>
                <a:gd name="T189" fmla="*/ 527 h 52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93" h="527">
                  <a:moveTo>
                    <a:pt x="263" y="517"/>
                  </a:moveTo>
                  <a:lnTo>
                    <a:pt x="263" y="517"/>
                  </a:lnTo>
                  <a:lnTo>
                    <a:pt x="263" y="497"/>
                  </a:lnTo>
                  <a:lnTo>
                    <a:pt x="283" y="497"/>
                  </a:lnTo>
                  <a:lnTo>
                    <a:pt x="293" y="488"/>
                  </a:lnTo>
                  <a:lnTo>
                    <a:pt x="293" y="468"/>
                  </a:lnTo>
                  <a:lnTo>
                    <a:pt x="293" y="458"/>
                  </a:lnTo>
                  <a:lnTo>
                    <a:pt x="312" y="449"/>
                  </a:lnTo>
                  <a:lnTo>
                    <a:pt x="322" y="449"/>
                  </a:lnTo>
                  <a:lnTo>
                    <a:pt x="322" y="429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32" y="419"/>
                  </a:lnTo>
                  <a:lnTo>
                    <a:pt x="342" y="410"/>
                  </a:lnTo>
                  <a:lnTo>
                    <a:pt x="361" y="410"/>
                  </a:lnTo>
                  <a:lnTo>
                    <a:pt x="361" y="400"/>
                  </a:lnTo>
                  <a:lnTo>
                    <a:pt x="361" y="390"/>
                  </a:lnTo>
                  <a:lnTo>
                    <a:pt x="381" y="410"/>
                  </a:lnTo>
                  <a:lnTo>
                    <a:pt x="400" y="390"/>
                  </a:lnTo>
                  <a:lnTo>
                    <a:pt x="410" y="380"/>
                  </a:lnTo>
                  <a:lnTo>
                    <a:pt x="410" y="371"/>
                  </a:lnTo>
                  <a:lnTo>
                    <a:pt x="400" y="332"/>
                  </a:lnTo>
                  <a:lnTo>
                    <a:pt x="390" y="312"/>
                  </a:lnTo>
                  <a:lnTo>
                    <a:pt x="361" y="312"/>
                  </a:lnTo>
                  <a:lnTo>
                    <a:pt x="351" y="293"/>
                  </a:lnTo>
                  <a:lnTo>
                    <a:pt x="361" y="293"/>
                  </a:lnTo>
                  <a:lnTo>
                    <a:pt x="381" y="293"/>
                  </a:lnTo>
                  <a:lnTo>
                    <a:pt x="390" y="293"/>
                  </a:lnTo>
                  <a:lnTo>
                    <a:pt x="390" y="283"/>
                  </a:lnTo>
                  <a:lnTo>
                    <a:pt x="390" y="254"/>
                  </a:lnTo>
                  <a:lnTo>
                    <a:pt x="390" y="234"/>
                  </a:lnTo>
                  <a:lnTo>
                    <a:pt x="420" y="205"/>
                  </a:lnTo>
                  <a:lnTo>
                    <a:pt x="439" y="185"/>
                  </a:lnTo>
                  <a:lnTo>
                    <a:pt x="449" y="195"/>
                  </a:lnTo>
                  <a:lnTo>
                    <a:pt x="449" y="215"/>
                  </a:lnTo>
                  <a:lnTo>
                    <a:pt x="449" y="234"/>
                  </a:lnTo>
                  <a:lnTo>
                    <a:pt x="449" y="244"/>
                  </a:lnTo>
                  <a:lnTo>
                    <a:pt x="449" y="254"/>
                  </a:lnTo>
                  <a:lnTo>
                    <a:pt x="468" y="254"/>
                  </a:lnTo>
                  <a:lnTo>
                    <a:pt x="488" y="263"/>
                  </a:lnTo>
                  <a:lnTo>
                    <a:pt x="507" y="293"/>
                  </a:lnTo>
                  <a:lnTo>
                    <a:pt x="527" y="293"/>
                  </a:lnTo>
                  <a:lnTo>
                    <a:pt x="546" y="293"/>
                  </a:lnTo>
                  <a:lnTo>
                    <a:pt x="566" y="283"/>
                  </a:lnTo>
                  <a:lnTo>
                    <a:pt x="595" y="302"/>
                  </a:lnTo>
                  <a:lnTo>
                    <a:pt x="605" y="312"/>
                  </a:lnTo>
                  <a:lnTo>
                    <a:pt x="624" y="312"/>
                  </a:lnTo>
                  <a:lnTo>
                    <a:pt x="644" y="302"/>
                  </a:lnTo>
                  <a:lnTo>
                    <a:pt x="654" y="293"/>
                  </a:lnTo>
                  <a:lnTo>
                    <a:pt x="663" y="283"/>
                  </a:lnTo>
                  <a:lnTo>
                    <a:pt x="683" y="283"/>
                  </a:lnTo>
                  <a:lnTo>
                    <a:pt x="693" y="273"/>
                  </a:lnTo>
                  <a:lnTo>
                    <a:pt x="663" y="263"/>
                  </a:lnTo>
                  <a:lnTo>
                    <a:pt x="654" y="254"/>
                  </a:lnTo>
                  <a:lnTo>
                    <a:pt x="624" y="234"/>
                  </a:lnTo>
                  <a:lnTo>
                    <a:pt x="605" y="224"/>
                  </a:lnTo>
                  <a:lnTo>
                    <a:pt x="585" y="205"/>
                  </a:lnTo>
                  <a:lnTo>
                    <a:pt x="576" y="185"/>
                  </a:lnTo>
                  <a:lnTo>
                    <a:pt x="585" y="175"/>
                  </a:lnTo>
                  <a:lnTo>
                    <a:pt x="585" y="166"/>
                  </a:lnTo>
                  <a:lnTo>
                    <a:pt x="566" y="166"/>
                  </a:lnTo>
                  <a:lnTo>
                    <a:pt x="566" y="156"/>
                  </a:lnTo>
                  <a:lnTo>
                    <a:pt x="566" y="136"/>
                  </a:lnTo>
                  <a:lnTo>
                    <a:pt x="566" y="107"/>
                  </a:lnTo>
                  <a:lnTo>
                    <a:pt x="537" y="68"/>
                  </a:lnTo>
                  <a:lnTo>
                    <a:pt x="517" y="49"/>
                  </a:lnTo>
                  <a:lnTo>
                    <a:pt x="498" y="39"/>
                  </a:lnTo>
                  <a:lnTo>
                    <a:pt x="478" y="29"/>
                  </a:lnTo>
                  <a:lnTo>
                    <a:pt x="468" y="19"/>
                  </a:lnTo>
                  <a:lnTo>
                    <a:pt x="449" y="19"/>
                  </a:lnTo>
                  <a:lnTo>
                    <a:pt x="449" y="0"/>
                  </a:lnTo>
                  <a:lnTo>
                    <a:pt x="429" y="0"/>
                  </a:lnTo>
                  <a:lnTo>
                    <a:pt x="420" y="0"/>
                  </a:lnTo>
                  <a:lnTo>
                    <a:pt x="420" y="10"/>
                  </a:lnTo>
                  <a:lnTo>
                    <a:pt x="410" y="19"/>
                  </a:lnTo>
                  <a:lnTo>
                    <a:pt x="381" y="29"/>
                  </a:lnTo>
                  <a:lnTo>
                    <a:pt x="361" y="29"/>
                  </a:lnTo>
                  <a:lnTo>
                    <a:pt x="361" y="49"/>
                  </a:lnTo>
                  <a:lnTo>
                    <a:pt x="332" y="49"/>
                  </a:lnTo>
                  <a:lnTo>
                    <a:pt x="322" y="39"/>
                  </a:lnTo>
                  <a:lnTo>
                    <a:pt x="303" y="49"/>
                  </a:lnTo>
                  <a:lnTo>
                    <a:pt x="283" y="49"/>
                  </a:lnTo>
                  <a:lnTo>
                    <a:pt x="263" y="39"/>
                  </a:lnTo>
                  <a:lnTo>
                    <a:pt x="254" y="39"/>
                  </a:lnTo>
                  <a:lnTo>
                    <a:pt x="234" y="39"/>
                  </a:lnTo>
                  <a:lnTo>
                    <a:pt x="234" y="68"/>
                  </a:lnTo>
                  <a:lnTo>
                    <a:pt x="215" y="68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66" y="88"/>
                  </a:lnTo>
                  <a:lnTo>
                    <a:pt x="166" y="117"/>
                  </a:lnTo>
                  <a:lnTo>
                    <a:pt x="127" y="117"/>
                  </a:lnTo>
                  <a:lnTo>
                    <a:pt x="107" y="117"/>
                  </a:lnTo>
                  <a:lnTo>
                    <a:pt x="59" y="117"/>
                  </a:lnTo>
                  <a:lnTo>
                    <a:pt x="49" y="146"/>
                  </a:lnTo>
                  <a:lnTo>
                    <a:pt x="49" y="166"/>
                  </a:lnTo>
                  <a:lnTo>
                    <a:pt x="49" y="185"/>
                  </a:lnTo>
                  <a:lnTo>
                    <a:pt x="20" y="205"/>
                  </a:lnTo>
                  <a:lnTo>
                    <a:pt x="0" y="224"/>
                  </a:lnTo>
                  <a:lnTo>
                    <a:pt x="0" y="244"/>
                  </a:lnTo>
                  <a:lnTo>
                    <a:pt x="10" y="263"/>
                  </a:lnTo>
                  <a:lnTo>
                    <a:pt x="20" y="283"/>
                  </a:lnTo>
                  <a:lnTo>
                    <a:pt x="29" y="312"/>
                  </a:lnTo>
                  <a:lnTo>
                    <a:pt x="49" y="332"/>
                  </a:lnTo>
                  <a:lnTo>
                    <a:pt x="78" y="341"/>
                  </a:lnTo>
                  <a:lnTo>
                    <a:pt x="88" y="361"/>
                  </a:lnTo>
                  <a:lnTo>
                    <a:pt x="88" y="380"/>
                  </a:lnTo>
                  <a:lnTo>
                    <a:pt x="107" y="390"/>
                  </a:lnTo>
                  <a:lnTo>
                    <a:pt x="127" y="410"/>
                  </a:lnTo>
                  <a:lnTo>
                    <a:pt x="146" y="400"/>
                  </a:lnTo>
                  <a:lnTo>
                    <a:pt x="146" y="419"/>
                  </a:lnTo>
                  <a:lnTo>
                    <a:pt x="156" y="429"/>
                  </a:lnTo>
                  <a:lnTo>
                    <a:pt x="166" y="468"/>
                  </a:lnTo>
                  <a:lnTo>
                    <a:pt x="185" y="468"/>
                  </a:lnTo>
                  <a:lnTo>
                    <a:pt x="195" y="468"/>
                  </a:lnTo>
                  <a:lnTo>
                    <a:pt x="195" y="478"/>
                  </a:lnTo>
                  <a:lnTo>
                    <a:pt x="205" y="478"/>
                  </a:lnTo>
                  <a:lnTo>
                    <a:pt x="215" y="497"/>
                  </a:lnTo>
                  <a:lnTo>
                    <a:pt x="234" y="517"/>
                  </a:lnTo>
                  <a:lnTo>
                    <a:pt x="244" y="527"/>
                  </a:lnTo>
                  <a:lnTo>
                    <a:pt x="254" y="517"/>
                  </a:lnTo>
                  <a:lnTo>
                    <a:pt x="263" y="517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320"/>
            <p:cNvSpPr>
              <a:spLocks/>
            </p:cNvSpPr>
            <p:nvPr/>
          </p:nvSpPr>
          <p:spPr bwMode="auto">
            <a:xfrm>
              <a:off x="3413" y="2877"/>
              <a:ext cx="450" cy="618"/>
            </a:xfrm>
            <a:custGeom>
              <a:avLst/>
              <a:gdLst>
                <a:gd name="T0" fmla="*/ 166 w 449"/>
                <a:gd name="T1" fmla="*/ 195 h 615"/>
                <a:gd name="T2" fmla="*/ 146 w 449"/>
                <a:gd name="T3" fmla="*/ 127 h 615"/>
                <a:gd name="T4" fmla="*/ 117 w 449"/>
                <a:gd name="T5" fmla="*/ 108 h 615"/>
                <a:gd name="T6" fmla="*/ 146 w 449"/>
                <a:gd name="T7" fmla="*/ 98 h 615"/>
                <a:gd name="T8" fmla="*/ 176 w 449"/>
                <a:gd name="T9" fmla="*/ 20 h 615"/>
                <a:gd name="T10" fmla="*/ 205 w 449"/>
                <a:gd name="T11" fmla="*/ 30 h 615"/>
                <a:gd name="T12" fmla="*/ 205 w 449"/>
                <a:gd name="T13" fmla="*/ 69 h 615"/>
                <a:gd name="T14" fmla="*/ 273 w 449"/>
                <a:gd name="T15" fmla="*/ 108 h 615"/>
                <a:gd name="T16" fmla="*/ 322 w 449"/>
                <a:gd name="T17" fmla="*/ 98 h 615"/>
                <a:gd name="T18" fmla="*/ 380 w 449"/>
                <a:gd name="T19" fmla="*/ 127 h 615"/>
                <a:gd name="T20" fmla="*/ 419 w 449"/>
                <a:gd name="T21" fmla="*/ 98 h 615"/>
                <a:gd name="T22" fmla="*/ 449 w 449"/>
                <a:gd name="T23" fmla="*/ 108 h 615"/>
                <a:gd name="T24" fmla="*/ 419 w 449"/>
                <a:gd name="T25" fmla="*/ 127 h 615"/>
                <a:gd name="T26" fmla="*/ 419 w 449"/>
                <a:gd name="T27" fmla="*/ 147 h 615"/>
                <a:gd name="T28" fmla="*/ 449 w 449"/>
                <a:gd name="T29" fmla="*/ 186 h 615"/>
                <a:gd name="T30" fmla="*/ 419 w 449"/>
                <a:gd name="T31" fmla="*/ 225 h 615"/>
                <a:gd name="T32" fmla="*/ 429 w 449"/>
                <a:gd name="T33" fmla="*/ 293 h 615"/>
                <a:gd name="T34" fmla="*/ 410 w 449"/>
                <a:gd name="T35" fmla="*/ 332 h 615"/>
                <a:gd name="T36" fmla="*/ 410 w 449"/>
                <a:gd name="T37" fmla="*/ 371 h 615"/>
                <a:gd name="T38" fmla="*/ 390 w 449"/>
                <a:gd name="T39" fmla="*/ 381 h 615"/>
                <a:gd name="T40" fmla="*/ 341 w 449"/>
                <a:gd name="T41" fmla="*/ 381 h 615"/>
                <a:gd name="T42" fmla="*/ 322 w 449"/>
                <a:gd name="T43" fmla="*/ 410 h 615"/>
                <a:gd name="T44" fmla="*/ 302 w 449"/>
                <a:gd name="T45" fmla="*/ 430 h 615"/>
                <a:gd name="T46" fmla="*/ 302 w 449"/>
                <a:gd name="T47" fmla="*/ 488 h 615"/>
                <a:gd name="T48" fmla="*/ 322 w 449"/>
                <a:gd name="T49" fmla="*/ 527 h 615"/>
                <a:gd name="T50" fmla="*/ 293 w 449"/>
                <a:gd name="T51" fmla="*/ 547 h 615"/>
                <a:gd name="T52" fmla="*/ 283 w 449"/>
                <a:gd name="T53" fmla="*/ 586 h 615"/>
                <a:gd name="T54" fmla="*/ 254 w 449"/>
                <a:gd name="T55" fmla="*/ 605 h 615"/>
                <a:gd name="T56" fmla="*/ 195 w 449"/>
                <a:gd name="T57" fmla="*/ 605 h 615"/>
                <a:gd name="T58" fmla="*/ 166 w 449"/>
                <a:gd name="T59" fmla="*/ 615 h 615"/>
                <a:gd name="T60" fmla="*/ 137 w 449"/>
                <a:gd name="T61" fmla="*/ 595 h 615"/>
                <a:gd name="T62" fmla="*/ 107 w 449"/>
                <a:gd name="T63" fmla="*/ 595 h 615"/>
                <a:gd name="T64" fmla="*/ 127 w 449"/>
                <a:gd name="T65" fmla="*/ 556 h 615"/>
                <a:gd name="T66" fmla="*/ 156 w 449"/>
                <a:gd name="T67" fmla="*/ 547 h 615"/>
                <a:gd name="T68" fmla="*/ 127 w 449"/>
                <a:gd name="T69" fmla="*/ 547 h 615"/>
                <a:gd name="T70" fmla="*/ 107 w 449"/>
                <a:gd name="T71" fmla="*/ 517 h 615"/>
                <a:gd name="T72" fmla="*/ 88 w 449"/>
                <a:gd name="T73" fmla="*/ 527 h 615"/>
                <a:gd name="T74" fmla="*/ 78 w 449"/>
                <a:gd name="T75" fmla="*/ 508 h 615"/>
                <a:gd name="T76" fmla="*/ 78 w 449"/>
                <a:gd name="T77" fmla="*/ 478 h 615"/>
                <a:gd name="T78" fmla="*/ 68 w 449"/>
                <a:gd name="T79" fmla="*/ 488 h 615"/>
                <a:gd name="T80" fmla="*/ 49 w 449"/>
                <a:gd name="T81" fmla="*/ 478 h 615"/>
                <a:gd name="T82" fmla="*/ 19 w 449"/>
                <a:gd name="T83" fmla="*/ 478 h 615"/>
                <a:gd name="T84" fmla="*/ 0 w 449"/>
                <a:gd name="T85" fmla="*/ 469 h 615"/>
                <a:gd name="T86" fmla="*/ 19 w 449"/>
                <a:gd name="T87" fmla="*/ 430 h 615"/>
                <a:gd name="T88" fmla="*/ 29 w 449"/>
                <a:gd name="T89" fmla="*/ 400 h 615"/>
                <a:gd name="T90" fmla="*/ 39 w 449"/>
                <a:gd name="T91" fmla="*/ 351 h 615"/>
                <a:gd name="T92" fmla="*/ 29 w 449"/>
                <a:gd name="T93" fmla="*/ 312 h 615"/>
                <a:gd name="T94" fmla="*/ 49 w 449"/>
                <a:gd name="T95" fmla="*/ 293 h 615"/>
                <a:gd name="T96" fmla="*/ 78 w 449"/>
                <a:gd name="T97" fmla="*/ 273 h 615"/>
                <a:gd name="T98" fmla="*/ 88 w 449"/>
                <a:gd name="T99" fmla="*/ 254 h 615"/>
                <a:gd name="T100" fmla="*/ 98 w 449"/>
                <a:gd name="T101" fmla="*/ 234 h 615"/>
                <a:gd name="T102" fmla="*/ 117 w 449"/>
                <a:gd name="T103" fmla="*/ 215 h 615"/>
                <a:gd name="T104" fmla="*/ 137 w 449"/>
                <a:gd name="T105" fmla="*/ 225 h 6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49"/>
                <a:gd name="T160" fmla="*/ 0 h 615"/>
                <a:gd name="T161" fmla="*/ 449 w 449"/>
                <a:gd name="T162" fmla="*/ 615 h 61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49" h="615">
                  <a:moveTo>
                    <a:pt x="137" y="225"/>
                  </a:moveTo>
                  <a:lnTo>
                    <a:pt x="156" y="215"/>
                  </a:lnTo>
                  <a:lnTo>
                    <a:pt x="166" y="195"/>
                  </a:lnTo>
                  <a:lnTo>
                    <a:pt x="166" y="186"/>
                  </a:lnTo>
                  <a:lnTo>
                    <a:pt x="156" y="156"/>
                  </a:lnTo>
                  <a:lnTo>
                    <a:pt x="146" y="12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117" y="108"/>
                  </a:lnTo>
                  <a:lnTo>
                    <a:pt x="137" y="108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46" y="69"/>
                  </a:lnTo>
                  <a:lnTo>
                    <a:pt x="146" y="59"/>
                  </a:lnTo>
                  <a:lnTo>
                    <a:pt x="176" y="20"/>
                  </a:lnTo>
                  <a:lnTo>
                    <a:pt x="195" y="0"/>
                  </a:lnTo>
                  <a:lnTo>
                    <a:pt x="205" y="20"/>
                  </a:lnTo>
                  <a:lnTo>
                    <a:pt x="205" y="30"/>
                  </a:lnTo>
                  <a:lnTo>
                    <a:pt x="205" y="49"/>
                  </a:lnTo>
                  <a:lnTo>
                    <a:pt x="205" y="59"/>
                  </a:lnTo>
                  <a:lnTo>
                    <a:pt x="205" y="69"/>
                  </a:lnTo>
                  <a:lnTo>
                    <a:pt x="224" y="69"/>
                  </a:lnTo>
                  <a:lnTo>
                    <a:pt x="244" y="78"/>
                  </a:lnTo>
                  <a:lnTo>
                    <a:pt x="273" y="108"/>
                  </a:lnTo>
                  <a:lnTo>
                    <a:pt x="283" y="117"/>
                  </a:lnTo>
                  <a:lnTo>
                    <a:pt x="302" y="108"/>
                  </a:lnTo>
                  <a:lnTo>
                    <a:pt x="322" y="98"/>
                  </a:lnTo>
                  <a:lnTo>
                    <a:pt x="351" y="117"/>
                  </a:lnTo>
                  <a:lnTo>
                    <a:pt x="361" y="127"/>
                  </a:lnTo>
                  <a:lnTo>
                    <a:pt x="380" y="127"/>
                  </a:lnTo>
                  <a:lnTo>
                    <a:pt x="400" y="117"/>
                  </a:lnTo>
                  <a:lnTo>
                    <a:pt x="410" y="117"/>
                  </a:lnTo>
                  <a:lnTo>
                    <a:pt x="419" y="98"/>
                  </a:lnTo>
                  <a:lnTo>
                    <a:pt x="439" y="98"/>
                  </a:lnTo>
                  <a:lnTo>
                    <a:pt x="449" y="88"/>
                  </a:lnTo>
                  <a:lnTo>
                    <a:pt x="449" y="108"/>
                  </a:lnTo>
                  <a:lnTo>
                    <a:pt x="439" y="117"/>
                  </a:lnTo>
                  <a:lnTo>
                    <a:pt x="429" y="117"/>
                  </a:lnTo>
                  <a:lnTo>
                    <a:pt x="419" y="127"/>
                  </a:lnTo>
                  <a:lnTo>
                    <a:pt x="429" y="137"/>
                  </a:lnTo>
                  <a:lnTo>
                    <a:pt x="429" y="147"/>
                  </a:lnTo>
                  <a:lnTo>
                    <a:pt x="419" y="147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49" y="186"/>
                  </a:lnTo>
                  <a:lnTo>
                    <a:pt x="429" y="195"/>
                  </a:lnTo>
                  <a:lnTo>
                    <a:pt x="429" y="215"/>
                  </a:lnTo>
                  <a:lnTo>
                    <a:pt x="419" y="225"/>
                  </a:lnTo>
                  <a:lnTo>
                    <a:pt x="429" y="244"/>
                  </a:lnTo>
                  <a:lnTo>
                    <a:pt x="429" y="254"/>
                  </a:lnTo>
                  <a:lnTo>
                    <a:pt x="429" y="293"/>
                  </a:lnTo>
                  <a:lnTo>
                    <a:pt x="429" y="312"/>
                  </a:lnTo>
                  <a:lnTo>
                    <a:pt x="429" y="332"/>
                  </a:lnTo>
                  <a:lnTo>
                    <a:pt x="410" y="332"/>
                  </a:lnTo>
                  <a:lnTo>
                    <a:pt x="400" y="332"/>
                  </a:lnTo>
                  <a:lnTo>
                    <a:pt x="390" y="351"/>
                  </a:lnTo>
                  <a:lnTo>
                    <a:pt x="410" y="371"/>
                  </a:lnTo>
                  <a:lnTo>
                    <a:pt x="410" y="381"/>
                  </a:lnTo>
                  <a:lnTo>
                    <a:pt x="400" y="381"/>
                  </a:lnTo>
                  <a:lnTo>
                    <a:pt x="390" y="381"/>
                  </a:lnTo>
                  <a:lnTo>
                    <a:pt x="380" y="371"/>
                  </a:lnTo>
                  <a:lnTo>
                    <a:pt x="371" y="381"/>
                  </a:lnTo>
                  <a:lnTo>
                    <a:pt x="341" y="381"/>
                  </a:lnTo>
                  <a:lnTo>
                    <a:pt x="332" y="391"/>
                  </a:lnTo>
                  <a:lnTo>
                    <a:pt x="332" y="410"/>
                  </a:lnTo>
                  <a:lnTo>
                    <a:pt x="322" y="410"/>
                  </a:lnTo>
                  <a:lnTo>
                    <a:pt x="312" y="410"/>
                  </a:lnTo>
                  <a:lnTo>
                    <a:pt x="312" y="430"/>
                  </a:lnTo>
                  <a:lnTo>
                    <a:pt x="302" y="430"/>
                  </a:lnTo>
                  <a:lnTo>
                    <a:pt x="293" y="449"/>
                  </a:lnTo>
                  <a:lnTo>
                    <a:pt x="293" y="469"/>
                  </a:lnTo>
                  <a:lnTo>
                    <a:pt x="302" y="488"/>
                  </a:lnTo>
                  <a:lnTo>
                    <a:pt x="312" y="498"/>
                  </a:lnTo>
                  <a:lnTo>
                    <a:pt x="322" y="517"/>
                  </a:lnTo>
                  <a:lnTo>
                    <a:pt x="322" y="527"/>
                  </a:lnTo>
                  <a:lnTo>
                    <a:pt x="312" y="527"/>
                  </a:lnTo>
                  <a:lnTo>
                    <a:pt x="302" y="527"/>
                  </a:lnTo>
                  <a:lnTo>
                    <a:pt x="293" y="547"/>
                  </a:lnTo>
                  <a:lnTo>
                    <a:pt x="293" y="566"/>
                  </a:lnTo>
                  <a:lnTo>
                    <a:pt x="283" y="576"/>
                  </a:lnTo>
                  <a:lnTo>
                    <a:pt x="283" y="586"/>
                  </a:lnTo>
                  <a:lnTo>
                    <a:pt x="273" y="586"/>
                  </a:lnTo>
                  <a:lnTo>
                    <a:pt x="273" y="595"/>
                  </a:lnTo>
                  <a:lnTo>
                    <a:pt x="254" y="605"/>
                  </a:lnTo>
                  <a:lnTo>
                    <a:pt x="244" y="605"/>
                  </a:lnTo>
                  <a:lnTo>
                    <a:pt x="215" y="605"/>
                  </a:lnTo>
                  <a:lnTo>
                    <a:pt x="195" y="605"/>
                  </a:lnTo>
                  <a:lnTo>
                    <a:pt x="185" y="605"/>
                  </a:lnTo>
                  <a:lnTo>
                    <a:pt x="185" y="615"/>
                  </a:lnTo>
                  <a:lnTo>
                    <a:pt x="166" y="615"/>
                  </a:lnTo>
                  <a:lnTo>
                    <a:pt x="166" y="605"/>
                  </a:lnTo>
                  <a:lnTo>
                    <a:pt x="156" y="605"/>
                  </a:lnTo>
                  <a:lnTo>
                    <a:pt x="137" y="595"/>
                  </a:lnTo>
                  <a:lnTo>
                    <a:pt x="127" y="595"/>
                  </a:lnTo>
                  <a:lnTo>
                    <a:pt x="117" y="595"/>
                  </a:lnTo>
                  <a:lnTo>
                    <a:pt x="107" y="595"/>
                  </a:lnTo>
                  <a:lnTo>
                    <a:pt x="107" y="576"/>
                  </a:lnTo>
                  <a:lnTo>
                    <a:pt x="107" y="566"/>
                  </a:lnTo>
                  <a:lnTo>
                    <a:pt x="127" y="556"/>
                  </a:lnTo>
                  <a:lnTo>
                    <a:pt x="137" y="556"/>
                  </a:lnTo>
                  <a:lnTo>
                    <a:pt x="156" y="556"/>
                  </a:lnTo>
                  <a:lnTo>
                    <a:pt x="156" y="547"/>
                  </a:lnTo>
                  <a:lnTo>
                    <a:pt x="146" y="547"/>
                  </a:lnTo>
                  <a:lnTo>
                    <a:pt x="137" y="547"/>
                  </a:lnTo>
                  <a:lnTo>
                    <a:pt x="127" y="547"/>
                  </a:lnTo>
                  <a:lnTo>
                    <a:pt x="117" y="537"/>
                  </a:lnTo>
                  <a:lnTo>
                    <a:pt x="107" y="527"/>
                  </a:lnTo>
                  <a:lnTo>
                    <a:pt x="107" y="517"/>
                  </a:lnTo>
                  <a:lnTo>
                    <a:pt x="98" y="508"/>
                  </a:lnTo>
                  <a:lnTo>
                    <a:pt x="88" y="517"/>
                  </a:lnTo>
                  <a:lnTo>
                    <a:pt x="88" y="527"/>
                  </a:lnTo>
                  <a:lnTo>
                    <a:pt x="78" y="517"/>
                  </a:lnTo>
                  <a:lnTo>
                    <a:pt x="68" y="517"/>
                  </a:lnTo>
                  <a:lnTo>
                    <a:pt x="78" y="508"/>
                  </a:lnTo>
                  <a:lnTo>
                    <a:pt x="78" y="498"/>
                  </a:lnTo>
                  <a:lnTo>
                    <a:pt x="78" y="488"/>
                  </a:lnTo>
                  <a:lnTo>
                    <a:pt x="78" y="478"/>
                  </a:lnTo>
                  <a:lnTo>
                    <a:pt x="68" y="478"/>
                  </a:lnTo>
                  <a:lnTo>
                    <a:pt x="68" y="488"/>
                  </a:lnTo>
                  <a:lnTo>
                    <a:pt x="59" y="488"/>
                  </a:lnTo>
                  <a:lnTo>
                    <a:pt x="49" y="478"/>
                  </a:lnTo>
                  <a:lnTo>
                    <a:pt x="39" y="478"/>
                  </a:lnTo>
                  <a:lnTo>
                    <a:pt x="29" y="488"/>
                  </a:lnTo>
                  <a:lnTo>
                    <a:pt x="19" y="478"/>
                  </a:lnTo>
                  <a:lnTo>
                    <a:pt x="19" y="469"/>
                  </a:lnTo>
                  <a:lnTo>
                    <a:pt x="10" y="469"/>
                  </a:lnTo>
                  <a:lnTo>
                    <a:pt x="0" y="469"/>
                  </a:lnTo>
                  <a:lnTo>
                    <a:pt x="0" y="459"/>
                  </a:lnTo>
                  <a:lnTo>
                    <a:pt x="10" y="439"/>
                  </a:lnTo>
                  <a:lnTo>
                    <a:pt x="19" y="430"/>
                  </a:lnTo>
                  <a:lnTo>
                    <a:pt x="19" y="420"/>
                  </a:lnTo>
                  <a:lnTo>
                    <a:pt x="39" y="410"/>
                  </a:lnTo>
                  <a:lnTo>
                    <a:pt x="29" y="400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39" y="351"/>
                  </a:lnTo>
                  <a:lnTo>
                    <a:pt x="39" y="332"/>
                  </a:lnTo>
                  <a:lnTo>
                    <a:pt x="19" y="332"/>
                  </a:lnTo>
                  <a:lnTo>
                    <a:pt x="29" y="312"/>
                  </a:lnTo>
                  <a:lnTo>
                    <a:pt x="39" y="312"/>
                  </a:lnTo>
                  <a:lnTo>
                    <a:pt x="49" y="303"/>
                  </a:lnTo>
                  <a:lnTo>
                    <a:pt x="49" y="293"/>
                  </a:lnTo>
                  <a:lnTo>
                    <a:pt x="49" y="273"/>
                  </a:lnTo>
                  <a:lnTo>
                    <a:pt x="68" y="273"/>
                  </a:lnTo>
                  <a:lnTo>
                    <a:pt x="78" y="273"/>
                  </a:lnTo>
                  <a:lnTo>
                    <a:pt x="78" y="264"/>
                  </a:lnTo>
                  <a:lnTo>
                    <a:pt x="78" y="254"/>
                  </a:lnTo>
                  <a:lnTo>
                    <a:pt x="88" y="254"/>
                  </a:lnTo>
                  <a:lnTo>
                    <a:pt x="98" y="254"/>
                  </a:lnTo>
                  <a:lnTo>
                    <a:pt x="98" y="244"/>
                  </a:lnTo>
                  <a:lnTo>
                    <a:pt x="98" y="234"/>
                  </a:lnTo>
                  <a:lnTo>
                    <a:pt x="117" y="225"/>
                  </a:lnTo>
                  <a:lnTo>
                    <a:pt x="117" y="215"/>
                  </a:lnTo>
                  <a:lnTo>
                    <a:pt x="127" y="205"/>
                  </a:lnTo>
                  <a:lnTo>
                    <a:pt x="137" y="225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319"/>
            <p:cNvSpPr>
              <a:spLocks/>
            </p:cNvSpPr>
            <p:nvPr/>
          </p:nvSpPr>
          <p:spPr bwMode="auto">
            <a:xfrm>
              <a:off x="3834" y="2771"/>
              <a:ext cx="849" cy="675"/>
            </a:xfrm>
            <a:custGeom>
              <a:avLst/>
              <a:gdLst>
                <a:gd name="T0" fmla="*/ 576 w 849"/>
                <a:gd name="T1" fmla="*/ 644 h 673"/>
                <a:gd name="T2" fmla="*/ 615 w 849"/>
                <a:gd name="T3" fmla="*/ 624 h 673"/>
                <a:gd name="T4" fmla="*/ 664 w 849"/>
                <a:gd name="T5" fmla="*/ 634 h 673"/>
                <a:gd name="T6" fmla="*/ 712 w 849"/>
                <a:gd name="T7" fmla="*/ 634 h 673"/>
                <a:gd name="T8" fmla="*/ 761 w 849"/>
                <a:gd name="T9" fmla="*/ 615 h 673"/>
                <a:gd name="T10" fmla="*/ 781 w 849"/>
                <a:gd name="T11" fmla="*/ 605 h 673"/>
                <a:gd name="T12" fmla="*/ 781 w 849"/>
                <a:gd name="T13" fmla="*/ 576 h 673"/>
                <a:gd name="T14" fmla="*/ 800 w 849"/>
                <a:gd name="T15" fmla="*/ 566 h 673"/>
                <a:gd name="T16" fmla="*/ 820 w 849"/>
                <a:gd name="T17" fmla="*/ 546 h 673"/>
                <a:gd name="T18" fmla="*/ 839 w 849"/>
                <a:gd name="T19" fmla="*/ 498 h 673"/>
                <a:gd name="T20" fmla="*/ 791 w 849"/>
                <a:gd name="T21" fmla="*/ 458 h 673"/>
                <a:gd name="T22" fmla="*/ 771 w 849"/>
                <a:gd name="T23" fmla="*/ 410 h 673"/>
                <a:gd name="T24" fmla="*/ 830 w 849"/>
                <a:gd name="T25" fmla="*/ 380 h 673"/>
                <a:gd name="T26" fmla="*/ 820 w 849"/>
                <a:gd name="T27" fmla="*/ 341 h 673"/>
                <a:gd name="T28" fmla="*/ 791 w 849"/>
                <a:gd name="T29" fmla="*/ 341 h 673"/>
                <a:gd name="T30" fmla="*/ 751 w 849"/>
                <a:gd name="T31" fmla="*/ 273 h 673"/>
                <a:gd name="T32" fmla="*/ 732 w 849"/>
                <a:gd name="T33" fmla="*/ 244 h 673"/>
                <a:gd name="T34" fmla="*/ 654 w 849"/>
                <a:gd name="T35" fmla="*/ 244 h 673"/>
                <a:gd name="T36" fmla="*/ 615 w 849"/>
                <a:gd name="T37" fmla="*/ 205 h 673"/>
                <a:gd name="T38" fmla="*/ 634 w 849"/>
                <a:gd name="T39" fmla="*/ 166 h 673"/>
                <a:gd name="T40" fmla="*/ 634 w 849"/>
                <a:gd name="T41" fmla="*/ 127 h 673"/>
                <a:gd name="T42" fmla="*/ 595 w 849"/>
                <a:gd name="T43" fmla="*/ 107 h 673"/>
                <a:gd name="T44" fmla="*/ 547 w 849"/>
                <a:gd name="T45" fmla="*/ 97 h 673"/>
                <a:gd name="T46" fmla="*/ 517 w 849"/>
                <a:gd name="T47" fmla="*/ 117 h 673"/>
                <a:gd name="T48" fmla="*/ 469 w 849"/>
                <a:gd name="T49" fmla="*/ 107 h 673"/>
                <a:gd name="T50" fmla="*/ 430 w 849"/>
                <a:gd name="T51" fmla="*/ 88 h 673"/>
                <a:gd name="T52" fmla="*/ 410 w 849"/>
                <a:gd name="T53" fmla="*/ 68 h 673"/>
                <a:gd name="T54" fmla="*/ 371 w 849"/>
                <a:gd name="T55" fmla="*/ 68 h 673"/>
                <a:gd name="T56" fmla="*/ 293 w 849"/>
                <a:gd name="T57" fmla="*/ 29 h 673"/>
                <a:gd name="T58" fmla="*/ 264 w 849"/>
                <a:gd name="T59" fmla="*/ 10 h 673"/>
                <a:gd name="T60" fmla="*/ 235 w 849"/>
                <a:gd name="T61" fmla="*/ 0 h 673"/>
                <a:gd name="T62" fmla="*/ 205 w 849"/>
                <a:gd name="T63" fmla="*/ 29 h 673"/>
                <a:gd name="T64" fmla="*/ 176 w 849"/>
                <a:gd name="T65" fmla="*/ 68 h 673"/>
                <a:gd name="T66" fmla="*/ 156 w 849"/>
                <a:gd name="T67" fmla="*/ 117 h 673"/>
                <a:gd name="T68" fmla="*/ 108 w 849"/>
                <a:gd name="T69" fmla="*/ 137 h 673"/>
                <a:gd name="T70" fmla="*/ 78 w 849"/>
                <a:gd name="T71" fmla="*/ 176 h 673"/>
                <a:gd name="T72" fmla="*/ 30 w 849"/>
                <a:gd name="T73" fmla="*/ 215 h 673"/>
                <a:gd name="T74" fmla="*/ 10 w 849"/>
                <a:gd name="T75" fmla="*/ 234 h 673"/>
                <a:gd name="T76" fmla="*/ 0 w 849"/>
                <a:gd name="T77" fmla="*/ 254 h 673"/>
                <a:gd name="T78" fmla="*/ 30 w 849"/>
                <a:gd name="T79" fmla="*/ 293 h 673"/>
                <a:gd name="T80" fmla="*/ 10 w 849"/>
                <a:gd name="T81" fmla="*/ 332 h 673"/>
                <a:gd name="T82" fmla="*/ 30 w 849"/>
                <a:gd name="T83" fmla="*/ 371 h 673"/>
                <a:gd name="T84" fmla="*/ 88 w 849"/>
                <a:gd name="T85" fmla="*/ 400 h 673"/>
                <a:gd name="T86" fmla="*/ 156 w 849"/>
                <a:gd name="T87" fmla="*/ 429 h 673"/>
                <a:gd name="T88" fmla="*/ 215 w 849"/>
                <a:gd name="T89" fmla="*/ 478 h 673"/>
                <a:gd name="T90" fmla="*/ 254 w 849"/>
                <a:gd name="T91" fmla="*/ 527 h 673"/>
                <a:gd name="T92" fmla="*/ 313 w 849"/>
                <a:gd name="T93" fmla="*/ 527 h 673"/>
                <a:gd name="T94" fmla="*/ 332 w 849"/>
                <a:gd name="T95" fmla="*/ 576 h 673"/>
                <a:gd name="T96" fmla="*/ 381 w 849"/>
                <a:gd name="T97" fmla="*/ 585 h 673"/>
                <a:gd name="T98" fmla="*/ 410 w 849"/>
                <a:gd name="T99" fmla="*/ 576 h 673"/>
                <a:gd name="T100" fmla="*/ 420 w 849"/>
                <a:gd name="T101" fmla="*/ 605 h 673"/>
                <a:gd name="T102" fmla="*/ 420 w 849"/>
                <a:gd name="T103" fmla="*/ 654 h 673"/>
                <a:gd name="T104" fmla="*/ 430 w 849"/>
                <a:gd name="T105" fmla="*/ 673 h 673"/>
                <a:gd name="T106" fmla="*/ 459 w 849"/>
                <a:gd name="T107" fmla="*/ 654 h 673"/>
                <a:gd name="T108" fmla="*/ 508 w 849"/>
                <a:gd name="T109" fmla="*/ 654 h 67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49"/>
                <a:gd name="T166" fmla="*/ 0 h 673"/>
                <a:gd name="T167" fmla="*/ 849 w 849"/>
                <a:gd name="T168" fmla="*/ 673 h 67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49" h="673">
                  <a:moveTo>
                    <a:pt x="537" y="644"/>
                  </a:moveTo>
                  <a:lnTo>
                    <a:pt x="566" y="654"/>
                  </a:lnTo>
                  <a:lnTo>
                    <a:pt x="576" y="644"/>
                  </a:lnTo>
                  <a:lnTo>
                    <a:pt x="576" y="634"/>
                  </a:lnTo>
                  <a:lnTo>
                    <a:pt x="595" y="624"/>
                  </a:lnTo>
                  <a:lnTo>
                    <a:pt x="615" y="624"/>
                  </a:lnTo>
                  <a:lnTo>
                    <a:pt x="634" y="624"/>
                  </a:lnTo>
                  <a:lnTo>
                    <a:pt x="664" y="634"/>
                  </a:lnTo>
                  <a:lnTo>
                    <a:pt x="683" y="634"/>
                  </a:lnTo>
                  <a:lnTo>
                    <a:pt x="703" y="624"/>
                  </a:lnTo>
                  <a:lnTo>
                    <a:pt x="712" y="634"/>
                  </a:lnTo>
                  <a:lnTo>
                    <a:pt x="732" y="624"/>
                  </a:lnTo>
                  <a:lnTo>
                    <a:pt x="751" y="624"/>
                  </a:lnTo>
                  <a:lnTo>
                    <a:pt x="761" y="615"/>
                  </a:lnTo>
                  <a:lnTo>
                    <a:pt x="771" y="624"/>
                  </a:lnTo>
                  <a:lnTo>
                    <a:pt x="781" y="634"/>
                  </a:lnTo>
                  <a:lnTo>
                    <a:pt x="781" y="605"/>
                  </a:lnTo>
                  <a:lnTo>
                    <a:pt x="791" y="585"/>
                  </a:lnTo>
                  <a:lnTo>
                    <a:pt x="781" y="576"/>
                  </a:lnTo>
                  <a:lnTo>
                    <a:pt x="791" y="566"/>
                  </a:lnTo>
                  <a:lnTo>
                    <a:pt x="800" y="576"/>
                  </a:lnTo>
                  <a:lnTo>
                    <a:pt x="800" y="566"/>
                  </a:lnTo>
                  <a:lnTo>
                    <a:pt x="810" y="546"/>
                  </a:lnTo>
                  <a:lnTo>
                    <a:pt x="820" y="546"/>
                  </a:lnTo>
                  <a:lnTo>
                    <a:pt x="830" y="537"/>
                  </a:lnTo>
                  <a:lnTo>
                    <a:pt x="849" y="517"/>
                  </a:lnTo>
                  <a:lnTo>
                    <a:pt x="839" y="498"/>
                  </a:lnTo>
                  <a:lnTo>
                    <a:pt x="820" y="478"/>
                  </a:lnTo>
                  <a:lnTo>
                    <a:pt x="810" y="468"/>
                  </a:lnTo>
                  <a:lnTo>
                    <a:pt x="791" y="458"/>
                  </a:lnTo>
                  <a:lnTo>
                    <a:pt x="781" y="458"/>
                  </a:lnTo>
                  <a:lnTo>
                    <a:pt x="771" y="449"/>
                  </a:lnTo>
                  <a:lnTo>
                    <a:pt x="771" y="410"/>
                  </a:lnTo>
                  <a:lnTo>
                    <a:pt x="791" y="400"/>
                  </a:lnTo>
                  <a:lnTo>
                    <a:pt x="810" y="390"/>
                  </a:lnTo>
                  <a:lnTo>
                    <a:pt x="830" y="380"/>
                  </a:lnTo>
                  <a:lnTo>
                    <a:pt x="830" y="371"/>
                  </a:lnTo>
                  <a:lnTo>
                    <a:pt x="820" y="351"/>
                  </a:lnTo>
                  <a:lnTo>
                    <a:pt x="820" y="341"/>
                  </a:lnTo>
                  <a:lnTo>
                    <a:pt x="810" y="332"/>
                  </a:lnTo>
                  <a:lnTo>
                    <a:pt x="800" y="341"/>
                  </a:lnTo>
                  <a:lnTo>
                    <a:pt x="791" y="341"/>
                  </a:lnTo>
                  <a:lnTo>
                    <a:pt x="781" y="293"/>
                  </a:lnTo>
                  <a:lnTo>
                    <a:pt x="761" y="273"/>
                  </a:lnTo>
                  <a:lnTo>
                    <a:pt x="751" y="273"/>
                  </a:lnTo>
                  <a:lnTo>
                    <a:pt x="751" y="263"/>
                  </a:lnTo>
                  <a:lnTo>
                    <a:pt x="751" y="254"/>
                  </a:lnTo>
                  <a:lnTo>
                    <a:pt x="732" y="244"/>
                  </a:lnTo>
                  <a:lnTo>
                    <a:pt x="703" y="244"/>
                  </a:lnTo>
                  <a:lnTo>
                    <a:pt x="673" y="234"/>
                  </a:lnTo>
                  <a:lnTo>
                    <a:pt x="654" y="244"/>
                  </a:lnTo>
                  <a:lnTo>
                    <a:pt x="644" y="244"/>
                  </a:lnTo>
                  <a:lnTo>
                    <a:pt x="615" y="224"/>
                  </a:lnTo>
                  <a:lnTo>
                    <a:pt x="615" y="205"/>
                  </a:lnTo>
                  <a:lnTo>
                    <a:pt x="634" y="195"/>
                  </a:lnTo>
                  <a:lnTo>
                    <a:pt x="634" y="185"/>
                  </a:lnTo>
                  <a:lnTo>
                    <a:pt x="634" y="166"/>
                  </a:lnTo>
                  <a:lnTo>
                    <a:pt x="634" y="146"/>
                  </a:lnTo>
                  <a:lnTo>
                    <a:pt x="625" y="137"/>
                  </a:lnTo>
                  <a:lnTo>
                    <a:pt x="634" y="127"/>
                  </a:lnTo>
                  <a:lnTo>
                    <a:pt x="615" y="117"/>
                  </a:lnTo>
                  <a:lnTo>
                    <a:pt x="595" y="107"/>
                  </a:lnTo>
                  <a:lnTo>
                    <a:pt x="586" y="97"/>
                  </a:lnTo>
                  <a:lnTo>
                    <a:pt x="566" y="88"/>
                  </a:lnTo>
                  <a:lnTo>
                    <a:pt x="547" y="97"/>
                  </a:lnTo>
                  <a:lnTo>
                    <a:pt x="527" y="97"/>
                  </a:lnTo>
                  <a:lnTo>
                    <a:pt x="517" y="107"/>
                  </a:lnTo>
                  <a:lnTo>
                    <a:pt x="517" y="117"/>
                  </a:lnTo>
                  <a:lnTo>
                    <a:pt x="498" y="117"/>
                  </a:lnTo>
                  <a:lnTo>
                    <a:pt x="478" y="117"/>
                  </a:lnTo>
                  <a:lnTo>
                    <a:pt x="469" y="107"/>
                  </a:lnTo>
                  <a:lnTo>
                    <a:pt x="459" y="97"/>
                  </a:lnTo>
                  <a:lnTo>
                    <a:pt x="439" y="97"/>
                  </a:lnTo>
                  <a:lnTo>
                    <a:pt x="430" y="88"/>
                  </a:lnTo>
                  <a:lnTo>
                    <a:pt x="430" y="68"/>
                  </a:lnTo>
                  <a:lnTo>
                    <a:pt x="420" y="68"/>
                  </a:lnTo>
                  <a:lnTo>
                    <a:pt x="410" y="68"/>
                  </a:lnTo>
                  <a:lnTo>
                    <a:pt x="391" y="78"/>
                  </a:lnTo>
                  <a:lnTo>
                    <a:pt x="381" y="68"/>
                  </a:lnTo>
                  <a:lnTo>
                    <a:pt x="371" y="68"/>
                  </a:lnTo>
                  <a:lnTo>
                    <a:pt x="332" y="58"/>
                  </a:lnTo>
                  <a:lnTo>
                    <a:pt x="322" y="29"/>
                  </a:lnTo>
                  <a:lnTo>
                    <a:pt x="293" y="29"/>
                  </a:lnTo>
                  <a:lnTo>
                    <a:pt x="274" y="19"/>
                  </a:lnTo>
                  <a:lnTo>
                    <a:pt x="274" y="29"/>
                  </a:lnTo>
                  <a:lnTo>
                    <a:pt x="264" y="10"/>
                  </a:lnTo>
                  <a:lnTo>
                    <a:pt x="254" y="10"/>
                  </a:lnTo>
                  <a:lnTo>
                    <a:pt x="235" y="10"/>
                  </a:lnTo>
                  <a:lnTo>
                    <a:pt x="235" y="0"/>
                  </a:lnTo>
                  <a:lnTo>
                    <a:pt x="215" y="10"/>
                  </a:lnTo>
                  <a:lnTo>
                    <a:pt x="215" y="29"/>
                  </a:lnTo>
                  <a:lnTo>
                    <a:pt x="205" y="29"/>
                  </a:lnTo>
                  <a:lnTo>
                    <a:pt x="195" y="29"/>
                  </a:lnTo>
                  <a:lnTo>
                    <a:pt x="195" y="58"/>
                  </a:lnTo>
                  <a:lnTo>
                    <a:pt x="176" y="68"/>
                  </a:lnTo>
                  <a:lnTo>
                    <a:pt x="176" y="107"/>
                  </a:lnTo>
                  <a:lnTo>
                    <a:pt x="166" y="117"/>
                  </a:lnTo>
                  <a:lnTo>
                    <a:pt x="156" y="117"/>
                  </a:lnTo>
                  <a:lnTo>
                    <a:pt x="137" y="117"/>
                  </a:lnTo>
                  <a:lnTo>
                    <a:pt x="117" y="127"/>
                  </a:lnTo>
                  <a:lnTo>
                    <a:pt x="108" y="137"/>
                  </a:lnTo>
                  <a:lnTo>
                    <a:pt x="88" y="146"/>
                  </a:lnTo>
                  <a:lnTo>
                    <a:pt x="78" y="156"/>
                  </a:lnTo>
                  <a:lnTo>
                    <a:pt x="78" y="176"/>
                  </a:lnTo>
                  <a:lnTo>
                    <a:pt x="59" y="185"/>
                  </a:lnTo>
                  <a:lnTo>
                    <a:pt x="30" y="195"/>
                  </a:lnTo>
                  <a:lnTo>
                    <a:pt x="30" y="215"/>
                  </a:lnTo>
                  <a:lnTo>
                    <a:pt x="20" y="215"/>
                  </a:lnTo>
                  <a:lnTo>
                    <a:pt x="10" y="224"/>
                  </a:lnTo>
                  <a:lnTo>
                    <a:pt x="10" y="234"/>
                  </a:lnTo>
                  <a:lnTo>
                    <a:pt x="10" y="244"/>
                  </a:lnTo>
                  <a:lnTo>
                    <a:pt x="10" y="254"/>
                  </a:lnTo>
                  <a:lnTo>
                    <a:pt x="0" y="254"/>
                  </a:lnTo>
                  <a:lnTo>
                    <a:pt x="10" y="263"/>
                  </a:lnTo>
                  <a:lnTo>
                    <a:pt x="20" y="273"/>
                  </a:lnTo>
                  <a:lnTo>
                    <a:pt x="30" y="293"/>
                  </a:lnTo>
                  <a:lnTo>
                    <a:pt x="10" y="302"/>
                  </a:lnTo>
                  <a:lnTo>
                    <a:pt x="10" y="322"/>
                  </a:lnTo>
                  <a:lnTo>
                    <a:pt x="10" y="33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30" y="371"/>
                  </a:lnTo>
                  <a:lnTo>
                    <a:pt x="59" y="380"/>
                  </a:lnTo>
                  <a:lnTo>
                    <a:pt x="69" y="390"/>
                  </a:lnTo>
                  <a:lnTo>
                    <a:pt x="88" y="400"/>
                  </a:lnTo>
                  <a:lnTo>
                    <a:pt x="117" y="410"/>
                  </a:lnTo>
                  <a:lnTo>
                    <a:pt x="147" y="419"/>
                  </a:lnTo>
                  <a:lnTo>
                    <a:pt x="156" y="429"/>
                  </a:lnTo>
                  <a:lnTo>
                    <a:pt x="166" y="439"/>
                  </a:lnTo>
                  <a:lnTo>
                    <a:pt x="186" y="449"/>
                  </a:lnTo>
                  <a:lnTo>
                    <a:pt x="215" y="478"/>
                  </a:lnTo>
                  <a:lnTo>
                    <a:pt x="235" y="507"/>
                  </a:lnTo>
                  <a:lnTo>
                    <a:pt x="244" y="527"/>
                  </a:lnTo>
                  <a:lnTo>
                    <a:pt x="254" y="527"/>
                  </a:lnTo>
                  <a:lnTo>
                    <a:pt x="274" y="527"/>
                  </a:lnTo>
                  <a:lnTo>
                    <a:pt x="293" y="527"/>
                  </a:lnTo>
                  <a:lnTo>
                    <a:pt x="313" y="527"/>
                  </a:lnTo>
                  <a:lnTo>
                    <a:pt x="313" y="546"/>
                  </a:lnTo>
                  <a:lnTo>
                    <a:pt x="322" y="576"/>
                  </a:lnTo>
                  <a:lnTo>
                    <a:pt x="332" y="576"/>
                  </a:lnTo>
                  <a:lnTo>
                    <a:pt x="342" y="585"/>
                  </a:lnTo>
                  <a:lnTo>
                    <a:pt x="371" y="585"/>
                  </a:lnTo>
                  <a:lnTo>
                    <a:pt x="381" y="585"/>
                  </a:lnTo>
                  <a:lnTo>
                    <a:pt x="400" y="595"/>
                  </a:lnTo>
                  <a:lnTo>
                    <a:pt x="400" y="585"/>
                  </a:lnTo>
                  <a:lnTo>
                    <a:pt x="410" y="576"/>
                  </a:lnTo>
                  <a:lnTo>
                    <a:pt x="420" y="585"/>
                  </a:lnTo>
                  <a:lnTo>
                    <a:pt x="430" y="585"/>
                  </a:lnTo>
                  <a:lnTo>
                    <a:pt x="420" y="605"/>
                  </a:lnTo>
                  <a:lnTo>
                    <a:pt x="420" y="624"/>
                  </a:lnTo>
                  <a:lnTo>
                    <a:pt x="420" y="654"/>
                  </a:lnTo>
                  <a:lnTo>
                    <a:pt x="420" y="663"/>
                  </a:lnTo>
                  <a:lnTo>
                    <a:pt x="430" y="67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59" y="654"/>
                  </a:lnTo>
                  <a:lnTo>
                    <a:pt x="478" y="654"/>
                  </a:lnTo>
                  <a:lnTo>
                    <a:pt x="488" y="654"/>
                  </a:lnTo>
                  <a:lnTo>
                    <a:pt x="508" y="654"/>
                  </a:lnTo>
                  <a:lnTo>
                    <a:pt x="517" y="654"/>
                  </a:lnTo>
                  <a:lnTo>
                    <a:pt x="537" y="644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Freeform 318"/>
            <p:cNvSpPr>
              <a:spLocks/>
            </p:cNvSpPr>
            <p:nvPr/>
          </p:nvSpPr>
          <p:spPr bwMode="auto">
            <a:xfrm>
              <a:off x="1650" y="1269"/>
              <a:ext cx="351" cy="331"/>
            </a:xfrm>
            <a:custGeom>
              <a:avLst/>
              <a:gdLst>
                <a:gd name="T0" fmla="*/ 342 w 352"/>
                <a:gd name="T1" fmla="*/ 225 h 332"/>
                <a:gd name="T2" fmla="*/ 332 w 352"/>
                <a:gd name="T3" fmla="*/ 244 h 332"/>
                <a:gd name="T4" fmla="*/ 342 w 352"/>
                <a:gd name="T5" fmla="*/ 264 h 332"/>
                <a:gd name="T6" fmla="*/ 352 w 352"/>
                <a:gd name="T7" fmla="*/ 303 h 332"/>
                <a:gd name="T8" fmla="*/ 313 w 352"/>
                <a:gd name="T9" fmla="*/ 322 h 332"/>
                <a:gd name="T10" fmla="*/ 274 w 352"/>
                <a:gd name="T11" fmla="*/ 283 h 332"/>
                <a:gd name="T12" fmla="*/ 244 w 352"/>
                <a:gd name="T13" fmla="*/ 274 h 332"/>
                <a:gd name="T14" fmla="*/ 225 w 352"/>
                <a:gd name="T15" fmla="*/ 225 h 332"/>
                <a:gd name="T16" fmla="*/ 205 w 352"/>
                <a:gd name="T17" fmla="*/ 225 h 332"/>
                <a:gd name="T18" fmla="*/ 186 w 352"/>
                <a:gd name="T19" fmla="*/ 235 h 332"/>
                <a:gd name="T20" fmla="*/ 147 w 352"/>
                <a:gd name="T21" fmla="*/ 235 h 332"/>
                <a:gd name="T22" fmla="*/ 127 w 352"/>
                <a:gd name="T23" fmla="*/ 225 h 332"/>
                <a:gd name="T24" fmla="*/ 88 w 352"/>
                <a:gd name="T25" fmla="*/ 215 h 332"/>
                <a:gd name="T26" fmla="*/ 88 w 352"/>
                <a:gd name="T27" fmla="*/ 205 h 332"/>
                <a:gd name="T28" fmla="*/ 49 w 352"/>
                <a:gd name="T29" fmla="*/ 186 h 332"/>
                <a:gd name="T30" fmla="*/ 30 w 352"/>
                <a:gd name="T31" fmla="*/ 186 h 332"/>
                <a:gd name="T32" fmla="*/ 20 w 352"/>
                <a:gd name="T33" fmla="*/ 166 h 332"/>
                <a:gd name="T34" fmla="*/ 0 w 352"/>
                <a:gd name="T35" fmla="*/ 147 h 332"/>
                <a:gd name="T36" fmla="*/ 20 w 352"/>
                <a:gd name="T37" fmla="*/ 127 h 332"/>
                <a:gd name="T38" fmla="*/ 30 w 352"/>
                <a:gd name="T39" fmla="*/ 108 h 332"/>
                <a:gd name="T40" fmla="*/ 59 w 352"/>
                <a:gd name="T41" fmla="*/ 98 h 332"/>
                <a:gd name="T42" fmla="*/ 88 w 352"/>
                <a:gd name="T43" fmla="*/ 59 h 332"/>
                <a:gd name="T44" fmla="*/ 78 w 352"/>
                <a:gd name="T45" fmla="*/ 10 h 332"/>
                <a:gd name="T46" fmla="*/ 98 w 352"/>
                <a:gd name="T47" fmla="*/ 10 h 332"/>
                <a:gd name="T48" fmla="*/ 118 w 352"/>
                <a:gd name="T49" fmla="*/ 0 h 332"/>
                <a:gd name="T50" fmla="*/ 147 w 352"/>
                <a:gd name="T51" fmla="*/ 10 h 332"/>
                <a:gd name="T52" fmla="*/ 166 w 352"/>
                <a:gd name="T53" fmla="*/ 10 h 332"/>
                <a:gd name="T54" fmla="*/ 176 w 352"/>
                <a:gd name="T55" fmla="*/ 30 h 332"/>
                <a:gd name="T56" fmla="*/ 205 w 352"/>
                <a:gd name="T57" fmla="*/ 20 h 332"/>
                <a:gd name="T58" fmla="*/ 225 w 352"/>
                <a:gd name="T59" fmla="*/ 49 h 332"/>
                <a:gd name="T60" fmla="*/ 274 w 352"/>
                <a:gd name="T61" fmla="*/ 49 h 332"/>
                <a:gd name="T62" fmla="*/ 293 w 352"/>
                <a:gd name="T63" fmla="*/ 69 h 332"/>
                <a:gd name="T64" fmla="*/ 274 w 352"/>
                <a:gd name="T65" fmla="*/ 98 h 332"/>
                <a:gd name="T66" fmla="*/ 303 w 352"/>
                <a:gd name="T67" fmla="*/ 108 h 332"/>
                <a:gd name="T68" fmla="*/ 332 w 352"/>
                <a:gd name="T69" fmla="*/ 127 h 332"/>
                <a:gd name="T70" fmla="*/ 322 w 352"/>
                <a:gd name="T71" fmla="*/ 156 h 332"/>
                <a:gd name="T72" fmla="*/ 342 w 352"/>
                <a:gd name="T73" fmla="*/ 156 h 332"/>
                <a:gd name="T74" fmla="*/ 332 w 352"/>
                <a:gd name="T75" fmla="*/ 186 h 332"/>
                <a:gd name="T76" fmla="*/ 342 w 352"/>
                <a:gd name="T77" fmla="*/ 215 h 33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52"/>
                <a:gd name="T118" fmla="*/ 0 h 332"/>
                <a:gd name="T119" fmla="*/ 352 w 352"/>
                <a:gd name="T120" fmla="*/ 332 h 33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52" h="332">
                  <a:moveTo>
                    <a:pt x="342" y="215"/>
                  </a:moveTo>
                  <a:lnTo>
                    <a:pt x="342" y="225"/>
                  </a:lnTo>
                  <a:lnTo>
                    <a:pt x="342" y="244"/>
                  </a:lnTo>
                  <a:lnTo>
                    <a:pt x="332" y="244"/>
                  </a:lnTo>
                  <a:lnTo>
                    <a:pt x="332" y="254"/>
                  </a:lnTo>
                  <a:lnTo>
                    <a:pt x="342" y="264"/>
                  </a:lnTo>
                  <a:lnTo>
                    <a:pt x="352" y="274"/>
                  </a:lnTo>
                  <a:lnTo>
                    <a:pt x="352" y="303"/>
                  </a:lnTo>
                  <a:lnTo>
                    <a:pt x="342" y="332"/>
                  </a:lnTo>
                  <a:lnTo>
                    <a:pt x="313" y="322"/>
                  </a:lnTo>
                  <a:lnTo>
                    <a:pt x="283" y="283"/>
                  </a:lnTo>
                  <a:lnTo>
                    <a:pt x="274" y="283"/>
                  </a:lnTo>
                  <a:lnTo>
                    <a:pt x="254" y="274"/>
                  </a:lnTo>
                  <a:lnTo>
                    <a:pt x="244" y="274"/>
                  </a:lnTo>
                  <a:lnTo>
                    <a:pt x="235" y="264"/>
                  </a:lnTo>
                  <a:lnTo>
                    <a:pt x="225" y="225"/>
                  </a:lnTo>
                  <a:lnTo>
                    <a:pt x="225" y="215"/>
                  </a:lnTo>
                  <a:lnTo>
                    <a:pt x="205" y="225"/>
                  </a:lnTo>
                  <a:lnTo>
                    <a:pt x="196" y="235"/>
                  </a:lnTo>
                  <a:lnTo>
                    <a:pt x="186" y="235"/>
                  </a:lnTo>
                  <a:lnTo>
                    <a:pt x="176" y="244"/>
                  </a:lnTo>
                  <a:lnTo>
                    <a:pt x="147" y="235"/>
                  </a:lnTo>
                  <a:lnTo>
                    <a:pt x="127" y="244"/>
                  </a:lnTo>
                  <a:lnTo>
                    <a:pt x="127" y="225"/>
                  </a:lnTo>
                  <a:lnTo>
                    <a:pt x="118" y="215"/>
                  </a:lnTo>
                  <a:lnTo>
                    <a:pt x="88" y="215"/>
                  </a:lnTo>
                  <a:lnTo>
                    <a:pt x="88" y="205"/>
                  </a:lnTo>
                  <a:lnTo>
                    <a:pt x="69" y="205"/>
                  </a:lnTo>
                  <a:lnTo>
                    <a:pt x="49" y="186"/>
                  </a:lnTo>
                  <a:lnTo>
                    <a:pt x="39" y="186"/>
                  </a:lnTo>
                  <a:lnTo>
                    <a:pt x="30" y="186"/>
                  </a:lnTo>
                  <a:lnTo>
                    <a:pt x="30" y="176"/>
                  </a:lnTo>
                  <a:lnTo>
                    <a:pt x="20" y="166"/>
                  </a:lnTo>
                  <a:lnTo>
                    <a:pt x="10" y="166"/>
                  </a:lnTo>
                  <a:lnTo>
                    <a:pt x="0" y="147"/>
                  </a:lnTo>
                  <a:lnTo>
                    <a:pt x="0" y="137"/>
                  </a:lnTo>
                  <a:lnTo>
                    <a:pt x="20" y="127"/>
                  </a:lnTo>
                  <a:lnTo>
                    <a:pt x="39" y="127"/>
                  </a:lnTo>
                  <a:lnTo>
                    <a:pt x="30" y="108"/>
                  </a:lnTo>
                  <a:lnTo>
                    <a:pt x="30" y="98"/>
                  </a:lnTo>
                  <a:lnTo>
                    <a:pt x="59" y="98"/>
                  </a:lnTo>
                  <a:lnTo>
                    <a:pt x="59" y="78"/>
                  </a:lnTo>
                  <a:lnTo>
                    <a:pt x="88" y="59"/>
                  </a:lnTo>
                  <a:lnTo>
                    <a:pt x="78" y="49"/>
                  </a:lnTo>
                  <a:lnTo>
                    <a:pt x="78" y="10"/>
                  </a:lnTo>
                  <a:lnTo>
                    <a:pt x="98" y="0"/>
                  </a:lnTo>
                  <a:lnTo>
                    <a:pt x="98" y="10"/>
                  </a:lnTo>
                  <a:lnTo>
                    <a:pt x="118" y="10"/>
                  </a:lnTo>
                  <a:lnTo>
                    <a:pt x="118" y="0"/>
                  </a:lnTo>
                  <a:lnTo>
                    <a:pt x="127" y="10"/>
                  </a:lnTo>
                  <a:lnTo>
                    <a:pt x="147" y="10"/>
                  </a:lnTo>
                  <a:lnTo>
                    <a:pt x="157" y="0"/>
                  </a:lnTo>
                  <a:lnTo>
                    <a:pt x="166" y="10"/>
                  </a:lnTo>
                  <a:lnTo>
                    <a:pt x="166" y="20"/>
                  </a:lnTo>
                  <a:lnTo>
                    <a:pt x="176" y="30"/>
                  </a:lnTo>
                  <a:lnTo>
                    <a:pt x="186" y="30"/>
                  </a:lnTo>
                  <a:lnTo>
                    <a:pt x="205" y="20"/>
                  </a:lnTo>
                  <a:lnTo>
                    <a:pt x="215" y="30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74" y="49"/>
                  </a:lnTo>
                  <a:lnTo>
                    <a:pt x="283" y="49"/>
                  </a:lnTo>
                  <a:lnTo>
                    <a:pt x="293" y="69"/>
                  </a:lnTo>
                  <a:lnTo>
                    <a:pt x="283" y="78"/>
                  </a:lnTo>
                  <a:lnTo>
                    <a:pt x="274" y="98"/>
                  </a:lnTo>
                  <a:lnTo>
                    <a:pt x="283" y="108"/>
                  </a:lnTo>
                  <a:lnTo>
                    <a:pt x="303" y="108"/>
                  </a:lnTo>
                  <a:lnTo>
                    <a:pt x="322" y="108"/>
                  </a:lnTo>
                  <a:lnTo>
                    <a:pt x="332" y="127"/>
                  </a:lnTo>
                  <a:lnTo>
                    <a:pt x="332" y="137"/>
                  </a:lnTo>
                  <a:lnTo>
                    <a:pt x="322" y="156"/>
                  </a:lnTo>
                  <a:lnTo>
                    <a:pt x="342" y="156"/>
                  </a:lnTo>
                  <a:lnTo>
                    <a:pt x="332" y="176"/>
                  </a:lnTo>
                  <a:lnTo>
                    <a:pt x="332" y="186"/>
                  </a:lnTo>
                  <a:lnTo>
                    <a:pt x="342" y="186"/>
                  </a:lnTo>
                  <a:lnTo>
                    <a:pt x="342" y="215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317"/>
            <p:cNvSpPr>
              <a:spLocks/>
            </p:cNvSpPr>
            <p:nvPr/>
          </p:nvSpPr>
          <p:spPr bwMode="auto">
            <a:xfrm>
              <a:off x="4310" y="3387"/>
              <a:ext cx="343" cy="503"/>
            </a:xfrm>
            <a:custGeom>
              <a:avLst/>
              <a:gdLst>
                <a:gd name="T0" fmla="*/ 20 w 342"/>
                <a:gd name="T1" fmla="*/ 253 h 507"/>
                <a:gd name="T2" fmla="*/ 49 w 342"/>
                <a:gd name="T3" fmla="*/ 263 h 507"/>
                <a:gd name="T4" fmla="*/ 69 w 342"/>
                <a:gd name="T5" fmla="*/ 283 h 507"/>
                <a:gd name="T6" fmla="*/ 88 w 342"/>
                <a:gd name="T7" fmla="*/ 322 h 507"/>
                <a:gd name="T8" fmla="*/ 117 w 342"/>
                <a:gd name="T9" fmla="*/ 341 h 507"/>
                <a:gd name="T10" fmla="*/ 117 w 342"/>
                <a:gd name="T11" fmla="*/ 361 h 507"/>
                <a:gd name="T12" fmla="*/ 98 w 342"/>
                <a:gd name="T13" fmla="*/ 370 h 507"/>
                <a:gd name="T14" fmla="*/ 98 w 342"/>
                <a:gd name="T15" fmla="*/ 390 h 507"/>
                <a:gd name="T16" fmla="*/ 98 w 342"/>
                <a:gd name="T17" fmla="*/ 419 h 507"/>
                <a:gd name="T18" fmla="*/ 108 w 342"/>
                <a:gd name="T19" fmla="*/ 448 h 507"/>
                <a:gd name="T20" fmla="*/ 137 w 342"/>
                <a:gd name="T21" fmla="*/ 487 h 507"/>
                <a:gd name="T22" fmla="*/ 166 w 342"/>
                <a:gd name="T23" fmla="*/ 478 h 507"/>
                <a:gd name="T24" fmla="*/ 195 w 342"/>
                <a:gd name="T25" fmla="*/ 507 h 507"/>
                <a:gd name="T26" fmla="*/ 215 w 342"/>
                <a:gd name="T27" fmla="*/ 507 h 507"/>
                <a:gd name="T28" fmla="*/ 234 w 342"/>
                <a:gd name="T29" fmla="*/ 478 h 507"/>
                <a:gd name="T30" fmla="*/ 264 w 342"/>
                <a:gd name="T31" fmla="*/ 458 h 507"/>
                <a:gd name="T32" fmla="*/ 244 w 342"/>
                <a:gd name="T33" fmla="*/ 439 h 507"/>
                <a:gd name="T34" fmla="*/ 234 w 342"/>
                <a:gd name="T35" fmla="*/ 419 h 507"/>
                <a:gd name="T36" fmla="*/ 254 w 342"/>
                <a:gd name="T37" fmla="*/ 419 h 507"/>
                <a:gd name="T38" fmla="*/ 254 w 342"/>
                <a:gd name="T39" fmla="*/ 390 h 507"/>
                <a:gd name="T40" fmla="*/ 244 w 342"/>
                <a:gd name="T41" fmla="*/ 380 h 507"/>
                <a:gd name="T42" fmla="*/ 264 w 342"/>
                <a:gd name="T43" fmla="*/ 351 h 507"/>
                <a:gd name="T44" fmla="*/ 283 w 342"/>
                <a:gd name="T45" fmla="*/ 322 h 507"/>
                <a:gd name="T46" fmla="*/ 283 w 342"/>
                <a:gd name="T47" fmla="*/ 312 h 507"/>
                <a:gd name="T48" fmla="*/ 283 w 342"/>
                <a:gd name="T49" fmla="*/ 292 h 507"/>
                <a:gd name="T50" fmla="*/ 273 w 342"/>
                <a:gd name="T51" fmla="*/ 283 h 507"/>
                <a:gd name="T52" fmla="*/ 254 w 342"/>
                <a:gd name="T53" fmla="*/ 283 h 507"/>
                <a:gd name="T54" fmla="*/ 244 w 342"/>
                <a:gd name="T55" fmla="*/ 283 h 507"/>
                <a:gd name="T56" fmla="*/ 264 w 342"/>
                <a:gd name="T57" fmla="*/ 253 h 507"/>
                <a:gd name="T58" fmla="*/ 273 w 342"/>
                <a:gd name="T59" fmla="*/ 224 h 507"/>
                <a:gd name="T60" fmla="*/ 264 w 342"/>
                <a:gd name="T61" fmla="*/ 175 h 507"/>
                <a:gd name="T62" fmla="*/ 283 w 342"/>
                <a:gd name="T63" fmla="*/ 165 h 507"/>
                <a:gd name="T64" fmla="*/ 313 w 342"/>
                <a:gd name="T65" fmla="*/ 136 h 507"/>
                <a:gd name="T66" fmla="*/ 342 w 342"/>
                <a:gd name="T67" fmla="*/ 126 h 507"/>
                <a:gd name="T68" fmla="*/ 342 w 342"/>
                <a:gd name="T69" fmla="*/ 107 h 507"/>
                <a:gd name="T70" fmla="*/ 342 w 342"/>
                <a:gd name="T71" fmla="*/ 87 h 507"/>
                <a:gd name="T72" fmla="*/ 313 w 342"/>
                <a:gd name="T73" fmla="*/ 68 h 507"/>
                <a:gd name="T74" fmla="*/ 303 w 342"/>
                <a:gd name="T75" fmla="*/ 39 h 507"/>
                <a:gd name="T76" fmla="*/ 303 w 342"/>
                <a:gd name="T77" fmla="*/ 19 h 507"/>
                <a:gd name="T78" fmla="*/ 283 w 342"/>
                <a:gd name="T79" fmla="*/ 0 h 507"/>
                <a:gd name="T80" fmla="*/ 254 w 342"/>
                <a:gd name="T81" fmla="*/ 19 h 507"/>
                <a:gd name="T82" fmla="*/ 225 w 342"/>
                <a:gd name="T83" fmla="*/ 9 h 507"/>
                <a:gd name="T84" fmla="*/ 176 w 342"/>
                <a:gd name="T85" fmla="*/ 19 h 507"/>
                <a:gd name="T86" fmla="*/ 137 w 342"/>
                <a:gd name="T87" fmla="*/ 9 h 507"/>
                <a:gd name="T88" fmla="*/ 117 w 342"/>
                <a:gd name="T89" fmla="*/ 19 h 507"/>
                <a:gd name="T90" fmla="*/ 98 w 342"/>
                <a:gd name="T91" fmla="*/ 29 h 507"/>
                <a:gd name="T92" fmla="*/ 59 w 342"/>
                <a:gd name="T93" fmla="*/ 39 h 507"/>
                <a:gd name="T94" fmla="*/ 30 w 342"/>
                <a:gd name="T95" fmla="*/ 39 h 507"/>
                <a:gd name="T96" fmla="*/ 10 w 342"/>
                <a:gd name="T97" fmla="*/ 58 h 507"/>
                <a:gd name="T98" fmla="*/ 20 w 342"/>
                <a:gd name="T99" fmla="*/ 78 h 507"/>
                <a:gd name="T100" fmla="*/ 20 w 342"/>
                <a:gd name="T101" fmla="*/ 97 h 507"/>
                <a:gd name="T102" fmla="*/ 10 w 342"/>
                <a:gd name="T103" fmla="*/ 107 h 507"/>
                <a:gd name="T104" fmla="*/ 20 w 342"/>
                <a:gd name="T105" fmla="*/ 136 h 507"/>
                <a:gd name="T106" fmla="*/ 10 w 342"/>
                <a:gd name="T107" fmla="*/ 156 h 507"/>
                <a:gd name="T108" fmla="*/ 20 w 342"/>
                <a:gd name="T109" fmla="*/ 175 h 507"/>
                <a:gd name="T110" fmla="*/ 10 w 342"/>
                <a:gd name="T111" fmla="*/ 185 h 507"/>
                <a:gd name="T112" fmla="*/ 0 w 342"/>
                <a:gd name="T113" fmla="*/ 204 h 507"/>
                <a:gd name="T114" fmla="*/ 20 w 342"/>
                <a:gd name="T115" fmla="*/ 234 h 50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2"/>
                <a:gd name="T175" fmla="*/ 0 h 507"/>
                <a:gd name="T176" fmla="*/ 342 w 342"/>
                <a:gd name="T177" fmla="*/ 507 h 50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2" h="507">
                  <a:moveTo>
                    <a:pt x="20" y="234"/>
                  </a:moveTo>
                  <a:lnTo>
                    <a:pt x="20" y="253"/>
                  </a:lnTo>
                  <a:lnTo>
                    <a:pt x="39" y="253"/>
                  </a:lnTo>
                  <a:lnTo>
                    <a:pt x="49" y="263"/>
                  </a:lnTo>
                  <a:lnTo>
                    <a:pt x="59" y="283"/>
                  </a:lnTo>
                  <a:lnTo>
                    <a:pt x="69" y="283"/>
                  </a:lnTo>
                  <a:lnTo>
                    <a:pt x="69" y="302"/>
                  </a:lnTo>
                  <a:lnTo>
                    <a:pt x="88" y="322"/>
                  </a:lnTo>
                  <a:lnTo>
                    <a:pt x="98" y="341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08" y="370"/>
                  </a:lnTo>
                  <a:lnTo>
                    <a:pt x="98" y="370"/>
                  </a:lnTo>
                  <a:lnTo>
                    <a:pt x="88" y="380"/>
                  </a:lnTo>
                  <a:lnTo>
                    <a:pt x="98" y="390"/>
                  </a:lnTo>
                  <a:lnTo>
                    <a:pt x="108" y="400"/>
                  </a:lnTo>
                  <a:lnTo>
                    <a:pt x="98" y="419"/>
                  </a:lnTo>
                  <a:lnTo>
                    <a:pt x="98" y="439"/>
                  </a:lnTo>
                  <a:lnTo>
                    <a:pt x="108" y="448"/>
                  </a:lnTo>
                  <a:lnTo>
                    <a:pt x="117" y="468"/>
                  </a:lnTo>
                  <a:lnTo>
                    <a:pt x="137" y="487"/>
                  </a:lnTo>
                  <a:lnTo>
                    <a:pt x="147" y="478"/>
                  </a:lnTo>
                  <a:lnTo>
                    <a:pt x="166" y="478"/>
                  </a:lnTo>
                  <a:lnTo>
                    <a:pt x="186" y="487"/>
                  </a:lnTo>
                  <a:lnTo>
                    <a:pt x="195" y="507"/>
                  </a:lnTo>
                  <a:lnTo>
                    <a:pt x="205" y="507"/>
                  </a:lnTo>
                  <a:lnTo>
                    <a:pt x="215" y="507"/>
                  </a:lnTo>
                  <a:lnTo>
                    <a:pt x="225" y="487"/>
                  </a:lnTo>
                  <a:lnTo>
                    <a:pt x="234" y="478"/>
                  </a:lnTo>
                  <a:lnTo>
                    <a:pt x="244" y="468"/>
                  </a:lnTo>
                  <a:lnTo>
                    <a:pt x="264" y="458"/>
                  </a:lnTo>
                  <a:lnTo>
                    <a:pt x="264" y="448"/>
                  </a:lnTo>
                  <a:lnTo>
                    <a:pt x="244" y="439"/>
                  </a:lnTo>
                  <a:lnTo>
                    <a:pt x="244" y="429"/>
                  </a:lnTo>
                  <a:lnTo>
                    <a:pt x="234" y="419"/>
                  </a:lnTo>
                  <a:lnTo>
                    <a:pt x="244" y="419"/>
                  </a:lnTo>
                  <a:lnTo>
                    <a:pt x="254" y="419"/>
                  </a:lnTo>
                  <a:lnTo>
                    <a:pt x="254" y="409"/>
                  </a:lnTo>
                  <a:lnTo>
                    <a:pt x="254" y="390"/>
                  </a:lnTo>
                  <a:lnTo>
                    <a:pt x="254" y="380"/>
                  </a:lnTo>
                  <a:lnTo>
                    <a:pt x="244" y="380"/>
                  </a:lnTo>
                  <a:lnTo>
                    <a:pt x="244" y="361"/>
                  </a:lnTo>
                  <a:lnTo>
                    <a:pt x="264" y="351"/>
                  </a:lnTo>
                  <a:lnTo>
                    <a:pt x="273" y="351"/>
                  </a:lnTo>
                  <a:lnTo>
                    <a:pt x="283" y="322"/>
                  </a:lnTo>
                  <a:lnTo>
                    <a:pt x="273" y="322"/>
                  </a:lnTo>
                  <a:lnTo>
                    <a:pt x="283" y="312"/>
                  </a:lnTo>
                  <a:lnTo>
                    <a:pt x="283" y="302"/>
                  </a:lnTo>
                  <a:lnTo>
                    <a:pt x="283" y="292"/>
                  </a:lnTo>
                  <a:lnTo>
                    <a:pt x="273" y="292"/>
                  </a:lnTo>
                  <a:lnTo>
                    <a:pt x="273" y="283"/>
                  </a:lnTo>
                  <a:lnTo>
                    <a:pt x="264" y="263"/>
                  </a:lnTo>
                  <a:lnTo>
                    <a:pt x="254" y="283"/>
                  </a:lnTo>
                  <a:lnTo>
                    <a:pt x="244" y="283"/>
                  </a:lnTo>
                  <a:lnTo>
                    <a:pt x="244" y="273"/>
                  </a:lnTo>
                  <a:lnTo>
                    <a:pt x="264" y="253"/>
                  </a:lnTo>
                  <a:lnTo>
                    <a:pt x="264" y="244"/>
                  </a:lnTo>
                  <a:lnTo>
                    <a:pt x="273" y="224"/>
                  </a:lnTo>
                  <a:lnTo>
                    <a:pt x="264" y="185"/>
                  </a:lnTo>
                  <a:lnTo>
                    <a:pt x="264" y="175"/>
                  </a:lnTo>
                  <a:lnTo>
                    <a:pt x="273" y="175"/>
                  </a:lnTo>
                  <a:lnTo>
                    <a:pt x="283" y="165"/>
                  </a:lnTo>
                  <a:lnTo>
                    <a:pt x="293" y="156"/>
                  </a:lnTo>
                  <a:lnTo>
                    <a:pt x="313" y="136"/>
                  </a:lnTo>
                  <a:lnTo>
                    <a:pt x="322" y="126"/>
                  </a:lnTo>
                  <a:lnTo>
                    <a:pt x="342" y="126"/>
                  </a:lnTo>
                  <a:lnTo>
                    <a:pt x="342" y="117"/>
                  </a:lnTo>
                  <a:lnTo>
                    <a:pt x="342" y="107"/>
                  </a:lnTo>
                  <a:lnTo>
                    <a:pt x="342" y="97"/>
                  </a:lnTo>
                  <a:lnTo>
                    <a:pt x="342" y="87"/>
                  </a:lnTo>
                  <a:lnTo>
                    <a:pt x="332" y="78"/>
                  </a:lnTo>
                  <a:lnTo>
                    <a:pt x="313" y="68"/>
                  </a:lnTo>
                  <a:lnTo>
                    <a:pt x="303" y="58"/>
                  </a:lnTo>
                  <a:lnTo>
                    <a:pt x="303" y="39"/>
                  </a:lnTo>
                  <a:lnTo>
                    <a:pt x="303" y="29"/>
                  </a:lnTo>
                  <a:lnTo>
                    <a:pt x="303" y="19"/>
                  </a:lnTo>
                  <a:lnTo>
                    <a:pt x="293" y="9"/>
                  </a:lnTo>
                  <a:lnTo>
                    <a:pt x="283" y="0"/>
                  </a:lnTo>
                  <a:lnTo>
                    <a:pt x="273" y="9"/>
                  </a:lnTo>
                  <a:lnTo>
                    <a:pt x="254" y="19"/>
                  </a:lnTo>
                  <a:lnTo>
                    <a:pt x="234" y="19"/>
                  </a:lnTo>
                  <a:lnTo>
                    <a:pt x="225" y="9"/>
                  </a:lnTo>
                  <a:lnTo>
                    <a:pt x="205" y="19"/>
                  </a:lnTo>
                  <a:lnTo>
                    <a:pt x="176" y="1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19"/>
                  </a:lnTo>
                  <a:lnTo>
                    <a:pt x="117" y="19"/>
                  </a:lnTo>
                  <a:lnTo>
                    <a:pt x="98" y="19"/>
                  </a:lnTo>
                  <a:lnTo>
                    <a:pt x="98" y="29"/>
                  </a:lnTo>
                  <a:lnTo>
                    <a:pt x="88" y="39"/>
                  </a:lnTo>
                  <a:lnTo>
                    <a:pt x="59" y="39"/>
                  </a:lnTo>
                  <a:lnTo>
                    <a:pt x="39" y="39"/>
                  </a:lnTo>
                  <a:lnTo>
                    <a:pt x="30" y="39"/>
                  </a:lnTo>
                  <a:lnTo>
                    <a:pt x="10" y="39"/>
                  </a:lnTo>
                  <a:lnTo>
                    <a:pt x="10" y="58"/>
                  </a:lnTo>
                  <a:lnTo>
                    <a:pt x="10" y="68"/>
                  </a:lnTo>
                  <a:lnTo>
                    <a:pt x="20" y="78"/>
                  </a:lnTo>
                  <a:lnTo>
                    <a:pt x="30" y="87"/>
                  </a:lnTo>
                  <a:lnTo>
                    <a:pt x="20" y="97"/>
                  </a:lnTo>
                  <a:lnTo>
                    <a:pt x="10" y="97"/>
                  </a:lnTo>
                  <a:lnTo>
                    <a:pt x="10" y="107"/>
                  </a:lnTo>
                  <a:lnTo>
                    <a:pt x="30" y="117"/>
                  </a:lnTo>
                  <a:lnTo>
                    <a:pt x="20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10" y="165"/>
                  </a:lnTo>
                  <a:lnTo>
                    <a:pt x="20" y="175"/>
                  </a:lnTo>
                  <a:lnTo>
                    <a:pt x="20" y="185"/>
                  </a:lnTo>
                  <a:lnTo>
                    <a:pt x="10" y="185"/>
                  </a:lnTo>
                  <a:lnTo>
                    <a:pt x="10" y="195"/>
                  </a:lnTo>
                  <a:lnTo>
                    <a:pt x="0" y="204"/>
                  </a:lnTo>
                  <a:lnTo>
                    <a:pt x="10" y="224"/>
                  </a:lnTo>
                  <a:lnTo>
                    <a:pt x="20" y="234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 316"/>
            <p:cNvSpPr>
              <a:spLocks/>
            </p:cNvSpPr>
            <p:nvPr/>
          </p:nvSpPr>
          <p:spPr bwMode="auto">
            <a:xfrm>
              <a:off x="4506" y="3796"/>
              <a:ext cx="800" cy="458"/>
            </a:xfrm>
            <a:custGeom>
              <a:avLst/>
              <a:gdLst>
                <a:gd name="T0" fmla="*/ 20 w 800"/>
                <a:gd name="T1" fmla="*/ 215 h 459"/>
                <a:gd name="T2" fmla="*/ 30 w 800"/>
                <a:gd name="T3" fmla="*/ 264 h 459"/>
                <a:gd name="T4" fmla="*/ 69 w 800"/>
                <a:gd name="T5" fmla="*/ 332 h 459"/>
                <a:gd name="T6" fmla="*/ 39 w 800"/>
                <a:gd name="T7" fmla="*/ 322 h 459"/>
                <a:gd name="T8" fmla="*/ 20 w 800"/>
                <a:gd name="T9" fmla="*/ 342 h 459"/>
                <a:gd name="T10" fmla="*/ 39 w 800"/>
                <a:gd name="T11" fmla="*/ 361 h 459"/>
                <a:gd name="T12" fmla="*/ 49 w 800"/>
                <a:gd name="T13" fmla="*/ 381 h 459"/>
                <a:gd name="T14" fmla="*/ 98 w 800"/>
                <a:gd name="T15" fmla="*/ 371 h 459"/>
                <a:gd name="T16" fmla="*/ 147 w 800"/>
                <a:gd name="T17" fmla="*/ 352 h 459"/>
                <a:gd name="T18" fmla="*/ 176 w 800"/>
                <a:gd name="T19" fmla="*/ 352 h 459"/>
                <a:gd name="T20" fmla="*/ 215 w 800"/>
                <a:gd name="T21" fmla="*/ 322 h 459"/>
                <a:gd name="T22" fmla="*/ 264 w 800"/>
                <a:gd name="T23" fmla="*/ 322 h 459"/>
                <a:gd name="T24" fmla="*/ 293 w 800"/>
                <a:gd name="T25" fmla="*/ 322 h 459"/>
                <a:gd name="T26" fmla="*/ 313 w 800"/>
                <a:gd name="T27" fmla="*/ 332 h 459"/>
                <a:gd name="T28" fmla="*/ 322 w 800"/>
                <a:gd name="T29" fmla="*/ 342 h 459"/>
                <a:gd name="T30" fmla="*/ 381 w 800"/>
                <a:gd name="T31" fmla="*/ 352 h 459"/>
                <a:gd name="T32" fmla="*/ 430 w 800"/>
                <a:gd name="T33" fmla="*/ 361 h 459"/>
                <a:gd name="T34" fmla="*/ 469 w 800"/>
                <a:gd name="T35" fmla="*/ 420 h 459"/>
                <a:gd name="T36" fmla="*/ 517 w 800"/>
                <a:gd name="T37" fmla="*/ 439 h 459"/>
                <a:gd name="T38" fmla="*/ 556 w 800"/>
                <a:gd name="T39" fmla="*/ 430 h 459"/>
                <a:gd name="T40" fmla="*/ 586 w 800"/>
                <a:gd name="T41" fmla="*/ 449 h 459"/>
                <a:gd name="T42" fmla="*/ 625 w 800"/>
                <a:gd name="T43" fmla="*/ 439 h 459"/>
                <a:gd name="T44" fmla="*/ 664 w 800"/>
                <a:gd name="T45" fmla="*/ 459 h 459"/>
                <a:gd name="T46" fmla="*/ 713 w 800"/>
                <a:gd name="T47" fmla="*/ 439 h 459"/>
                <a:gd name="T48" fmla="*/ 742 w 800"/>
                <a:gd name="T49" fmla="*/ 400 h 459"/>
                <a:gd name="T50" fmla="*/ 732 w 800"/>
                <a:gd name="T51" fmla="*/ 361 h 459"/>
                <a:gd name="T52" fmla="*/ 713 w 800"/>
                <a:gd name="T53" fmla="*/ 313 h 459"/>
                <a:gd name="T54" fmla="*/ 713 w 800"/>
                <a:gd name="T55" fmla="*/ 264 h 459"/>
                <a:gd name="T56" fmla="*/ 752 w 800"/>
                <a:gd name="T57" fmla="*/ 235 h 459"/>
                <a:gd name="T58" fmla="*/ 791 w 800"/>
                <a:gd name="T59" fmla="*/ 186 h 459"/>
                <a:gd name="T60" fmla="*/ 791 w 800"/>
                <a:gd name="T61" fmla="*/ 137 h 459"/>
                <a:gd name="T62" fmla="*/ 771 w 800"/>
                <a:gd name="T63" fmla="*/ 98 h 459"/>
                <a:gd name="T64" fmla="*/ 791 w 800"/>
                <a:gd name="T65" fmla="*/ 78 h 459"/>
                <a:gd name="T66" fmla="*/ 752 w 800"/>
                <a:gd name="T67" fmla="*/ 78 h 459"/>
                <a:gd name="T68" fmla="*/ 722 w 800"/>
                <a:gd name="T69" fmla="*/ 69 h 459"/>
                <a:gd name="T70" fmla="*/ 674 w 800"/>
                <a:gd name="T71" fmla="*/ 30 h 459"/>
                <a:gd name="T72" fmla="*/ 634 w 800"/>
                <a:gd name="T73" fmla="*/ 10 h 459"/>
                <a:gd name="T74" fmla="*/ 605 w 800"/>
                <a:gd name="T75" fmla="*/ 30 h 459"/>
                <a:gd name="T76" fmla="*/ 566 w 800"/>
                <a:gd name="T77" fmla="*/ 39 h 459"/>
                <a:gd name="T78" fmla="*/ 517 w 800"/>
                <a:gd name="T79" fmla="*/ 39 h 459"/>
                <a:gd name="T80" fmla="*/ 478 w 800"/>
                <a:gd name="T81" fmla="*/ 39 h 459"/>
                <a:gd name="T82" fmla="*/ 459 w 800"/>
                <a:gd name="T83" fmla="*/ 88 h 459"/>
                <a:gd name="T84" fmla="*/ 400 w 800"/>
                <a:gd name="T85" fmla="*/ 127 h 459"/>
                <a:gd name="T86" fmla="*/ 361 w 800"/>
                <a:gd name="T87" fmla="*/ 166 h 459"/>
                <a:gd name="T88" fmla="*/ 303 w 800"/>
                <a:gd name="T89" fmla="*/ 196 h 459"/>
                <a:gd name="T90" fmla="*/ 235 w 800"/>
                <a:gd name="T91" fmla="*/ 186 h 459"/>
                <a:gd name="T92" fmla="*/ 166 w 800"/>
                <a:gd name="T93" fmla="*/ 166 h 459"/>
                <a:gd name="T94" fmla="*/ 127 w 800"/>
                <a:gd name="T95" fmla="*/ 137 h 459"/>
                <a:gd name="T96" fmla="*/ 108 w 800"/>
                <a:gd name="T97" fmla="*/ 166 h 459"/>
                <a:gd name="T98" fmla="*/ 49 w 800"/>
                <a:gd name="T99" fmla="*/ 176 h 459"/>
                <a:gd name="T100" fmla="*/ 10 w 800"/>
                <a:gd name="T101" fmla="*/ 166 h 459"/>
                <a:gd name="T102" fmla="*/ 10 w 800"/>
                <a:gd name="T103" fmla="*/ 196 h 45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00"/>
                <a:gd name="T157" fmla="*/ 0 h 459"/>
                <a:gd name="T158" fmla="*/ 800 w 800"/>
                <a:gd name="T159" fmla="*/ 459 h 45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00" h="459">
                  <a:moveTo>
                    <a:pt x="10" y="196"/>
                  </a:moveTo>
                  <a:lnTo>
                    <a:pt x="10" y="205"/>
                  </a:lnTo>
                  <a:lnTo>
                    <a:pt x="20" y="215"/>
                  </a:lnTo>
                  <a:lnTo>
                    <a:pt x="10" y="235"/>
                  </a:lnTo>
                  <a:lnTo>
                    <a:pt x="10" y="254"/>
                  </a:lnTo>
                  <a:lnTo>
                    <a:pt x="30" y="264"/>
                  </a:lnTo>
                  <a:lnTo>
                    <a:pt x="49" y="283"/>
                  </a:lnTo>
                  <a:lnTo>
                    <a:pt x="69" y="313"/>
                  </a:lnTo>
                  <a:lnTo>
                    <a:pt x="69" y="332"/>
                  </a:lnTo>
                  <a:lnTo>
                    <a:pt x="59" y="332"/>
                  </a:lnTo>
                  <a:lnTo>
                    <a:pt x="49" y="322"/>
                  </a:lnTo>
                  <a:lnTo>
                    <a:pt x="39" y="322"/>
                  </a:lnTo>
                  <a:lnTo>
                    <a:pt x="39" y="332"/>
                  </a:lnTo>
                  <a:lnTo>
                    <a:pt x="20" y="342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39" y="371"/>
                  </a:lnTo>
                  <a:lnTo>
                    <a:pt x="39" y="381"/>
                  </a:lnTo>
                  <a:lnTo>
                    <a:pt x="49" y="381"/>
                  </a:lnTo>
                  <a:lnTo>
                    <a:pt x="69" y="381"/>
                  </a:lnTo>
                  <a:lnTo>
                    <a:pt x="88" y="381"/>
                  </a:lnTo>
                  <a:lnTo>
                    <a:pt x="98" y="371"/>
                  </a:lnTo>
                  <a:lnTo>
                    <a:pt x="118" y="361"/>
                  </a:lnTo>
                  <a:lnTo>
                    <a:pt x="127" y="361"/>
                  </a:lnTo>
                  <a:lnTo>
                    <a:pt x="147" y="352"/>
                  </a:lnTo>
                  <a:lnTo>
                    <a:pt x="157" y="342"/>
                  </a:lnTo>
                  <a:lnTo>
                    <a:pt x="166" y="342"/>
                  </a:lnTo>
                  <a:lnTo>
                    <a:pt x="176" y="352"/>
                  </a:lnTo>
                  <a:lnTo>
                    <a:pt x="196" y="342"/>
                  </a:lnTo>
                  <a:lnTo>
                    <a:pt x="205" y="332"/>
                  </a:lnTo>
                  <a:lnTo>
                    <a:pt x="215" y="322"/>
                  </a:lnTo>
                  <a:lnTo>
                    <a:pt x="235" y="322"/>
                  </a:lnTo>
                  <a:lnTo>
                    <a:pt x="254" y="322"/>
                  </a:lnTo>
                  <a:lnTo>
                    <a:pt x="264" y="322"/>
                  </a:lnTo>
                  <a:lnTo>
                    <a:pt x="274" y="313"/>
                  </a:lnTo>
                  <a:lnTo>
                    <a:pt x="283" y="313"/>
                  </a:lnTo>
                  <a:lnTo>
                    <a:pt x="293" y="322"/>
                  </a:lnTo>
                  <a:lnTo>
                    <a:pt x="313" y="313"/>
                  </a:lnTo>
                  <a:lnTo>
                    <a:pt x="313" y="322"/>
                  </a:lnTo>
                  <a:lnTo>
                    <a:pt x="313" y="332"/>
                  </a:lnTo>
                  <a:lnTo>
                    <a:pt x="303" y="342"/>
                  </a:lnTo>
                  <a:lnTo>
                    <a:pt x="313" y="342"/>
                  </a:lnTo>
                  <a:lnTo>
                    <a:pt x="322" y="342"/>
                  </a:lnTo>
                  <a:lnTo>
                    <a:pt x="332" y="352"/>
                  </a:lnTo>
                  <a:lnTo>
                    <a:pt x="361" y="352"/>
                  </a:lnTo>
                  <a:lnTo>
                    <a:pt x="381" y="352"/>
                  </a:lnTo>
                  <a:lnTo>
                    <a:pt x="400" y="361"/>
                  </a:lnTo>
                  <a:lnTo>
                    <a:pt x="420" y="361"/>
                  </a:lnTo>
                  <a:lnTo>
                    <a:pt x="430" y="361"/>
                  </a:lnTo>
                  <a:lnTo>
                    <a:pt x="430" y="381"/>
                  </a:lnTo>
                  <a:lnTo>
                    <a:pt x="449" y="410"/>
                  </a:lnTo>
                  <a:lnTo>
                    <a:pt x="469" y="420"/>
                  </a:lnTo>
                  <a:lnTo>
                    <a:pt x="478" y="420"/>
                  </a:lnTo>
                  <a:lnTo>
                    <a:pt x="498" y="430"/>
                  </a:lnTo>
                  <a:lnTo>
                    <a:pt x="517" y="439"/>
                  </a:lnTo>
                  <a:lnTo>
                    <a:pt x="537" y="430"/>
                  </a:lnTo>
                  <a:lnTo>
                    <a:pt x="537" y="420"/>
                  </a:lnTo>
                  <a:lnTo>
                    <a:pt x="556" y="430"/>
                  </a:lnTo>
                  <a:lnTo>
                    <a:pt x="566" y="430"/>
                  </a:lnTo>
                  <a:lnTo>
                    <a:pt x="576" y="439"/>
                  </a:lnTo>
                  <a:lnTo>
                    <a:pt x="586" y="449"/>
                  </a:lnTo>
                  <a:lnTo>
                    <a:pt x="595" y="439"/>
                  </a:lnTo>
                  <a:lnTo>
                    <a:pt x="605" y="439"/>
                  </a:lnTo>
                  <a:lnTo>
                    <a:pt x="625" y="439"/>
                  </a:lnTo>
                  <a:lnTo>
                    <a:pt x="644" y="449"/>
                  </a:lnTo>
                  <a:lnTo>
                    <a:pt x="644" y="459"/>
                  </a:lnTo>
                  <a:lnTo>
                    <a:pt x="664" y="459"/>
                  </a:lnTo>
                  <a:lnTo>
                    <a:pt x="674" y="459"/>
                  </a:lnTo>
                  <a:lnTo>
                    <a:pt x="693" y="439"/>
                  </a:lnTo>
                  <a:lnTo>
                    <a:pt x="713" y="439"/>
                  </a:lnTo>
                  <a:lnTo>
                    <a:pt x="732" y="420"/>
                  </a:lnTo>
                  <a:lnTo>
                    <a:pt x="752" y="410"/>
                  </a:lnTo>
                  <a:lnTo>
                    <a:pt x="742" y="400"/>
                  </a:lnTo>
                  <a:lnTo>
                    <a:pt x="732" y="391"/>
                  </a:lnTo>
                  <a:lnTo>
                    <a:pt x="732" y="381"/>
                  </a:lnTo>
                  <a:lnTo>
                    <a:pt x="732" y="361"/>
                  </a:lnTo>
                  <a:lnTo>
                    <a:pt x="722" y="352"/>
                  </a:lnTo>
                  <a:lnTo>
                    <a:pt x="722" y="332"/>
                  </a:lnTo>
                  <a:lnTo>
                    <a:pt x="713" y="313"/>
                  </a:lnTo>
                  <a:lnTo>
                    <a:pt x="713" y="303"/>
                  </a:lnTo>
                  <a:lnTo>
                    <a:pt x="713" y="293"/>
                  </a:lnTo>
                  <a:lnTo>
                    <a:pt x="713" y="264"/>
                  </a:lnTo>
                  <a:lnTo>
                    <a:pt x="732" y="264"/>
                  </a:lnTo>
                  <a:lnTo>
                    <a:pt x="742" y="244"/>
                  </a:lnTo>
                  <a:lnTo>
                    <a:pt x="752" y="235"/>
                  </a:lnTo>
                  <a:lnTo>
                    <a:pt x="781" y="225"/>
                  </a:lnTo>
                  <a:lnTo>
                    <a:pt x="781" y="205"/>
                  </a:lnTo>
                  <a:lnTo>
                    <a:pt x="791" y="186"/>
                  </a:lnTo>
                  <a:lnTo>
                    <a:pt x="771" y="166"/>
                  </a:lnTo>
                  <a:lnTo>
                    <a:pt x="781" y="156"/>
                  </a:lnTo>
                  <a:lnTo>
                    <a:pt x="791" y="137"/>
                  </a:lnTo>
                  <a:lnTo>
                    <a:pt x="781" y="117"/>
                  </a:lnTo>
                  <a:lnTo>
                    <a:pt x="771" y="108"/>
                  </a:lnTo>
                  <a:lnTo>
                    <a:pt x="771" y="98"/>
                  </a:lnTo>
                  <a:lnTo>
                    <a:pt x="791" y="108"/>
                  </a:lnTo>
                  <a:lnTo>
                    <a:pt x="800" y="98"/>
                  </a:lnTo>
                  <a:lnTo>
                    <a:pt x="791" y="78"/>
                  </a:lnTo>
                  <a:lnTo>
                    <a:pt x="771" y="78"/>
                  </a:lnTo>
                  <a:lnTo>
                    <a:pt x="761" y="78"/>
                  </a:lnTo>
                  <a:lnTo>
                    <a:pt x="752" y="78"/>
                  </a:lnTo>
                  <a:lnTo>
                    <a:pt x="732" y="88"/>
                  </a:lnTo>
                  <a:lnTo>
                    <a:pt x="732" y="69"/>
                  </a:lnTo>
                  <a:lnTo>
                    <a:pt x="722" y="69"/>
                  </a:lnTo>
                  <a:lnTo>
                    <a:pt x="693" y="49"/>
                  </a:lnTo>
                  <a:lnTo>
                    <a:pt x="674" y="39"/>
                  </a:lnTo>
                  <a:lnTo>
                    <a:pt x="674" y="30"/>
                  </a:lnTo>
                  <a:lnTo>
                    <a:pt x="664" y="10"/>
                  </a:lnTo>
                  <a:lnTo>
                    <a:pt x="644" y="0"/>
                  </a:lnTo>
                  <a:lnTo>
                    <a:pt x="634" y="10"/>
                  </a:lnTo>
                  <a:lnTo>
                    <a:pt x="625" y="10"/>
                  </a:lnTo>
                  <a:lnTo>
                    <a:pt x="625" y="20"/>
                  </a:lnTo>
                  <a:lnTo>
                    <a:pt x="605" y="30"/>
                  </a:lnTo>
                  <a:lnTo>
                    <a:pt x="586" y="30"/>
                  </a:lnTo>
                  <a:lnTo>
                    <a:pt x="576" y="39"/>
                  </a:lnTo>
                  <a:lnTo>
                    <a:pt x="566" y="39"/>
                  </a:lnTo>
                  <a:lnTo>
                    <a:pt x="556" y="30"/>
                  </a:lnTo>
                  <a:lnTo>
                    <a:pt x="537" y="30"/>
                  </a:lnTo>
                  <a:lnTo>
                    <a:pt x="517" y="39"/>
                  </a:lnTo>
                  <a:lnTo>
                    <a:pt x="508" y="30"/>
                  </a:lnTo>
                  <a:lnTo>
                    <a:pt x="488" y="39"/>
                  </a:lnTo>
                  <a:lnTo>
                    <a:pt x="478" y="39"/>
                  </a:lnTo>
                  <a:lnTo>
                    <a:pt x="478" y="69"/>
                  </a:lnTo>
                  <a:lnTo>
                    <a:pt x="469" y="78"/>
                  </a:lnTo>
                  <a:lnTo>
                    <a:pt x="459" y="88"/>
                  </a:lnTo>
                  <a:lnTo>
                    <a:pt x="439" y="88"/>
                  </a:lnTo>
                  <a:lnTo>
                    <a:pt x="420" y="108"/>
                  </a:lnTo>
                  <a:lnTo>
                    <a:pt x="400" y="127"/>
                  </a:lnTo>
                  <a:lnTo>
                    <a:pt x="400" y="137"/>
                  </a:lnTo>
                  <a:lnTo>
                    <a:pt x="391" y="156"/>
                  </a:lnTo>
                  <a:lnTo>
                    <a:pt x="361" y="166"/>
                  </a:lnTo>
                  <a:lnTo>
                    <a:pt x="332" y="166"/>
                  </a:lnTo>
                  <a:lnTo>
                    <a:pt x="313" y="186"/>
                  </a:lnTo>
                  <a:lnTo>
                    <a:pt x="303" y="196"/>
                  </a:lnTo>
                  <a:lnTo>
                    <a:pt x="274" y="196"/>
                  </a:lnTo>
                  <a:lnTo>
                    <a:pt x="254" y="186"/>
                  </a:lnTo>
                  <a:lnTo>
                    <a:pt x="235" y="186"/>
                  </a:lnTo>
                  <a:lnTo>
                    <a:pt x="215" y="176"/>
                  </a:lnTo>
                  <a:lnTo>
                    <a:pt x="196" y="166"/>
                  </a:lnTo>
                  <a:lnTo>
                    <a:pt x="166" y="166"/>
                  </a:lnTo>
                  <a:lnTo>
                    <a:pt x="157" y="156"/>
                  </a:lnTo>
                  <a:lnTo>
                    <a:pt x="147" y="137"/>
                  </a:lnTo>
                  <a:lnTo>
                    <a:pt x="127" y="137"/>
                  </a:lnTo>
                  <a:lnTo>
                    <a:pt x="108" y="137"/>
                  </a:lnTo>
                  <a:lnTo>
                    <a:pt x="108" y="16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49" y="176"/>
                  </a:lnTo>
                  <a:lnTo>
                    <a:pt x="39" y="176"/>
                  </a:lnTo>
                  <a:lnTo>
                    <a:pt x="39" y="166"/>
                  </a:lnTo>
                  <a:lnTo>
                    <a:pt x="10" y="16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10" y="196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 315"/>
            <p:cNvSpPr>
              <a:spLocks/>
            </p:cNvSpPr>
            <p:nvPr/>
          </p:nvSpPr>
          <p:spPr bwMode="auto">
            <a:xfrm>
              <a:off x="4448" y="2059"/>
              <a:ext cx="1074" cy="1932"/>
            </a:xfrm>
            <a:custGeom>
              <a:avLst/>
              <a:gdLst>
                <a:gd name="T0" fmla="*/ 429 w 1073"/>
                <a:gd name="T1" fmla="*/ 253 h 1932"/>
                <a:gd name="T2" fmla="*/ 351 w 1073"/>
                <a:gd name="T3" fmla="*/ 448 h 1932"/>
                <a:gd name="T4" fmla="*/ 429 w 1073"/>
                <a:gd name="T5" fmla="*/ 478 h 1932"/>
                <a:gd name="T6" fmla="*/ 497 w 1073"/>
                <a:gd name="T7" fmla="*/ 546 h 1932"/>
                <a:gd name="T8" fmla="*/ 468 w 1073"/>
                <a:gd name="T9" fmla="*/ 673 h 1932"/>
                <a:gd name="T10" fmla="*/ 371 w 1073"/>
                <a:gd name="T11" fmla="*/ 839 h 1932"/>
                <a:gd name="T12" fmla="*/ 458 w 1073"/>
                <a:gd name="T13" fmla="*/ 907 h 1932"/>
                <a:gd name="T14" fmla="*/ 507 w 1073"/>
                <a:gd name="T15" fmla="*/ 868 h 1932"/>
                <a:gd name="T16" fmla="*/ 595 w 1073"/>
                <a:gd name="T17" fmla="*/ 897 h 1932"/>
                <a:gd name="T18" fmla="*/ 624 w 1073"/>
                <a:gd name="T19" fmla="*/ 1053 h 1932"/>
                <a:gd name="T20" fmla="*/ 732 w 1073"/>
                <a:gd name="T21" fmla="*/ 1073 h 1932"/>
                <a:gd name="T22" fmla="*/ 878 w 1073"/>
                <a:gd name="T23" fmla="*/ 1044 h 1932"/>
                <a:gd name="T24" fmla="*/ 1034 w 1073"/>
                <a:gd name="T25" fmla="*/ 1073 h 1932"/>
                <a:gd name="T26" fmla="*/ 1034 w 1073"/>
                <a:gd name="T27" fmla="*/ 1200 h 1932"/>
                <a:gd name="T28" fmla="*/ 966 w 1073"/>
                <a:gd name="T29" fmla="*/ 1268 h 1932"/>
                <a:gd name="T30" fmla="*/ 936 w 1073"/>
                <a:gd name="T31" fmla="*/ 1278 h 1932"/>
                <a:gd name="T32" fmla="*/ 868 w 1073"/>
                <a:gd name="T33" fmla="*/ 1297 h 1932"/>
                <a:gd name="T34" fmla="*/ 761 w 1073"/>
                <a:gd name="T35" fmla="*/ 1385 h 1932"/>
                <a:gd name="T36" fmla="*/ 751 w 1073"/>
                <a:gd name="T37" fmla="*/ 1453 h 1932"/>
                <a:gd name="T38" fmla="*/ 692 w 1073"/>
                <a:gd name="T39" fmla="*/ 1551 h 1932"/>
                <a:gd name="T40" fmla="*/ 683 w 1073"/>
                <a:gd name="T41" fmla="*/ 1639 h 1932"/>
                <a:gd name="T42" fmla="*/ 614 w 1073"/>
                <a:gd name="T43" fmla="*/ 1658 h 1932"/>
                <a:gd name="T44" fmla="*/ 634 w 1073"/>
                <a:gd name="T45" fmla="*/ 1775 h 1932"/>
                <a:gd name="T46" fmla="*/ 546 w 1073"/>
                <a:gd name="T47" fmla="*/ 1775 h 1932"/>
                <a:gd name="T48" fmla="*/ 458 w 1073"/>
                <a:gd name="T49" fmla="*/ 1873 h 1932"/>
                <a:gd name="T50" fmla="*/ 312 w 1073"/>
                <a:gd name="T51" fmla="*/ 1922 h 1932"/>
                <a:gd name="T52" fmla="*/ 205 w 1073"/>
                <a:gd name="T53" fmla="*/ 1863 h 1932"/>
                <a:gd name="T54" fmla="*/ 283 w 1073"/>
                <a:gd name="T55" fmla="*/ 1805 h 1932"/>
                <a:gd name="T56" fmla="*/ 312 w 1073"/>
                <a:gd name="T57" fmla="*/ 1717 h 1932"/>
                <a:gd name="T58" fmla="*/ 312 w 1073"/>
                <a:gd name="T59" fmla="*/ 1610 h 1932"/>
                <a:gd name="T60" fmla="*/ 283 w 1073"/>
                <a:gd name="T61" fmla="*/ 1561 h 1932"/>
                <a:gd name="T62" fmla="*/ 224 w 1073"/>
                <a:gd name="T63" fmla="*/ 1522 h 1932"/>
                <a:gd name="T64" fmla="*/ 166 w 1073"/>
                <a:gd name="T65" fmla="*/ 1531 h 1932"/>
                <a:gd name="T66" fmla="*/ 205 w 1073"/>
                <a:gd name="T67" fmla="*/ 1453 h 1932"/>
                <a:gd name="T68" fmla="*/ 166 w 1073"/>
                <a:gd name="T69" fmla="*/ 1385 h 1932"/>
                <a:gd name="T70" fmla="*/ 166 w 1073"/>
                <a:gd name="T71" fmla="*/ 1288 h 1932"/>
                <a:gd name="T72" fmla="*/ 215 w 1073"/>
                <a:gd name="T73" fmla="*/ 1249 h 1932"/>
                <a:gd name="T74" fmla="*/ 156 w 1073"/>
                <a:gd name="T75" fmla="*/ 1161 h 1932"/>
                <a:gd name="T76" fmla="*/ 205 w 1073"/>
                <a:gd name="T77" fmla="*/ 1053 h 1932"/>
                <a:gd name="T78" fmla="*/ 136 w 1073"/>
                <a:gd name="T79" fmla="*/ 975 h 1932"/>
                <a:gd name="T80" fmla="*/ 0 w 1073"/>
                <a:gd name="T81" fmla="*/ 936 h 1932"/>
                <a:gd name="T82" fmla="*/ 10 w 1073"/>
                <a:gd name="T83" fmla="*/ 839 h 1932"/>
                <a:gd name="T84" fmla="*/ 97 w 1073"/>
                <a:gd name="T85" fmla="*/ 761 h 1932"/>
                <a:gd name="T86" fmla="*/ 117 w 1073"/>
                <a:gd name="T87" fmla="*/ 624 h 1932"/>
                <a:gd name="T88" fmla="*/ 136 w 1073"/>
                <a:gd name="T89" fmla="*/ 556 h 1932"/>
                <a:gd name="T90" fmla="*/ 185 w 1073"/>
                <a:gd name="T91" fmla="*/ 478 h 1932"/>
                <a:gd name="T92" fmla="*/ 156 w 1073"/>
                <a:gd name="T93" fmla="*/ 390 h 1932"/>
                <a:gd name="T94" fmla="*/ 136 w 1073"/>
                <a:gd name="T95" fmla="*/ 322 h 1932"/>
                <a:gd name="T96" fmla="*/ 107 w 1073"/>
                <a:gd name="T97" fmla="*/ 273 h 1932"/>
                <a:gd name="T98" fmla="*/ 97 w 1073"/>
                <a:gd name="T99" fmla="*/ 195 h 1932"/>
                <a:gd name="T100" fmla="*/ 88 w 1073"/>
                <a:gd name="T101" fmla="*/ 97 h 1932"/>
                <a:gd name="T102" fmla="*/ 127 w 1073"/>
                <a:gd name="T103" fmla="*/ 19 h 1932"/>
                <a:gd name="T104" fmla="*/ 215 w 1073"/>
                <a:gd name="T105" fmla="*/ 127 h 1932"/>
                <a:gd name="T106" fmla="*/ 283 w 1073"/>
                <a:gd name="T107" fmla="*/ 58 h 1932"/>
                <a:gd name="T108" fmla="*/ 439 w 1073"/>
                <a:gd name="T109" fmla="*/ 166 h 193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73"/>
                <a:gd name="T166" fmla="*/ 0 h 1932"/>
                <a:gd name="T167" fmla="*/ 1073 w 1073"/>
                <a:gd name="T168" fmla="*/ 1932 h 193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73" h="1932">
                  <a:moveTo>
                    <a:pt x="507" y="166"/>
                  </a:moveTo>
                  <a:lnTo>
                    <a:pt x="497" y="175"/>
                  </a:lnTo>
                  <a:lnTo>
                    <a:pt x="488" y="195"/>
                  </a:lnTo>
                  <a:lnTo>
                    <a:pt x="478" y="214"/>
                  </a:lnTo>
                  <a:lnTo>
                    <a:pt x="458" y="224"/>
                  </a:lnTo>
                  <a:lnTo>
                    <a:pt x="439" y="244"/>
                  </a:lnTo>
                  <a:lnTo>
                    <a:pt x="429" y="253"/>
                  </a:lnTo>
                  <a:lnTo>
                    <a:pt x="400" y="263"/>
                  </a:lnTo>
                  <a:lnTo>
                    <a:pt x="390" y="273"/>
                  </a:lnTo>
                  <a:lnTo>
                    <a:pt x="380" y="312"/>
                  </a:lnTo>
                  <a:lnTo>
                    <a:pt x="351" y="322"/>
                  </a:lnTo>
                  <a:lnTo>
                    <a:pt x="341" y="361"/>
                  </a:lnTo>
                  <a:lnTo>
                    <a:pt x="371" y="370"/>
                  </a:lnTo>
                  <a:lnTo>
                    <a:pt x="351" y="448"/>
                  </a:lnTo>
                  <a:lnTo>
                    <a:pt x="371" y="458"/>
                  </a:lnTo>
                  <a:lnTo>
                    <a:pt x="400" y="468"/>
                  </a:lnTo>
                  <a:lnTo>
                    <a:pt x="410" y="468"/>
                  </a:lnTo>
                  <a:lnTo>
                    <a:pt x="410" y="478"/>
                  </a:lnTo>
                  <a:lnTo>
                    <a:pt x="410" y="497"/>
                  </a:lnTo>
                  <a:lnTo>
                    <a:pt x="419" y="488"/>
                  </a:lnTo>
                  <a:lnTo>
                    <a:pt x="429" y="478"/>
                  </a:lnTo>
                  <a:lnTo>
                    <a:pt x="439" y="478"/>
                  </a:lnTo>
                  <a:lnTo>
                    <a:pt x="439" y="497"/>
                  </a:lnTo>
                  <a:lnTo>
                    <a:pt x="449" y="507"/>
                  </a:lnTo>
                  <a:lnTo>
                    <a:pt x="458" y="507"/>
                  </a:lnTo>
                  <a:lnTo>
                    <a:pt x="478" y="507"/>
                  </a:lnTo>
                  <a:lnTo>
                    <a:pt x="488" y="527"/>
                  </a:lnTo>
                  <a:lnTo>
                    <a:pt x="497" y="546"/>
                  </a:lnTo>
                  <a:lnTo>
                    <a:pt x="497" y="566"/>
                  </a:lnTo>
                  <a:lnTo>
                    <a:pt x="488" y="585"/>
                  </a:lnTo>
                  <a:lnTo>
                    <a:pt x="468" y="605"/>
                  </a:lnTo>
                  <a:lnTo>
                    <a:pt x="468" y="614"/>
                  </a:lnTo>
                  <a:lnTo>
                    <a:pt x="478" y="614"/>
                  </a:lnTo>
                  <a:lnTo>
                    <a:pt x="478" y="634"/>
                  </a:lnTo>
                  <a:lnTo>
                    <a:pt x="468" y="673"/>
                  </a:lnTo>
                  <a:lnTo>
                    <a:pt x="439" y="683"/>
                  </a:lnTo>
                  <a:lnTo>
                    <a:pt x="419" y="702"/>
                  </a:lnTo>
                  <a:lnTo>
                    <a:pt x="410" y="722"/>
                  </a:lnTo>
                  <a:lnTo>
                    <a:pt x="351" y="741"/>
                  </a:lnTo>
                  <a:lnTo>
                    <a:pt x="400" y="780"/>
                  </a:lnTo>
                  <a:lnTo>
                    <a:pt x="390" y="809"/>
                  </a:lnTo>
                  <a:lnTo>
                    <a:pt x="371" y="839"/>
                  </a:lnTo>
                  <a:lnTo>
                    <a:pt x="390" y="888"/>
                  </a:lnTo>
                  <a:lnTo>
                    <a:pt x="410" y="897"/>
                  </a:lnTo>
                  <a:lnTo>
                    <a:pt x="419" y="917"/>
                  </a:lnTo>
                  <a:lnTo>
                    <a:pt x="419" y="927"/>
                  </a:lnTo>
                  <a:lnTo>
                    <a:pt x="439" y="927"/>
                  </a:lnTo>
                  <a:lnTo>
                    <a:pt x="449" y="917"/>
                  </a:lnTo>
                  <a:lnTo>
                    <a:pt x="458" y="907"/>
                  </a:lnTo>
                  <a:lnTo>
                    <a:pt x="478" y="897"/>
                  </a:lnTo>
                  <a:lnTo>
                    <a:pt x="478" y="907"/>
                  </a:lnTo>
                  <a:lnTo>
                    <a:pt x="488" y="897"/>
                  </a:lnTo>
                  <a:lnTo>
                    <a:pt x="488" y="888"/>
                  </a:lnTo>
                  <a:lnTo>
                    <a:pt x="497" y="888"/>
                  </a:lnTo>
                  <a:lnTo>
                    <a:pt x="507" y="888"/>
                  </a:lnTo>
                  <a:lnTo>
                    <a:pt x="507" y="868"/>
                  </a:lnTo>
                  <a:lnTo>
                    <a:pt x="517" y="858"/>
                  </a:lnTo>
                  <a:lnTo>
                    <a:pt x="536" y="858"/>
                  </a:lnTo>
                  <a:lnTo>
                    <a:pt x="527" y="878"/>
                  </a:lnTo>
                  <a:lnTo>
                    <a:pt x="527" y="888"/>
                  </a:lnTo>
                  <a:lnTo>
                    <a:pt x="546" y="888"/>
                  </a:lnTo>
                  <a:lnTo>
                    <a:pt x="575" y="897"/>
                  </a:lnTo>
                  <a:lnTo>
                    <a:pt x="595" y="897"/>
                  </a:lnTo>
                  <a:lnTo>
                    <a:pt x="614" y="907"/>
                  </a:lnTo>
                  <a:lnTo>
                    <a:pt x="634" y="917"/>
                  </a:lnTo>
                  <a:lnTo>
                    <a:pt x="644" y="936"/>
                  </a:lnTo>
                  <a:lnTo>
                    <a:pt x="644" y="956"/>
                  </a:lnTo>
                  <a:lnTo>
                    <a:pt x="634" y="985"/>
                  </a:lnTo>
                  <a:lnTo>
                    <a:pt x="624" y="995"/>
                  </a:lnTo>
                  <a:lnTo>
                    <a:pt x="624" y="1053"/>
                  </a:lnTo>
                  <a:lnTo>
                    <a:pt x="624" y="1063"/>
                  </a:lnTo>
                  <a:lnTo>
                    <a:pt x="644" y="1053"/>
                  </a:lnTo>
                  <a:lnTo>
                    <a:pt x="653" y="1073"/>
                  </a:lnTo>
                  <a:lnTo>
                    <a:pt x="663" y="1063"/>
                  </a:lnTo>
                  <a:lnTo>
                    <a:pt x="683" y="1063"/>
                  </a:lnTo>
                  <a:lnTo>
                    <a:pt x="683" y="1073"/>
                  </a:lnTo>
                  <a:lnTo>
                    <a:pt x="732" y="1073"/>
                  </a:lnTo>
                  <a:lnTo>
                    <a:pt x="751" y="1063"/>
                  </a:lnTo>
                  <a:lnTo>
                    <a:pt x="761" y="1053"/>
                  </a:lnTo>
                  <a:lnTo>
                    <a:pt x="780" y="1053"/>
                  </a:lnTo>
                  <a:lnTo>
                    <a:pt x="800" y="1053"/>
                  </a:lnTo>
                  <a:lnTo>
                    <a:pt x="829" y="1053"/>
                  </a:lnTo>
                  <a:lnTo>
                    <a:pt x="858" y="1053"/>
                  </a:lnTo>
                  <a:lnTo>
                    <a:pt x="878" y="1044"/>
                  </a:lnTo>
                  <a:lnTo>
                    <a:pt x="888" y="1024"/>
                  </a:lnTo>
                  <a:lnTo>
                    <a:pt x="897" y="1024"/>
                  </a:lnTo>
                  <a:lnTo>
                    <a:pt x="936" y="1053"/>
                  </a:lnTo>
                  <a:lnTo>
                    <a:pt x="966" y="1053"/>
                  </a:lnTo>
                  <a:lnTo>
                    <a:pt x="995" y="1053"/>
                  </a:lnTo>
                  <a:lnTo>
                    <a:pt x="1024" y="1063"/>
                  </a:lnTo>
                  <a:lnTo>
                    <a:pt x="1034" y="1073"/>
                  </a:lnTo>
                  <a:lnTo>
                    <a:pt x="1053" y="1063"/>
                  </a:lnTo>
                  <a:lnTo>
                    <a:pt x="1063" y="1073"/>
                  </a:lnTo>
                  <a:lnTo>
                    <a:pt x="1063" y="1092"/>
                  </a:lnTo>
                  <a:lnTo>
                    <a:pt x="1053" y="1112"/>
                  </a:lnTo>
                  <a:lnTo>
                    <a:pt x="1073" y="1161"/>
                  </a:lnTo>
                  <a:lnTo>
                    <a:pt x="1063" y="1180"/>
                  </a:lnTo>
                  <a:lnTo>
                    <a:pt x="1034" y="1200"/>
                  </a:lnTo>
                  <a:lnTo>
                    <a:pt x="1024" y="1200"/>
                  </a:lnTo>
                  <a:lnTo>
                    <a:pt x="1005" y="1229"/>
                  </a:lnTo>
                  <a:lnTo>
                    <a:pt x="995" y="1229"/>
                  </a:lnTo>
                  <a:lnTo>
                    <a:pt x="985" y="1239"/>
                  </a:lnTo>
                  <a:lnTo>
                    <a:pt x="985" y="1249"/>
                  </a:lnTo>
                  <a:lnTo>
                    <a:pt x="985" y="1268"/>
                  </a:lnTo>
                  <a:lnTo>
                    <a:pt x="966" y="1268"/>
                  </a:lnTo>
                  <a:lnTo>
                    <a:pt x="975" y="1278"/>
                  </a:lnTo>
                  <a:lnTo>
                    <a:pt x="975" y="1297"/>
                  </a:lnTo>
                  <a:lnTo>
                    <a:pt x="985" y="1307"/>
                  </a:lnTo>
                  <a:lnTo>
                    <a:pt x="985" y="1317"/>
                  </a:lnTo>
                  <a:lnTo>
                    <a:pt x="975" y="1317"/>
                  </a:lnTo>
                  <a:lnTo>
                    <a:pt x="936" y="1307"/>
                  </a:lnTo>
                  <a:lnTo>
                    <a:pt x="936" y="1278"/>
                  </a:lnTo>
                  <a:lnTo>
                    <a:pt x="927" y="1278"/>
                  </a:lnTo>
                  <a:lnTo>
                    <a:pt x="927" y="1268"/>
                  </a:lnTo>
                  <a:lnTo>
                    <a:pt x="917" y="1249"/>
                  </a:lnTo>
                  <a:lnTo>
                    <a:pt x="897" y="1249"/>
                  </a:lnTo>
                  <a:lnTo>
                    <a:pt x="897" y="1258"/>
                  </a:lnTo>
                  <a:lnTo>
                    <a:pt x="878" y="1288"/>
                  </a:lnTo>
                  <a:lnTo>
                    <a:pt x="868" y="1297"/>
                  </a:lnTo>
                  <a:lnTo>
                    <a:pt x="839" y="1297"/>
                  </a:lnTo>
                  <a:lnTo>
                    <a:pt x="829" y="1288"/>
                  </a:lnTo>
                  <a:lnTo>
                    <a:pt x="790" y="1288"/>
                  </a:lnTo>
                  <a:lnTo>
                    <a:pt x="780" y="1297"/>
                  </a:lnTo>
                  <a:lnTo>
                    <a:pt x="771" y="1327"/>
                  </a:lnTo>
                  <a:lnTo>
                    <a:pt x="751" y="1366"/>
                  </a:lnTo>
                  <a:lnTo>
                    <a:pt x="761" y="1385"/>
                  </a:lnTo>
                  <a:lnTo>
                    <a:pt x="771" y="1395"/>
                  </a:lnTo>
                  <a:lnTo>
                    <a:pt x="771" y="1405"/>
                  </a:lnTo>
                  <a:lnTo>
                    <a:pt x="780" y="1414"/>
                  </a:lnTo>
                  <a:lnTo>
                    <a:pt x="771" y="1424"/>
                  </a:lnTo>
                  <a:lnTo>
                    <a:pt x="761" y="1424"/>
                  </a:lnTo>
                  <a:lnTo>
                    <a:pt x="751" y="1444"/>
                  </a:lnTo>
                  <a:lnTo>
                    <a:pt x="751" y="1453"/>
                  </a:lnTo>
                  <a:lnTo>
                    <a:pt x="751" y="1473"/>
                  </a:lnTo>
                  <a:lnTo>
                    <a:pt x="722" y="1473"/>
                  </a:lnTo>
                  <a:lnTo>
                    <a:pt x="712" y="1483"/>
                  </a:lnTo>
                  <a:lnTo>
                    <a:pt x="712" y="1502"/>
                  </a:lnTo>
                  <a:lnTo>
                    <a:pt x="692" y="1502"/>
                  </a:lnTo>
                  <a:lnTo>
                    <a:pt x="692" y="1531"/>
                  </a:lnTo>
                  <a:lnTo>
                    <a:pt x="692" y="1551"/>
                  </a:lnTo>
                  <a:lnTo>
                    <a:pt x="702" y="1561"/>
                  </a:lnTo>
                  <a:lnTo>
                    <a:pt x="702" y="1571"/>
                  </a:lnTo>
                  <a:lnTo>
                    <a:pt x="692" y="1571"/>
                  </a:lnTo>
                  <a:lnTo>
                    <a:pt x="692" y="1580"/>
                  </a:lnTo>
                  <a:lnTo>
                    <a:pt x="692" y="1600"/>
                  </a:lnTo>
                  <a:lnTo>
                    <a:pt x="692" y="1619"/>
                  </a:lnTo>
                  <a:lnTo>
                    <a:pt x="683" y="1639"/>
                  </a:lnTo>
                  <a:lnTo>
                    <a:pt x="673" y="1639"/>
                  </a:lnTo>
                  <a:lnTo>
                    <a:pt x="644" y="1629"/>
                  </a:lnTo>
                  <a:lnTo>
                    <a:pt x="634" y="1629"/>
                  </a:lnTo>
                  <a:lnTo>
                    <a:pt x="634" y="1639"/>
                  </a:lnTo>
                  <a:lnTo>
                    <a:pt x="634" y="1649"/>
                  </a:lnTo>
                  <a:lnTo>
                    <a:pt x="634" y="1658"/>
                  </a:lnTo>
                  <a:lnTo>
                    <a:pt x="614" y="1658"/>
                  </a:lnTo>
                  <a:lnTo>
                    <a:pt x="614" y="1678"/>
                  </a:lnTo>
                  <a:lnTo>
                    <a:pt x="653" y="1717"/>
                  </a:lnTo>
                  <a:lnTo>
                    <a:pt x="683" y="1746"/>
                  </a:lnTo>
                  <a:lnTo>
                    <a:pt x="683" y="1756"/>
                  </a:lnTo>
                  <a:lnTo>
                    <a:pt x="663" y="1766"/>
                  </a:lnTo>
                  <a:lnTo>
                    <a:pt x="644" y="1766"/>
                  </a:lnTo>
                  <a:lnTo>
                    <a:pt x="634" y="1775"/>
                  </a:lnTo>
                  <a:lnTo>
                    <a:pt x="624" y="1775"/>
                  </a:lnTo>
                  <a:lnTo>
                    <a:pt x="614" y="1766"/>
                  </a:lnTo>
                  <a:lnTo>
                    <a:pt x="595" y="1766"/>
                  </a:lnTo>
                  <a:lnTo>
                    <a:pt x="585" y="1775"/>
                  </a:lnTo>
                  <a:lnTo>
                    <a:pt x="566" y="1766"/>
                  </a:lnTo>
                  <a:lnTo>
                    <a:pt x="546" y="1775"/>
                  </a:lnTo>
                  <a:lnTo>
                    <a:pt x="536" y="1805"/>
                  </a:lnTo>
                  <a:lnTo>
                    <a:pt x="527" y="1814"/>
                  </a:lnTo>
                  <a:lnTo>
                    <a:pt x="517" y="1834"/>
                  </a:lnTo>
                  <a:lnTo>
                    <a:pt x="497" y="1834"/>
                  </a:lnTo>
                  <a:lnTo>
                    <a:pt x="488" y="1844"/>
                  </a:lnTo>
                  <a:lnTo>
                    <a:pt x="458" y="1863"/>
                  </a:lnTo>
                  <a:lnTo>
                    <a:pt x="458" y="1873"/>
                  </a:lnTo>
                  <a:lnTo>
                    <a:pt x="449" y="1892"/>
                  </a:lnTo>
                  <a:lnTo>
                    <a:pt x="419" y="1902"/>
                  </a:lnTo>
                  <a:lnTo>
                    <a:pt x="400" y="1902"/>
                  </a:lnTo>
                  <a:lnTo>
                    <a:pt x="371" y="1922"/>
                  </a:lnTo>
                  <a:lnTo>
                    <a:pt x="361" y="1932"/>
                  </a:lnTo>
                  <a:lnTo>
                    <a:pt x="341" y="1932"/>
                  </a:lnTo>
                  <a:lnTo>
                    <a:pt x="312" y="1922"/>
                  </a:lnTo>
                  <a:lnTo>
                    <a:pt x="293" y="1922"/>
                  </a:lnTo>
                  <a:lnTo>
                    <a:pt x="273" y="1912"/>
                  </a:lnTo>
                  <a:lnTo>
                    <a:pt x="254" y="1902"/>
                  </a:lnTo>
                  <a:lnTo>
                    <a:pt x="224" y="1902"/>
                  </a:lnTo>
                  <a:lnTo>
                    <a:pt x="215" y="1892"/>
                  </a:lnTo>
                  <a:lnTo>
                    <a:pt x="205" y="1873"/>
                  </a:lnTo>
                  <a:lnTo>
                    <a:pt x="205" y="1863"/>
                  </a:lnTo>
                  <a:lnTo>
                    <a:pt x="205" y="1853"/>
                  </a:lnTo>
                  <a:lnTo>
                    <a:pt x="224" y="1844"/>
                  </a:lnTo>
                  <a:lnTo>
                    <a:pt x="234" y="1834"/>
                  </a:lnTo>
                  <a:lnTo>
                    <a:pt x="254" y="1834"/>
                  </a:lnTo>
                  <a:lnTo>
                    <a:pt x="263" y="1824"/>
                  </a:lnTo>
                  <a:lnTo>
                    <a:pt x="283" y="1814"/>
                  </a:lnTo>
                  <a:lnTo>
                    <a:pt x="283" y="1805"/>
                  </a:lnTo>
                  <a:lnTo>
                    <a:pt x="293" y="1795"/>
                  </a:lnTo>
                  <a:lnTo>
                    <a:pt x="293" y="1775"/>
                  </a:lnTo>
                  <a:lnTo>
                    <a:pt x="312" y="1775"/>
                  </a:lnTo>
                  <a:lnTo>
                    <a:pt x="332" y="1766"/>
                  </a:lnTo>
                  <a:lnTo>
                    <a:pt x="332" y="1746"/>
                  </a:lnTo>
                  <a:lnTo>
                    <a:pt x="322" y="1746"/>
                  </a:lnTo>
                  <a:lnTo>
                    <a:pt x="312" y="1717"/>
                  </a:lnTo>
                  <a:lnTo>
                    <a:pt x="312" y="1707"/>
                  </a:lnTo>
                  <a:lnTo>
                    <a:pt x="322" y="1697"/>
                  </a:lnTo>
                  <a:lnTo>
                    <a:pt x="322" y="1668"/>
                  </a:lnTo>
                  <a:lnTo>
                    <a:pt x="332" y="1649"/>
                  </a:lnTo>
                  <a:lnTo>
                    <a:pt x="322" y="1639"/>
                  </a:lnTo>
                  <a:lnTo>
                    <a:pt x="322" y="1629"/>
                  </a:lnTo>
                  <a:lnTo>
                    <a:pt x="312" y="1610"/>
                  </a:lnTo>
                  <a:lnTo>
                    <a:pt x="302" y="1600"/>
                  </a:lnTo>
                  <a:lnTo>
                    <a:pt x="302" y="1590"/>
                  </a:lnTo>
                  <a:lnTo>
                    <a:pt x="312" y="1580"/>
                  </a:lnTo>
                  <a:lnTo>
                    <a:pt x="302" y="1580"/>
                  </a:lnTo>
                  <a:lnTo>
                    <a:pt x="293" y="1571"/>
                  </a:lnTo>
                  <a:lnTo>
                    <a:pt x="283" y="1561"/>
                  </a:lnTo>
                  <a:lnTo>
                    <a:pt x="283" y="1551"/>
                  </a:lnTo>
                  <a:lnTo>
                    <a:pt x="273" y="1551"/>
                  </a:lnTo>
                  <a:lnTo>
                    <a:pt x="254" y="1551"/>
                  </a:lnTo>
                  <a:lnTo>
                    <a:pt x="244" y="1551"/>
                  </a:lnTo>
                  <a:lnTo>
                    <a:pt x="234" y="1531"/>
                  </a:lnTo>
                  <a:lnTo>
                    <a:pt x="224" y="1522"/>
                  </a:lnTo>
                  <a:lnTo>
                    <a:pt x="215" y="1531"/>
                  </a:lnTo>
                  <a:lnTo>
                    <a:pt x="215" y="1541"/>
                  </a:lnTo>
                  <a:lnTo>
                    <a:pt x="215" y="1561"/>
                  </a:lnTo>
                  <a:lnTo>
                    <a:pt x="195" y="1551"/>
                  </a:lnTo>
                  <a:lnTo>
                    <a:pt x="176" y="1551"/>
                  </a:lnTo>
                  <a:lnTo>
                    <a:pt x="176" y="1541"/>
                  </a:lnTo>
                  <a:lnTo>
                    <a:pt x="166" y="1531"/>
                  </a:lnTo>
                  <a:lnTo>
                    <a:pt x="156" y="1531"/>
                  </a:lnTo>
                  <a:lnTo>
                    <a:pt x="156" y="1502"/>
                  </a:lnTo>
                  <a:lnTo>
                    <a:pt x="146" y="1492"/>
                  </a:lnTo>
                  <a:lnTo>
                    <a:pt x="156" y="1483"/>
                  </a:lnTo>
                  <a:lnTo>
                    <a:pt x="176" y="1463"/>
                  </a:lnTo>
                  <a:lnTo>
                    <a:pt x="185" y="1453"/>
                  </a:lnTo>
                  <a:lnTo>
                    <a:pt x="205" y="1453"/>
                  </a:lnTo>
                  <a:lnTo>
                    <a:pt x="205" y="1444"/>
                  </a:lnTo>
                  <a:lnTo>
                    <a:pt x="205" y="1434"/>
                  </a:lnTo>
                  <a:lnTo>
                    <a:pt x="195" y="1424"/>
                  </a:lnTo>
                  <a:lnTo>
                    <a:pt x="195" y="1414"/>
                  </a:lnTo>
                  <a:lnTo>
                    <a:pt x="195" y="1405"/>
                  </a:lnTo>
                  <a:lnTo>
                    <a:pt x="176" y="1395"/>
                  </a:lnTo>
                  <a:lnTo>
                    <a:pt x="166" y="1385"/>
                  </a:lnTo>
                  <a:lnTo>
                    <a:pt x="156" y="1366"/>
                  </a:lnTo>
                  <a:lnTo>
                    <a:pt x="156" y="1356"/>
                  </a:lnTo>
                  <a:lnTo>
                    <a:pt x="166" y="1346"/>
                  </a:lnTo>
                  <a:lnTo>
                    <a:pt x="166" y="1317"/>
                  </a:lnTo>
                  <a:lnTo>
                    <a:pt x="176" y="1307"/>
                  </a:lnTo>
                  <a:lnTo>
                    <a:pt x="176" y="1297"/>
                  </a:lnTo>
                  <a:lnTo>
                    <a:pt x="166" y="1288"/>
                  </a:lnTo>
                  <a:lnTo>
                    <a:pt x="176" y="1288"/>
                  </a:lnTo>
                  <a:lnTo>
                    <a:pt x="185" y="1288"/>
                  </a:lnTo>
                  <a:lnTo>
                    <a:pt x="185" y="1278"/>
                  </a:lnTo>
                  <a:lnTo>
                    <a:pt x="195" y="1268"/>
                  </a:lnTo>
                  <a:lnTo>
                    <a:pt x="195" y="1258"/>
                  </a:lnTo>
                  <a:lnTo>
                    <a:pt x="205" y="1258"/>
                  </a:lnTo>
                  <a:lnTo>
                    <a:pt x="215" y="1249"/>
                  </a:lnTo>
                  <a:lnTo>
                    <a:pt x="234" y="1229"/>
                  </a:lnTo>
                  <a:lnTo>
                    <a:pt x="224" y="1210"/>
                  </a:lnTo>
                  <a:lnTo>
                    <a:pt x="205" y="1190"/>
                  </a:lnTo>
                  <a:lnTo>
                    <a:pt x="195" y="1180"/>
                  </a:lnTo>
                  <a:lnTo>
                    <a:pt x="176" y="1170"/>
                  </a:lnTo>
                  <a:lnTo>
                    <a:pt x="156" y="1170"/>
                  </a:lnTo>
                  <a:lnTo>
                    <a:pt x="156" y="1161"/>
                  </a:lnTo>
                  <a:lnTo>
                    <a:pt x="156" y="1122"/>
                  </a:lnTo>
                  <a:lnTo>
                    <a:pt x="176" y="1112"/>
                  </a:lnTo>
                  <a:lnTo>
                    <a:pt x="195" y="1102"/>
                  </a:lnTo>
                  <a:lnTo>
                    <a:pt x="215" y="1092"/>
                  </a:lnTo>
                  <a:lnTo>
                    <a:pt x="215" y="1083"/>
                  </a:lnTo>
                  <a:lnTo>
                    <a:pt x="205" y="1073"/>
                  </a:lnTo>
                  <a:lnTo>
                    <a:pt x="205" y="1053"/>
                  </a:lnTo>
                  <a:lnTo>
                    <a:pt x="195" y="1044"/>
                  </a:lnTo>
                  <a:lnTo>
                    <a:pt x="185" y="1053"/>
                  </a:lnTo>
                  <a:lnTo>
                    <a:pt x="176" y="1053"/>
                  </a:lnTo>
                  <a:lnTo>
                    <a:pt x="156" y="1005"/>
                  </a:lnTo>
                  <a:lnTo>
                    <a:pt x="146" y="995"/>
                  </a:lnTo>
                  <a:lnTo>
                    <a:pt x="136" y="995"/>
                  </a:lnTo>
                  <a:lnTo>
                    <a:pt x="136" y="975"/>
                  </a:lnTo>
                  <a:lnTo>
                    <a:pt x="136" y="966"/>
                  </a:lnTo>
                  <a:lnTo>
                    <a:pt x="107" y="956"/>
                  </a:lnTo>
                  <a:lnTo>
                    <a:pt x="88" y="956"/>
                  </a:lnTo>
                  <a:lnTo>
                    <a:pt x="58" y="946"/>
                  </a:lnTo>
                  <a:lnTo>
                    <a:pt x="39" y="956"/>
                  </a:lnTo>
                  <a:lnTo>
                    <a:pt x="29" y="956"/>
                  </a:lnTo>
                  <a:lnTo>
                    <a:pt x="0" y="936"/>
                  </a:lnTo>
                  <a:lnTo>
                    <a:pt x="0" y="917"/>
                  </a:lnTo>
                  <a:lnTo>
                    <a:pt x="10" y="907"/>
                  </a:lnTo>
                  <a:lnTo>
                    <a:pt x="19" y="897"/>
                  </a:lnTo>
                  <a:lnTo>
                    <a:pt x="19" y="878"/>
                  </a:lnTo>
                  <a:lnTo>
                    <a:pt x="10" y="858"/>
                  </a:lnTo>
                  <a:lnTo>
                    <a:pt x="10" y="849"/>
                  </a:lnTo>
                  <a:lnTo>
                    <a:pt x="10" y="839"/>
                  </a:lnTo>
                  <a:lnTo>
                    <a:pt x="0" y="829"/>
                  </a:lnTo>
                  <a:lnTo>
                    <a:pt x="39" y="819"/>
                  </a:lnTo>
                  <a:lnTo>
                    <a:pt x="97" y="800"/>
                  </a:lnTo>
                  <a:lnTo>
                    <a:pt x="97" y="790"/>
                  </a:lnTo>
                  <a:lnTo>
                    <a:pt x="107" y="780"/>
                  </a:lnTo>
                  <a:lnTo>
                    <a:pt x="107" y="761"/>
                  </a:lnTo>
                  <a:lnTo>
                    <a:pt x="97" y="761"/>
                  </a:lnTo>
                  <a:lnTo>
                    <a:pt x="78" y="751"/>
                  </a:lnTo>
                  <a:lnTo>
                    <a:pt x="58" y="731"/>
                  </a:lnTo>
                  <a:lnTo>
                    <a:pt x="49" y="712"/>
                  </a:lnTo>
                  <a:lnTo>
                    <a:pt x="78" y="663"/>
                  </a:lnTo>
                  <a:lnTo>
                    <a:pt x="97" y="644"/>
                  </a:lnTo>
                  <a:lnTo>
                    <a:pt x="97" y="634"/>
                  </a:lnTo>
                  <a:lnTo>
                    <a:pt x="117" y="624"/>
                  </a:lnTo>
                  <a:lnTo>
                    <a:pt x="136" y="624"/>
                  </a:lnTo>
                  <a:lnTo>
                    <a:pt x="146" y="614"/>
                  </a:lnTo>
                  <a:lnTo>
                    <a:pt x="136" y="595"/>
                  </a:lnTo>
                  <a:lnTo>
                    <a:pt x="146" y="585"/>
                  </a:lnTo>
                  <a:lnTo>
                    <a:pt x="146" y="575"/>
                  </a:lnTo>
                  <a:lnTo>
                    <a:pt x="136" y="566"/>
                  </a:lnTo>
                  <a:lnTo>
                    <a:pt x="136" y="556"/>
                  </a:lnTo>
                  <a:lnTo>
                    <a:pt x="127" y="546"/>
                  </a:lnTo>
                  <a:lnTo>
                    <a:pt x="127" y="527"/>
                  </a:lnTo>
                  <a:lnTo>
                    <a:pt x="136" y="507"/>
                  </a:lnTo>
                  <a:lnTo>
                    <a:pt x="156" y="497"/>
                  </a:lnTo>
                  <a:lnTo>
                    <a:pt x="176" y="497"/>
                  </a:lnTo>
                  <a:lnTo>
                    <a:pt x="185" y="478"/>
                  </a:lnTo>
                  <a:lnTo>
                    <a:pt x="185" y="448"/>
                  </a:lnTo>
                  <a:lnTo>
                    <a:pt x="185" y="419"/>
                  </a:lnTo>
                  <a:lnTo>
                    <a:pt x="185" y="400"/>
                  </a:lnTo>
                  <a:lnTo>
                    <a:pt x="176" y="400"/>
                  </a:lnTo>
                  <a:lnTo>
                    <a:pt x="156" y="409"/>
                  </a:lnTo>
                  <a:lnTo>
                    <a:pt x="146" y="400"/>
                  </a:lnTo>
                  <a:lnTo>
                    <a:pt x="156" y="390"/>
                  </a:lnTo>
                  <a:lnTo>
                    <a:pt x="146" y="380"/>
                  </a:lnTo>
                  <a:lnTo>
                    <a:pt x="127" y="370"/>
                  </a:lnTo>
                  <a:lnTo>
                    <a:pt x="117" y="361"/>
                  </a:lnTo>
                  <a:lnTo>
                    <a:pt x="127" y="361"/>
                  </a:lnTo>
                  <a:lnTo>
                    <a:pt x="136" y="351"/>
                  </a:lnTo>
                  <a:lnTo>
                    <a:pt x="136" y="322"/>
                  </a:lnTo>
                  <a:lnTo>
                    <a:pt x="136" y="312"/>
                  </a:lnTo>
                  <a:lnTo>
                    <a:pt x="146" y="302"/>
                  </a:lnTo>
                  <a:lnTo>
                    <a:pt x="136" y="292"/>
                  </a:lnTo>
                  <a:lnTo>
                    <a:pt x="127" y="283"/>
                  </a:lnTo>
                  <a:lnTo>
                    <a:pt x="117" y="283"/>
                  </a:lnTo>
                  <a:lnTo>
                    <a:pt x="107" y="283"/>
                  </a:lnTo>
                  <a:lnTo>
                    <a:pt x="107" y="273"/>
                  </a:lnTo>
                  <a:lnTo>
                    <a:pt x="107" y="253"/>
                  </a:lnTo>
                  <a:lnTo>
                    <a:pt x="97" y="253"/>
                  </a:lnTo>
                  <a:lnTo>
                    <a:pt x="97" y="234"/>
                  </a:lnTo>
                  <a:lnTo>
                    <a:pt x="117" y="234"/>
                  </a:lnTo>
                  <a:lnTo>
                    <a:pt x="117" y="224"/>
                  </a:lnTo>
                  <a:lnTo>
                    <a:pt x="107" y="214"/>
                  </a:lnTo>
                  <a:lnTo>
                    <a:pt x="97" y="195"/>
                  </a:lnTo>
                  <a:lnTo>
                    <a:pt x="107" y="175"/>
                  </a:lnTo>
                  <a:lnTo>
                    <a:pt x="117" y="166"/>
                  </a:lnTo>
                  <a:lnTo>
                    <a:pt x="117" y="156"/>
                  </a:lnTo>
                  <a:lnTo>
                    <a:pt x="97" y="127"/>
                  </a:lnTo>
                  <a:lnTo>
                    <a:pt x="88" y="107"/>
                  </a:lnTo>
                  <a:lnTo>
                    <a:pt x="88" y="97"/>
                  </a:lnTo>
                  <a:lnTo>
                    <a:pt x="97" y="78"/>
                  </a:lnTo>
                  <a:lnTo>
                    <a:pt x="97" y="58"/>
                  </a:lnTo>
                  <a:lnTo>
                    <a:pt x="97" y="39"/>
                  </a:lnTo>
                  <a:lnTo>
                    <a:pt x="97" y="19"/>
                  </a:lnTo>
                  <a:lnTo>
                    <a:pt x="117" y="29"/>
                  </a:lnTo>
                  <a:lnTo>
                    <a:pt x="127" y="19"/>
                  </a:lnTo>
                  <a:lnTo>
                    <a:pt x="166" y="0"/>
                  </a:lnTo>
                  <a:lnTo>
                    <a:pt x="176" y="19"/>
                  </a:lnTo>
                  <a:lnTo>
                    <a:pt x="156" y="29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95" y="117"/>
                  </a:lnTo>
                  <a:lnTo>
                    <a:pt x="215" y="127"/>
                  </a:lnTo>
                  <a:lnTo>
                    <a:pt x="215" y="107"/>
                  </a:lnTo>
                  <a:lnTo>
                    <a:pt x="244" y="107"/>
                  </a:lnTo>
                  <a:lnTo>
                    <a:pt x="244" y="97"/>
                  </a:lnTo>
                  <a:lnTo>
                    <a:pt x="244" y="78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58"/>
                  </a:lnTo>
                  <a:lnTo>
                    <a:pt x="312" y="58"/>
                  </a:lnTo>
                  <a:lnTo>
                    <a:pt x="312" y="87"/>
                  </a:lnTo>
                  <a:lnTo>
                    <a:pt x="341" y="146"/>
                  </a:lnTo>
                  <a:lnTo>
                    <a:pt x="371" y="146"/>
                  </a:lnTo>
                  <a:lnTo>
                    <a:pt x="410" y="156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68" y="166"/>
                  </a:lnTo>
                  <a:lnTo>
                    <a:pt x="507" y="166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 314"/>
            <p:cNvSpPr>
              <a:spLocks/>
            </p:cNvSpPr>
            <p:nvPr/>
          </p:nvSpPr>
          <p:spPr bwMode="auto">
            <a:xfrm>
              <a:off x="5063" y="2604"/>
              <a:ext cx="1444" cy="1464"/>
            </a:xfrm>
            <a:custGeom>
              <a:avLst/>
              <a:gdLst>
                <a:gd name="T0" fmla="*/ 20 w 1444"/>
                <a:gd name="T1" fmla="*/ 1103 h 1464"/>
                <a:gd name="T2" fmla="*/ 78 w 1444"/>
                <a:gd name="T3" fmla="*/ 1073 h 1464"/>
                <a:gd name="T4" fmla="*/ 88 w 1444"/>
                <a:gd name="T5" fmla="*/ 1005 h 1464"/>
                <a:gd name="T6" fmla="*/ 137 w 1444"/>
                <a:gd name="T7" fmla="*/ 927 h 1464"/>
                <a:gd name="T8" fmla="*/ 157 w 1444"/>
                <a:gd name="T9" fmla="*/ 859 h 1464"/>
                <a:gd name="T10" fmla="*/ 186 w 1444"/>
                <a:gd name="T11" fmla="*/ 742 h 1464"/>
                <a:gd name="T12" fmla="*/ 293 w 1444"/>
                <a:gd name="T13" fmla="*/ 703 h 1464"/>
                <a:gd name="T14" fmla="*/ 361 w 1444"/>
                <a:gd name="T15" fmla="*/ 781 h 1464"/>
                <a:gd name="T16" fmla="*/ 371 w 1444"/>
                <a:gd name="T17" fmla="*/ 732 h 1464"/>
                <a:gd name="T18" fmla="*/ 420 w 1444"/>
                <a:gd name="T19" fmla="*/ 654 h 1464"/>
                <a:gd name="T20" fmla="*/ 547 w 1444"/>
                <a:gd name="T21" fmla="*/ 624 h 1464"/>
                <a:gd name="T22" fmla="*/ 625 w 1444"/>
                <a:gd name="T23" fmla="*/ 585 h 1464"/>
                <a:gd name="T24" fmla="*/ 586 w 1444"/>
                <a:gd name="T25" fmla="*/ 507 h 1464"/>
                <a:gd name="T26" fmla="*/ 586 w 1444"/>
                <a:gd name="T27" fmla="*/ 449 h 1464"/>
                <a:gd name="T28" fmla="*/ 566 w 1444"/>
                <a:gd name="T29" fmla="*/ 361 h 1464"/>
                <a:gd name="T30" fmla="*/ 634 w 1444"/>
                <a:gd name="T31" fmla="*/ 293 h 1464"/>
                <a:gd name="T32" fmla="*/ 654 w 1444"/>
                <a:gd name="T33" fmla="*/ 146 h 1464"/>
                <a:gd name="T34" fmla="*/ 654 w 1444"/>
                <a:gd name="T35" fmla="*/ 88 h 1464"/>
                <a:gd name="T36" fmla="*/ 644 w 1444"/>
                <a:gd name="T37" fmla="*/ 10 h 1464"/>
                <a:gd name="T38" fmla="*/ 752 w 1444"/>
                <a:gd name="T39" fmla="*/ 20 h 1464"/>
                <a:gd name="T40" fmla="*/ 771 w 1444"/>
                <a:gd name="T41" fmla="*/ 59 h 1464"/>
                <a:gd name="T42" fmla="*/ 810 w 1444"/>
                <a:gd name="T43" fmla="*/ 176 h 1464"/>
                <a:gd name="T44" fmla="*/ 839 w 1444"/>
                <a:gd name="T45" fmla="*/ 254 h 1464"/>
                <a:gd name="T46" fmla="*/ 888 w 1444"/>
                <a:gd name="T47" fmla="*/ 312 h 1464"/>
                <a:gd name="T48" fmla="*/ 898 w 1444"/>
                <a:gd name="T49" fmla="*/ 371 h 1464"/>
                <a:gd name="T50" fmla="*/ 869 w 1444"/>
                <a:gd name="T51" fmla="*/ 537 h 1464"/>
                <a:gd name="T52" fmla="*/ 976 w 1444"/>
                <a:gd name="T53" fmla="*/ 527 h 1464"/>
                <a:gd name="T54" fmla="*/ 1054 w 1444"/>
                <a:gd name="T55" fmla="*/ 517 h 1464"/>
                <a:gd name="T56" fmla="*/ 1103 w 1444"/>
                <a:gd name="T57" fmla="*/ 468 h 1464"/>
                <a:gd name="T58" fmla="*/ 1200 w 1444"/>
                <a:gd name="T59" fmla="*/ 322 h 1464"/>
                <a:gd name="T60" fmla="*/ 1288 w 1444"/>
                <a:gd name="T61" fmla="*/ 381 h 1464"/>
                <a:gd name="T62" fmla="*/ 1347 w 1444"/>
                <a:gd name="T63" fmla="*/ 400 h 1464"/>
                <a:gd name="T64" fmla="*/ 1415 w 1444"/>
                <a:gd name="T65" fmla="*/ 429 h 1464"/>
                <a:gd name="T66" fmla="*/ 1434 w 1444"/>
                <a:gd name="T67" fmla="*/ 527 h 1464"/>
                <a:gd name="T68" fmla="*/ 1356 w 1444"/>
                <a:gd name="T69" fmla="*/ 546 h 1464"/>
                <a:gd name="T70" fmla="*/ 1366 w 1444"/>
                <a:gd name="T71" fmla="*/ 624 h 1464"/>
                <a:gd name="T72" fmla="*/ 1395 w 1444"/>
                <a:gd name="T73" fmla="*/ 664 h 1464"/>
                <a:gd name="T74" fmla="*/ 1366 w 1444"/>
                <a:gd name="T75" fmla="*/ 712 h 1464"/>
                <a:gd name="T76" fmla="*/ 1288 w 1444"/>
                <a:gd name="T77" fmla="*/ 673 h 1464"/>
                <a:gd name="T78" fmla="*/ 1239 w 1444"/>
                <a:gd name="T79" fmla="*/ 751 h 1464"/>
                <a:gd name="T80" fmla="*/ 1093 w 1444"/>
                <a:gd name="T81" fmla="*/ 761 h 1464"/>
                <a:gd name="T82" fmla="*/ 1005 w 1444"/>
                <a:gd name="T83" fmla="*/ 790 h 1464"/>
                <a:gd name="T84" fmla="*/ 898 w 1444"/>
                <a:gd name="T85" fmla="*/ 820 h 1464"/>
                <a:gd name="T86" fmla="*/ 898 w 1444"/>
                <a:gd name="T87" fmla="*/ 898 h 1464"/>
                <a:gd name="T88" fmla="*/ 898 w 1444"/>
                <a:gd name="T89" fmla="*/ 1054 h 1464"/>
                <a:gd name="T90" fmla="*/ 849 w 1444"/>
                <a:gd name="T91" fmla="*/ 1259 h 1464"/>
                <a:gd name="T92" fmla="*/ 732 w 1444"/>
                <a:gd name="T93" fmla="*/ 1229 h 1464"/>
                <a:gd name="T94" fmla="*/ 634 w 1444"/>
                <a:gd name="T95" fmla="*/ 1229 h 1464"/>
                <a:gd name="T96" fmla="*/ 498 w 1444"/>
                <a:gd name="T97" fmla="*/ 1171 h 1464"/>
                <a:gd name="T98" fmla="*/ 459 w 1444"/>
                <a:gd name="T99" fmla="*/ 1239 h 1464"/>
                <a:gd name="T100" fmla="*/ 566 w 1444"/>
                <a:gd name="T101" fmla="*/ 1278 h 1464"/>
                <a:gd name="T102" fmla="*/ 752 w 1444"/>
                <a:gd name="T103" fmla="*/ 1337 h 1464"/>
                <a:gd name="T104" fmla="*/ 605 w 1444"/>
                <a:gd name="T105" fmla="*/ 1454 h 1464"/>
                <a:gd name="T106" fmla="*/ 537 w 1444"/>
                <a:gd name="T107" fmla="*/ 1434 h 1464"/>
                <a:gd name="T108" fmla="*/ 488 w 1444"/>
                <a:gd name="T109" fmla="*/ 1366 h 1464"/>
                <a:gd name="T110" fmla="*/ 400 w 1444"/>
                <a:gd name="T111" fmla="*/ 1317 h 1464"/>
                <a:gd name="T112" fmla="*/ 322 w 1444"/>
                <a:gd name="T113" fmla="*/ 1239 h 1464"/>
                <a:gd name="T114" fmla="*/ 235 w 1444"/>
                <a:gd name="T115" fmla="*/ 1268 h 1464"/>
                <a:gd name="T116" fmla="*/ 166 w 1444"/>
                <a:gd name="T117" fmla="*/ 1259 h 1464"/>
                <a:gd name="T118" fmla="*/ 69 w 1444"/>
                <a:gd name="T119" fmla="*/ 1200 h 146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44"/>
                <a:gd name="T181" fmla="*/ 0 h 1464"/>
                <a:gd name="T182" fmla="*/ 1444 w 1444"/>
                <a:gd name="T183" fmla="*/ 1464 h 146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44" h="1464">
                  <a:moveTo>
                    <a:pt x="69" y="1200"/>
                  </a:moveTo>
                  <a:lnTo>
                    <a:pt x="39" y="1171"/>
                  </a:lnTo>
                  <a:lnTo>
                    <a:pt x="0" y="1132"/>
                  </a:lnTo>
                  <a:lnTo>
                    <a:pt x="0" y="1112"/>
                  </a:lnTo>
                  <a:lnTo>
                    <a:pt x="20" y="1112"/>
                  </a:lnTo>
                  <a:lnTo>
                    <a:pt x="20" y="1103"/>
                  </a:lnTo>
                  <a:lnTo>
                    <a:pt x="20" y="1093"/>
                  </a:lnTo>
                  <a:lnTo>
                    <a:pt x="20" y="1083"/>
                  </a:lnTo>
                  <a:lnTo>
                    <a:pt x="39" y="1083"/>
                  </a:lnTo>
                  <a:lnTo>
                    <a:pt x="59" y="1093"/>
                  </a:lnTo>
                  <a:lnTo>
                    <a:pt x="69" y="1093"/>
                  </a:lnTo>
                  <a:lnTo>
                    <a:pt x="78" y="1073"/>
                  </a:lnTo>
                  <a:lnTo>
                    <a:pt x="78" y="1054"/>
                  </a:lnTo>
                  <a:lnTo>
                    <a:pt x="78" y="1034"/>
                  </a:lnTo>
                  <a:lnTo>
                    <a:pt x="78" y="1025"/>
                  </a:lnTo>
                  <a:lnTo>
                    <a:pt x="88" y="1025"/>
                  </a:lnTo>
                  <a:lnTo>
                    <a:pt x="88" y="1015"/>
                  </a:lnTo>
                  <a:lnTo>
                    <a:pt x="88" y="1005"/>
                  </a:lnTo>
                  <a:lnTo>
                    <a:pt x="88" y="985"/>
                  </a:lnTo>
                  <a:lnTo>
                    <a:pt x="88" y="956"/>
                  </a:lnTo>
                  <a:lnTo>
                    <a:pt x="98" y="956"/>
                  </a:lnTo>
                  <a:lnTo>
                    <a:pt x="98" y="937"/>
                  </a:lnTo>
                  <a:lnTo>
                    <a:pt x="108" y="927"/>
                  </a:lnTo>
                  <a:lnTo>
                    <a:pt x="137" y="927"/>
                  </a:lnTo>
                  <a:lnTo>
                    <a:pt x="137" y="917"/>
                  </a:lnTo>
                  <a:lnTo>
                    <a:pt x="147" y="898"/>
                  </a:lnTo>
                  <a:lnTo>
                    <a:pt x="147" y="878"/>
                  </a:lnTo>
                  <a:lnTo>
                    <a:pt x="157" y="878"/>
                  </a:lnTo>
                  <a:lnTo>
                    <a:pt x="166" y="868"/>
                  </a:lnTo>
                  <a:lnTo>
                    <a:pt x="157" y="859"/>
                  </a:lnTo>
                  <a:lnTo>
                    <a:pt x="157" y="849"/>
                  </a:lnTo>
                  <a:lnTo>
                    <a:pt x="147" y="839"/>
                  </a:lnTo>
                  <a:lnTo>
                    <a:pt x="137" y="820"/>
                  </a:lnTo>
                  <a:lnTo>
                    <a:pt x="157" y="781"/>
                  </a:lnTo>
                  <a:lnTo>
                    <a:pt x="166" y="751"/>
                  </a:lnTo>
                  <a:lnTo>
                    <a:pt x="186" y="742"/>
                  </a:lnTo>
                  <a:lnTo>
                    <a:pt x="215" y="742"/>
                  </a:lnTo>
                  <a:lnTo>
                    <a:pt x="235" y="751"/>
                  </a:lnTo>
                  <a:lnTo>
                    <a:pt x="254" y="751"/>
                  </a:lnTo>
                  <a:lnTo>
                    <a:pt x="264" y="742"/>
                  </a:lnTo>
                  <a:lnTo>
                    <a:pt x="283" y="712"/>
                  </a:lnTo>
                  <a:lnTo>
                    <a:pt x="293" y="703"/>
                  </a:lnTo>
                  <a:lnTo>
                    <a:pt x="303" y="703"/>
                  </a:lnTo>
                  <a:lnTo>
                    <a:pt x="313" y="732"/>
                  </a:lnTo>
                  <a:lnTo>
                    <a:pt x="332" y="732"/>
                  </a:lnTo>
                  <a:lnTo>
                    <a:pt x="332" y="761"/>
                  </a:lnTo>
                  <a:lnTo>
                    <a:pt x="361" y="781"/>
                  </a:lnTo>
                  <a:lnTo>
                    <a:pt x="371" y="771"/>
                  </a:lnTo>
                  <a:lnTo>
                    <a:pt x="371" y="761"/>
                  </a:lnTo>
                  <a:lnTo>
                    <a:pt x="361" y="751"/>
                  </a:lnTo>
                  <a:lnTo>
                    <a:pt x="361" y="732"/>
                  </a:lnTo>
                  <a:lnTo>
                    <a:pt x="352" y="732"/>
                  </a:lnTo>
                  <a:lnTo>
                    <a:pt x="371" y="732"/>
                  </a:lnTo>
                  <a:lnTo>
                    <a:pt x="371" y="703"/>
                  </a:lnTo>
                  <a:lnTo>
                    <a:pt x="371" y="693"/>
                  </a:lnTo>
                  <a:lnTo>
                    <a:pt x="381" y="683"/>
                  </a:lnTo>
                  <a:lnTo>
                    <a:pt x="400" y="683"/>
                  </a:lnTo>
                  <a:lnTo>
                    <a:pt x="410" y="654"/>
                  </a:lnTo>
                  <a:lnTo>
                    <a:pt x="420" y="654"/>
                  </a:lnTo>
                  <a:lnTo>
                    <a:pt x="449" y="634"/>
                  </a:lnTo>
                  <a:lnTo>
                    <a:pt x="459" y="615"/>
                  </a:lnTo>
                  <a:lnTo>
                    <a:pt x="488" y="585"/>
                  </a:lnTo>
                  <a:lnTo>
                    <a:pt x="508" y="605"/>
                  </a:lnTo>
                  <a:lnTo>
                    <a:pt x="537" y="605"/>
                  </a:lnTo>
                  <a:lnTo>
                    <a:pt x="547" y="624"/>
                  </a:lnTo>
                  <a:lnTo>
                    <a:pt x="566" y="624"/>
                  </a:lnTo>
                  <a:lnTo>
                    <a:pt x="586" y="644"/>
                  </a:lnTo>
                  <a:lnTo>
                    <a:pt x="595" y="634"/>
                  </a:lnTo>
                  <a:lnTo>
                    <a:pt x="595" y="615"/>
                  </a:lnTo>
                  <a:lnTo>
                    <a:pt x="595" y="605"/>
                  </a:lnTo>
                  <a:lnTo>
                    <a:pt x="625" y="585"/>
                  </a:lnTo>
                  <a:lnTo>
                    <a:pt x="625" y="566"/>
                  </a:lnTo>
                  <a:lnTo>
                    <a:pt x="615" y="556"/>
                  </a:lnTo>
                  <a:lnTo>
                    <a:pt x="615" y="546"/>
                  </a:lnTo>
                  <a:lnTo>
                    <a:pt x="595" y="537"/>
                  </a:lnTo>
                  <a:lnTo>
                    <a:pt x="586" y="527"/>
                  </a:lnTo>
                  <a:lnTo>
                    <a:pt x="586" y="507"/>
                  </a:lnTo>
                  <a:lnTo>
                    <a:pt x="605" y="498"/>
                  </a:lnTo>
                  <a:lnTo>
                    <a:pt x="625" y="488"/>
                  </a:lnTo>
                  <a:lnTo>
                    <a:pt x="625" y="468"/>
                  </a:lnTo>
                  <a:lnTo>
                    <a:pt x="615" y="449"/>
                  </a:lnTo>
                  <a:lnTo>
                    <a:pt x="605" y="449"/>
                  </a:lnTo>
                  <a:lnTo>
                    <a:pt x="586" y="449"/>
                  </a:lnTo>
                  <a:lnTo>
                    <a:pt x="566" y="420"/>
                  </a:lnTo>
                  <a:lnTo>
                    <a:pt x="566" y="400"/>
                  </a:lnTo>
                  <a:lnTo>
                    <a:pt x="576" y="390"/>
                  </a:lnTo>
                  <a:lnTo>
                    <a:pt x="576" y="381"/>
                  </a:lnTo>
                  <a:lnTo>
                    <a:pt x="566" y="381"/>
                  </a:lnTo>
                  <a:lnTo>
                    <a:pt x="566" y="361"/>
                  </a:lnTo>
                  <a:lnTo>
                    <a:pt x="576" y="351"/>
                  </a:lnTo>
                  <a:lnTo>
                    <a:pt x="576" y="332"/>
                  </a:lnTo>
                  <a:lnTo>
                    <a:pt x="576" y="322"/>
                  </a:lnTo>
                  <a:lnTo>
                    <a:pt x="586" y="322"/>
                  </a:lnTo>
                  <a:lnTo>
                    <a:pt x="605" y="312"/>
                  </a:lnTo>
                  <a:lnTo>
                    <a:pt x="634" y="293"/>
                  </a:lnTo>
                  <a:lnTo>
                    <a:pt x="625" y="263"/>
                  </a:lnTo>
                  <a:lnTo>
                    <a:pt x="634" y="254"/>
                  </a:lnTo>
                  <a:lnTo>
                    <a:pt x="654" y="234"/>
                  </a:lnTo>
                  <a:lnTo>
                    <a:pt x="654" y="195"/>
                  </a:lnTo>
                  <a:lnTo>
                    <a:pt x="664" y="176"/>
                  </a:lnTo>
                  <a:lnTo>
                    <a:pt x="654" y="146"/>
                  </a:lnTo>
                  <a:lnTo>
                    <a:pt x="634" y="137"/>
                  </a:lnTo>
                  <a:lnTo>
                    <a:pt x="634" y="127"/>
                  </a:lnTo>
                  <a:lnTo>
                    <a:pt x="644" y="117"/>
                  </a:lnTo>
                  <a:lnTo>
                    <a:pt x="644" y="98"/>
                  </a:lnTo>
                  <a:lnTo>
                    <a:pt x="644" y="78"/>
                  </a:lnTo>
                  <a:lnTo>
                    <a:pt x="654" y="88"/>
                  </a:lnTo>
                  <a:lnTo>
                    <a:pt x="664" y="78"/>
                  </a:lnTo>
                  <a:lnTo>
                    <a:pt x="644" y="59"/>
                  </a:lnTo>
                  <a:lnTo>
                    <a:pt x="644" y="29"/>
                  </a:lnTo>
                  <a:lnTo>
                    <a:pt x="634" y="20"/>
                  </a:lnTo>
                  <a:lnTo>
                    <a:pt x="634" y="10"/>
                  </a:lnTo>
                  <a:lnTo>
                    <a:pt x="644" y="10"/>
                  </a:lnTo>
                  <a:lnTo>
                    <a:pt x="654" y="20"/>
                  </a:lnTo>
                  <a:lnTo>
                    <a:pt x="673" y="20"/>
                  </a:lnTo>
                  <a:lnTo>
                    <a:pt x="683" y="20"/>
                  </a:lnTo>
                  <a:lnTo>
                    <a:pt x="703" y="0"/>
                  </a:lnTo>
                  <a:lnTo>
                    <a:pt x="752" y="10"/>
                  </a:lnTo>
                  <a:lnTo>
                    <a:pt x="752" y="20"/>
                  </a:lnTo>
                  <a:lnTo>
                    <a:pt x="742" y="20"/>
                  </a:lnTo>
                  <a:lnTo>
                    <a:pt x="732" y="29"/>
                  </a:lnTo>
                  <a:lnTo>
                    <a:pt x="722" y="39"/>
                  </a:lnTo>
                  <a:lnTo>
                    <a:pt x="722" y="49"/>
                  </a:lnTo>
                  <a:lnTo>
                    <a:pt x="742" y="59"/>
                  </a:lnTo>
                  <a:lnTo>
                    <a:pt x="771" y="59"/>
                  </a:lnTo>
                  <a:lnTo>
                    <a:pt x="791" y="68"/>
                  </a:lnTo>
                  <a:lnTo>
                    <a:pt x="800" y="88"/>
                  </a:lnTo>
                  <a:lnTo>
                    <a:pt x="820" y="127"/>
                  </a:lnTo>
                  <a:lnTo>
                    <a:pt x="810" y="146"/>
                  </a:lnTo>
                  <a:lnTo>
                    <a:pt x="800" y="156"/>
                  </a:lnTo>
                  <a:lnTo>
                    <a:pt x="810" y="176"/>
                  </a:lnTo>
                  <a:lnTo>
                    <a:pt x="830" y="176"/>
                  </a:lnTo>
                  <a:lnTo>
                    <a:pt x="839" y="176"/>
                  </a:lnTo>
                  <a:lnTo>
                    <a:pt x="839" y="224"/>
                  </a:lnTo>
                  <a:lnTo>
                    <a:pt x="839" y="234"/>
                  </a:lnTo>
                  <a:lnTo>
                    <a:pt x="839" y="254"/>
                  </a:lnTo>
                  <a:lnTo>
                    <a:pt x="839" y="263"/>
                  </a:lnTo>
                  <a:lnTo>
                    <a:pt x="849" y="263"/>
                  </a:lnTo>
                  <a:lnTo>
                    <a:pt x="849" y="273"/>
                  </a:lnTo>
                  <a:lnTo>
                    <a:pt x="849" y="293"/>
                  </a:lnTo>
                  <a:lnTo>
                    <a:pt x="859" y="303"/>
                  </a:lnTo>
                  <a:lnTo>
                    <a:pt x="888" y="312"/>
                  </a:lnTo>
                  <a:lnTo>
                    <a:pt x="898" y="322"/>
                  </a:lnTo>
                  <a:lnTo>
                    <a:pt x="898" y="332"/>
                  </a:lnTo>
                  <a:lnTo>
                    <a:pt x="898" y="342"/>
                  </a:lnTo>
                  <a:lnTo>
                    <a:pt x="888" y="351"/>
                  </a:lnTo>
                  <a:lnTo>
                    <a:pt x="898" y="361"/>
                  </a:lnTo>
                  <a:lnTo>
                    <a:pt x="898" y="371"/>
                  </a:lnTo>
                  <a:lnTo>
                    <a:pt x="878" y="371"/>
                  </a:lnTo>
                  <a:lnTo>
                    <a:pt x="869" y="429"/>
                  </a:lnTo>
                  <a:lnTo>
                    <a:pt x="869" y="478"/>
                  </a:lnTo>
                  <a:lnTo>
                    <a:pt x="859" y="507"/>
                  </a:lnTo>
                  <a:lnTo>
                    <a:pt x="859" y="527"/>
                  </a:lnTo>
                  <a:lnTo>
                    <a:pt x="869" y="537"/>
                  </a:lnTo>
                  <a:lnTo>
                    <a:pt x="888" y="556"/>
                  </a:lnTo>
                  <a:lnTo>
                    <a:pt x="917" y="556"/>
                  </a:lnTo>
                  <a:lnTo>
                    <a:pt x="927" y="546"/>
                  </a:lnTo>
                  <a:lnTo>
                    <a:pt x="937" y="537"/>
                  </a:lnTo>
                  <a:lnTo>
                    <a:pt x="956" y="537"/>
                  </a:lnTo>
                  <a:lnTo>
                    <a:pt x="976" y="527"/>
                  </a:lnTo>
                  <a:lnTo>
                    <a:pt x="995" y="517"/>
                  </a:lnTo>
                  <a:lnTo>
                    <a:pt x="1015" y="498"/>
                  </a:lnTo>
                  <a:lnTo>
                    <a:pt x="1034" y="468"/>
                  </a:lnTo>
                  <a:lnTo>
                    <a:pt x="1044" y="488"/>
                  </a:lnTo>
                  <a:lnTo>
                    <a:pt x="1054" y="488"/>
                  </a:lnTo>
                  <a:lnTo>
                    <a:pt x="1054" y="517"/>
                  </a:lnTo>
                  <a:lnTo>
                    <a:pt x="1054" y="537"/>
                  </a:lnTo>
                  <a:lnTo>
                    <a:pt x="1064" y="546"/>
                  </a:lnTo>
                  <a:lnTo>
                    <a:pt x="1073" y="527"/>
                  </a:lnTo>
                  <a:lnTo>
                    <a:pt x="1083" y="517"/>
                  </a:lnTo>
                  <a:lnTo>
                    <a:pt x="1103" y="507"/>
                  </a:lnTo>
                  <a:lnTo>
                    <a:pt x="1103" y="468"/>
                  </a:lnTo>
                  <a:lnTo>
                    <a:pt x="1112" y="459"/>
                  </a:lnTo>
                  <a:lnTo>
                    <a:pt x="1142" y="429"/>
                  </a:lnTo>
                  <a:lnTo>
                    <a:pt x="1151" y="381"/>
                  </a:lnTo>
                  <a:lnTo>
                    <a:pt x="1171" y="361"/>
                  </a:lnTo>
                  <a:lnTo>
                    <a:pt x="1171" y="342"/>
                  </a:lnTo>
                  <a:lnTo>
                    <a:pt x="1200" y="322"/>
                  </a:lnTo>
                  <a:lnTo>
                    <a:pt x="1229" y="332"/>
                  </a:lnTo>
                  <a:lnTo>
                    <a:pt x="1259" y="342"/>
                  </a:lnTo>
                  <a:lnTo>
                    <a:pt x="1288" y="351"/>
                  </a:lnTo>
                  <a:lnTo>
                    <a:pt x="1288" y="361"/>
                  </a:lnTo>
                  <a:lnTo>
                    <a:pt x="1288" y="381"/>
                  </a:lnTo>
                  <a:lnTo>
                    <a:pt x="1288" y="400"/>
                  </a:lnTo>
                  <a:lnTo>
                    <a:pt x="1298" y="420"/>
                  </a:lnTo>
                  <a:lnTo>
                    <a:pt x="1317" y="410"/>
                  </a:lnTo>
                  <a:lnTo>
                    <a:pt x="1317" y="400"/>
                  </a:lnTo>
                  <a:lnTo>
                    <a:pt x="1337" y="410"/>
                  </a:lnTo>
                  <a:lnTo>
                    <a:pt x="1347" y="400"/>
                  </a:lnTo>
                  <a:lnTo>
                    <a:pt x="1347" y="390"/>
                  </a:lnTo>
                  <a:lnTo>
                    <a:pt x="1376" y="410"/>
                  </a:lnTo>
                  <a:lnTo>
                    <a:pt x="1386" y="400"/>
                  </a:lnTo>
                  <a:lnTo>
                    <a:pt x="1395" y="410"/>
                  </a:lnTo>
                  <a:lnTo>
                    <a:pt x="1395" y="429"/>
                  </a:lnTo>
                  <a:lnTo>
                    <a:pt x="1415" y="429"/>
                  </a:lnTo>
                  <a:lnTo>
                    <a:pt x="1415" y="449"/>
                  </a:lnTo>
                  <a:lnTo>
                    <a:pt x="1415" y="468"/>
                  </a:lnTo>
                  <a:lnTo>
                    <a:pt x="1415" y="488"/>
                  </a:lnTo>
                  <a:lnTo>
                    <a:pt x="1434" y="488"/>
                  </a:lnTo>
                  <a:lnTo>
                    <a:pt x="1444" y="498"/>
                  </a:lnTo>
                  <a:lnTo>
                    <a:pt x="1434" y="527"/>
                  </a:lnTo>
                  <a:lnTo>
                    <a:pt x="1434" y="537"/>
                  </a:lnTo>
                  <a:lnTo>
                    <a:pt x="1405" y="527"/>
                  </a:lnTo>
                  <a:lnTo>
                    <a:pt x="1386" y="527"/>
                  </a:lnTo>
                  <a:lnTo>
                    <a:pt x="1376" y="527"/>
                  </a:lnTo>
                  <a:lnTo>
                    <a:pt x="1356" y="537"/>
                  </a:lnTo>
                  <a:lnTo>
                    <a:pt x="1356" y="546"/>
                  </a:lnTo>
                  <a:lnTo>
                    <a:pt x="1366" y="556"/>
                  </a:lnTo>
                  <a:lnTo>
                    <a:pt x="1356" y="566"/>
                  </a:lnTo>
                  <a:lnTo>
                    <a:pt x="1356" y="595"/>
                  </a:lnTo>
                  <a:lnTo>
                    <a:pt x="1347" y="605"/>
                  </a:lnTo>
                  <a:lnTo>
                    <a:pt x="1347" y="624"/>
                  </a:lnTo>
                  <a:lnTo>
                    <a:pt x="1366" y="624"/>
                  </a:lnTo>
                  <a:lnTo>
                    <a:pt x="1366" y="634"/>
                  </a:lnTo>
                  <a:lnTo>
                    <a:pt x="1356" y="644"/>
                  </a:lnTo>
                  <a:lnTo>
                    <a:pt x="1376" y="664"/>
                  </a:lnTo>
                  <a:lnTo>
                    <a:pt x="1376" y="654"/>
                  </a:lnTo>
                  <a:lnTo>
                    <a:pt x="1395" y="654"/>
                  </a:lnTo>
                  <a:lnTo>
                    <a:pt x="1395" y="664"/>
                  </a:lnTo>
                  <a:lnTo>
                    <a:pt x="1386" y="673"/>
                  </a:lnTo>
                  <a:lnTo>
                    <a:pt x="1395" y="683"/>
                  </a:lnTo>
                  <a:lnTo>
                    <a:pt x="1395" y="693"/>
                  </a:lnTo>
                  <a:lnTo>
                    <a:pt x="1386" y="703"/>
                  </a:lnTo>
                  <a:lnTo>
                    <a:pt x="1376" y="703"/>
                  </a:lnTo>
                  <a:lnTo>
                    <a:pt x="1366" y="712"/>
                  </a:lnTo>
                  <a:lnTo>
                    <a:pt x="1356" y="722"/>
                  </a:lnTo>
                  <a:lnTo>
                    <a:pt x="1298" y="712"/>
                  </a:lnTo>
                  <a:lnTo>
                    <a:pt x="1308" y="703"/>
                  </a:lnTo>
                  <a:lnTo>
                    <a:pt x="1308" y="693"/>
                  </a:lnTo>
                  <a:lnTo>
                    <a:pt x="1308" y="673"/>
                  </a:lnTo>
                  <a:lnTo>
                    <a:pt x="1288" y="673"/>
                  </a:lnTo>
                  <a:lnTo>
                    <a:pt x="1288" y="683"/>
                  </a:lnTo>
                  <a:lnTo>
                    <a:pt x="1278" y="703"/>
                  </a:lnTo>
                  <a:lnTo>
                    <a:pt x="1259" y="703"/>
                  </a:lnTo>
                  <a:lnTo>
                    <a:pt x="1239" y="712"/>
                  </a:lnTo>
                  <a:lnTo>
                    <a:pt x="1239" y="732"/>
                  </a:lnTo>
                  <a:lnTo>
                    <a:pt x="1239" y="751"/>
                  </a:lnTo>
                  <a:lnTo>
                    <a:pt x="1190" y="790"/>
                  </a:lnTo>
                  <a:lnTo>
                    <a:pt x="1151" y="790"/>
                  </a:lnTo>
                  <a:lnTo>
                    <a:pt x="1112" y="790"/>
                  </a:lnTo>
                  <a:lnTo>
                    <a:pt x="1103" y="781"/>
                  </a:lnTo>
                  <a:lnTo>
                    <a:pt x="1103" y="771"/>
                  </a:lnTo>
                  <a:lnTo>
                    <a:pt x="1093" y="761"/>
                  </a:lnTo>
                  <a:lnTo>
                    <a:pt x="1083" y="771"/>
                  </a:lnTo>
                  <a:lnTo>
                    <a:pt x="1064" y="771"/>
                  </a:lnTo>
                  <a:lnTo>
                    <a:pt x="1044" y="761"/>
                  </a:lnTo>
                  <a:lnTo>
                    <a:pt x="1034" y="761"/>
                  </a:lnTo>
                  <a:lnTo>
                    <a:pt x="1025" y="781"/>
                  </a:lnTo>
                  <a:lnTo>
                    <a:pt x="1005" y="790"/>
                  </a:lnTo>
                  <a:lnTo>
                    <a:pt x="976" y="790"/>
                  </a:lnTo>
                  <a:lnTo>
                    <a:pt x="956" y="781"/>
                  </a:lnTo>
                  <a:lnTo>
                    <a:pt x="937" y="790"/>
                  </a:lnTo>
                  <a:lnTo>
                    <a:pt x="927" y="810"/>
                  </a:lnTo>
                  <a:lnTo>
                    <a:pt x="908" y="810"/>
                  </a:lnTo>
                  <a:lnTo>
                    <a:pt x="898" y="820"/>
                  </a:lnTo>
                  <a:lnTo>
                    <a:pt x="878" y="839"/>
                  </a:lnTo>
                  <a:lnTo>
                    <a:pt x="859" y="859"/>
                  </a:lnTo>
                  <a:lnTo>
                    <a:pt x="859" y="878"/>
                  </a:lnTo>
                  <a:lnTo>
                    <a:pt x="888" y="878"/>
                  </a:lnTo>
                  <a:lnTo>
                    <a:pt x="888" y="898"/>
                  </a:lnTo>
                  <a:lnTo>
                    <a:pt x="898" y="898"/>
                  </a:lnTo>
                  <a:lnTo>
                    <a:pt x="898" y="907"/>
                  </a:lnTo>
                  <a:lnTo>
                    <a:pt x="888" y="917"/>
                  </a:lnTo>
                  <a:lnTo>
                    <a:pt x="888" y="956"/>
                  </a:lnTo>
                  <a:lnTo>
                    <a:pt x="898" y="985"/>
                  </a:lnTo>
                  <a:lnTo>
                    <a:pt x="898" y="1015"/>
                  </a:lnTo>
                  <a:lnTo>
                    <a:pt x="898" y="1054"/>
                  </a:lnTo>
                  <a:lnTo>
                    <a:pt x="937" y="1073"/>
                  </a:lnTo>
                  <a:lnTo>
                    <a:pt x="908" y="1132"/>
                  </a:lnTo>
                  <a:lnTo>
                    <a:pt x="898" y="1181"/>
                  </a:lnTo>
                  <a:lnTo>
                    <a:pt x="898" y="1200"/>
                  </a:lnTo>
                  <a:lnTo>
                    <a:pt x="878" y="1229"/>
                  </a:lnTo>
                  <a:lnTo>
                    <a:pt x="849" y="1259"/>
                  </a:lnTo>
                  <a:lnTo>
                    <a:pt x="810" y="1278"/>
                  </a:lnTo>
                  <a:lnTo>
                    <a:pt x="771" y="1317"/>
                  </a:lnTo>
                  <a:lnTo>
                    <a:pt x="752" y="1337"/>
                  </a:lnTo>
                  <a:lnTo>
                    <a:pt x="693" y="1288"/>
                  </a:lnTo>
                  <a:lnTo>
                    <a:pt x="693" y="1259"/>
                  </a:lnTo>
                  <a:lnTo>
                    <a:pt x="732" y="1229"/>
                  </a:lnTo>
                  <a:lnTo>
                    <a:pt x="703" y="1220"/>
                  </a:lnTo>
                  <a:lnTo>
                    <a:pt x="693" y="1190"/>
                  </a:lnTo>
                  <a:lnTo>
                    <a:pt x="683" y="1190"/>
                  </a:lnTo>
                  <a:lnTo>
                    <a:pt x="683" y="1210"/>
                  </a:lnTo>
                  <a:lnTo>
                    <a:pt x="664" y="1210"/>
                  </a:lnTo>
                  <a:lnTo>
                    <a:pt x="634" y="1229"/>
                  </a:lnTo>
                  <a:lnTo>
                    <a:pt x="605" y="1210"/>
                  </a:lnTo>
                  <a:lnTo>
                    <a:pt x="595" y="1161"/>
                  </a:lnTo>
                  <a:lnTo>
                    <a:pt x="576" y="1161"/>
                  </a:lnTo>
                  <a:lnTo>
                    <a:pt x="556" y="1171"/>
                  </a:lnTo>
                  <a:lnTo>
                    <a:pt x="537" y="1190"/>
                  </a:lnTo>
                  <a:lnTo>
                    <a:pt x="498" y="1171"/>
                  </a:lnTo>
                  <a:lnTo>
                    <a:pt x="478" y="1171"/>
                  </a:lnTo>
                  <a:lnTo>
                    <a:pt x="469" y="1190"/>
                  </a:lnTo>
                  <a:lnTo>
                    <a:pt x="488" y="1210"/>
                  </a:lnTo>
                  <a:lnTo>
                    <a:pt x="498" y="1229"/>
                  </a:lnTo>
                  <a:lnTo>
                    <a:pt x="478" y="1229"/>
                  </a:lnTo>
                  <a:lnTo>
                    <a:pt x="459" y="1239"/>
                  </a:lnTo>
                  <a:lnTo>
                    <a:pt x="459" y="1259"/>
                  </a:lnTo>
                  <a:lnTo>
                    <a:pt x="488" y="1268"/>
                  </a:lnTo>
                  <a:lnTo>
                    <a:pt x="517" y="1259"/>
                  </a:lnTo>
                  <a:lnTo>
                    <a:pt x="547" y="1239"/>
                  </a:lnTo>
                  <a:lnTo>
                    <a:pt x="547" y="1268"/>
                  </a:lnTo>
                  <a:lnTo>
                    <a:pt x="566" y="1278"/>
                  </a:lnTo>
                  <a:lnTo>
                    <a:pt x="586" y="1259"/>
                  </a:lnTo>
                  <a:lnTo>
                    <a:pt x="605" y="1259"/>
                  </a:lnTo>
                  <a:lnTo>
                    <a:pt x="605" y="1288"/>
                  </a:lnTo>
                  <a:lnTo>
                    <a:pt x="644" y="1327"/>
                  </a:lnTo>
                  <a:lnTo>
                    <a:pt x="693" y="1288"/>
                  </a:lnTo>
                  <a:lnTo>
                    <a:pt x="752" y="1337"/>
                  </a:lnTo>
                  <a:lnTo>
                    <a:pt x="732" y="1376"/>
                  </a:lnTo>
                  <a:lnTo>
                    <a:pt x="703" y="1405"/>
                  </a:lnTo>
                  <a:lnTo>
                    <a:pt x="664" y="1415"/>
                  </a:lnTo>
                  <a:lnTo>
                    <a:pt x="625" y="1425"/>
                  </a:lnTo>
                  <a:lnTo>
                    <a:pt x="625" y="1444"/>
                  </a:lnTo>
                  <a:lnTo>
                    <a:pt x="605" y="1454"/>
                  </a:lnTo>
                  <a:lnTo>
                    <a:pt x="595" y="1464"/>
                  </a:lnTo>
                  <a:lnTo>
                    <a:pt x="586" y="1464"/>
                  </a:lnTo>
                  <a:lnTo>
                    <a:pt x="586" y="1454"/>
                  </a:lnTo>
                  <a:lnTo>
                    <a:pt x="586" y="1444"/>
                  </a:lnTo>
                  <a:lnTo>
                    <a:pt x="556" y="1434"/>
                  </a:lnTo>
                  <a:lnTo>
                    <a:pt x="537" y="1434"/>
                  </a:lnTo>
                  <a:lnTo>
                    <a:pt x="537" y="1415"/>
                  </a:lnTo>
                  <a:lnTo>
                    <a:pt x="537" y="1405"/>
                  </a:lnTo>
                  <a:lnTo>
                    <a:pt x="517" y="1395"/>
                  </a:lnTo>
                  <a:lnTo>
                    <a:pt x="498" y="1386"/>
                  </a:lnTo>
                  <a:lnTo>
                    <a:pt x="488" y="1376"/>
                  </a:lnTo>
                  <a:lnTo>
                    <a:pt x="488" y="1366"/>
                  </a:lnTo>
                  <a:lnTo>
                    <a:pt x="469" y="1366"/>
                  </a:lnTo>
                  <a:lnTo>
                    <a:pt x="449" y="1366"/>
                  </a:lnTo>
                  <a:lnTo>
                    <a:pt x="449" y="1356"/>
                  </a:lnTo>
                  <a:lnTo>
                    <a:pt x="430" y="1346"/>
                  </a:lnTo>
                  <a:lnTo>
                    <a:pt x="400" y="1317"/>
                  </a:lnTo>
                  <a:lnTo>
                    <a:pt x="371" y="1298"/>
                  </a:lnTo>
                  <a:lnTo>
                    <a:pt x="361" y="1288"/>
                  </a:lnTo>
                  <a:lnTo>
                    <a:pt x="342" y="1288"/>
                  </a:lnTo>
                  <a:lnTo>
                    <a:pt x="342" y="1268"/>
                  </a:lnTo>
                  <a:lnTo>
                    <a:pt x="342" y="1259"/>
                  </a:lnTo>
                  <a:lnTo>
                    <a:pt x="322" y="1239"/>
                  </a:lnTo>
                  <a:lnTo>
                    <a:pt x="303" y="1239"/>
                  </a:lnTo>
                  <a:lnTo>
                    <a:pt x="293" y="1259"/>
                  </a:lnTo>
                  <a:lnTo>
                    <a:pt x="283" y="1259"/>
                  </a:lnTo>
                  <a:lnTo>
                    <a:pt x="264" y="1268"/>
                  </a:lnTo>
                  <a:lnTo>
                    <a:pt x="244" y="1288"/>
                  </a:lnTo>
                  <a:lnTo>
                    <a:pt x="235" y="1268"/>
                  </a:lnTo>
                  <a:lnTo>
                    <a:pt x="215" y="1268"/>
                  </a:lnTo>
                  <a:lnTo>
                    <a:pt x="205" y="1268"/>
                  </a:lnTo>
                  <a:lnTo>
                    <a:pt x="196" y="1268"/>
                  </a:lnTo>
                  <a:lnTo>
                    <a:pt x="186" y="1278"/>
                  </a:lnTo>
                  <a:lnTo>
                    <a:pt x="176" y="1259"/>
                  </a:lnTo>
                  <a:lnTo>
                    <a:pt x="166" y="1259"/>
                  </a:lnTo>
                  <a:lnTo>
                    <a:pt x="147" y="1239"/>
                  </a:lnTo>
                  <a:lnTo>
                    <a:pt x="127" y="1229"/>
                  </a:lnTo>
                  <a:lnTo>
                    <a:pt x="118" y="1220"/>
                  </a:lnTo>
                  <a:lnTo>
                    <a:pt x="108" y="1210"/>
                  </a:lnTo>
                  <a:lnTo>
                    <a:pt x="98" y="1190"/>
                  </a:lnTo>
                  <a:lnTo>
                    <a:pt x="69" y="1200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 313"/>
            <p:cNvSpPr>
              <a:spLocks/>
            </p:cNvSpPr>
            <p:nvPr/>
          </p:nvSpPr>
          <p:spPr bwMode="auto">
            <a:xfrm>
              <a:off x="5275" y="3279"/>
              <a:ext cx="1212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75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9 h 927"/>
                <a:gd name="T36" fmla="*/ 1073 w 1210"/>
                <a:gd name="T37" fmla="*/ 537 h 927"/>
                <a:gd name="T38" fmla="*/ 1005 w 1210"/>
                <a:gd name="T39" fmla="*/ 586 h 927"/>
                <a:gd name="T40" fmla="*/ 936 w 1210"/>
                <a:gd name="T41" fmla="*/ 634 h 927"/>
                <a:gd name="T42" fmla="*/ 849 w 1210"/>
                <a:gd name="T43" fmla="*/ 713 h 927"/>
                <a:gd name="T44" fmla="*/ 771 w 1210"/>
                <a:gd name="T45" fmla="*/ 732 h 927"/>
                <a:gd name="T46" fmla="*/ 712 w 1210"/>
                <a:gd name="T47" fmla="*/ 761 h 927"/>
                <a:gd name="T48" fmla="*/ 712 w 1210"/>
                <a:gd name="T49" fmla="*/ 781 h 927"/>
                <a:gd name="T50" fmla="*/ 732 w 1210"/>
                <a:gd name="T51" fmla="*/ 859 h 927"/>
                <a:gd name="T52" fmla="*/ 663 w 1210"/>
                <a:gd name="T53" fmla="*/ 927 h 927"/>
                <a:gd name="T54" fmla="*/ 576 w 1210"/>
                <a:gd name="T55" fmla="*/ 888 h 927"/>
                <a:gd name="T56" fmla="*/ 527 w 1210"/>
                <a:gd name="T57" fmla="*/ 878 h 927"/>
                <a:gd name="T58" fmla="*/ 390 w 1210"/>
                <a:gd name="T59" fmla="*/ 917 h 927"/>
                <a:gd name="T60" fmla="*/ 273 w 1210"/>
                <a:gd name="T61" fmla="*/ 878 h 927"/>
                <a:gd name="T62" fmla="*/ 244 w 1210"/>
                <a:gd name="T63" fmla="*/ 781 h 927"/>
                <a:gd name="T64" fmla="*/ 127 w 1210"/>
                <a:gd name="T65" fmla="*/ 752 h 927"/>
                <a:gd name="T66" fmla="*/ 59 w 1210"/>
                <a:gd name="T67" fmla="*/ 722 h 927"/>
                <a:gd name="T68" fmla="*/ 0 w 1210"/>
                <a:gd name="T69" fmla="*/ 683 h 927"/>
                <a:gd name="T70" fmla="*/ 0 w 1210"/>
                <a:gd name="T71" fmla="*/ 625 h 927"/>
                <a:gd name="T72" fmla="*/ 49 w 1210"/>
                <a:gd name="T73" fmla="*/ 595 h 927"/>
                <a:gd name="T74" fmla="*/ 107 w 1210"/>
                <a:gd name="T75" fmla="*/ 566 h 927"/>
                <a:gd name="T76" fmla="*/ 146 w 1210"/>
                <a:gd name="T77" fmla="*/ 605 h 927"/>
                <a:gd name="T78" fmla="*/ 234 w 1210"/>
                <a:gd name="T79" fmla="*/ 683 h 927"/>
                <a:gd name="T80" fmla="*/ 273 w 1210"/>
                <a:gd name="T81" fmla="*/ 683 h 927"/>
                <a:gd name="T82" fmla="*/ 322 w 1210"/>
                <a:gd name="T83" fmla="*/ 722 h 927"/>
                <a:gd name="T84" fmla="*/ 371 w 1210"/>
                <a:gd name="T85" fmla="*/ 761 h 927"/>
                <a:gd name="T86" fmla="*/ 390 w 1210"/>
                <a:gd name="T87" fmla="*/ 771 h 927"/>
                <a:gd name="T88" fmla="*/ 488 w 1210"/>
                <a:gd name="T89" fmla="*/ 732 h 927"/>
                <a:gd name="T90" fmla="*/ 595 w 1210"/>
                <a:gd name="T91" fmla="*/ 605 h 927"/>
                <a:gd name="T92" fmla="*/ 673 w 1210"/>
                <a:gd name="T93" fmla="*/ 508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75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22" y="156"/>
                  </a:lnTo>
                  <a:lnTo>
                    <a:pt x="112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1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2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5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32"/>
                  </a:lnTo>
                  <a:lnTo>
                    <a:pt x="761" y="722"/>
                  </a:lnTo>
                  <a:lnTo>
                    <a:pt x="722" y="732"/>
                  </a:lnTo>
                  <a:lnTo>
                    <a:pt x="71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10"/>
                  </a:lnTo>
                  <a:lnTo>
                    <a:pt x="71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6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1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8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17" y="576"/>
                  </a:lnTo>
                  <a:lnTo>
                    <a:pt x="11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12" y="400"/>
                  </a:lnTo>
                  <a:lnTo>
                    <a:pt x="683" y="381"/>
                  </a:lnTo>
                  <a:lnTo>
                    <a:pt x="673" y="342"/>
                  </a:lnTo>
                  <a:lnTo>
                    <a:pt x="673" y="312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 312"/>
            <p:cNvSpPr>
              <a:spLocks/>
            </p:cNvSpPr>
            <p:nvPr/>
          </p:nvSpPr>
          <p:spPr bwMode="auto">
            <a:xfrm>
              <a:off x="5275" y="3279"/>
              <a:ext cx="1212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66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9 h 927"/>
                <a:gd name="T36" fmla="*/ 1073 w 1210"/>
                <a:gd name="T37" fmla="*/ 537 h 927"/>
                <a:gd name="T38" fmla="*/ 1005 w 1210"/>
                <a:gd name="T39" fmla="*/ 586 h 927"/>
                <a:gd name="T40" fmla="*/ 936 w 1210"/>
                <a:gd name="T41" fmla="*/ 634 h 927"/>
                <a:gd name="T42" fmla="*/ 849 w 1210"/>
                <a:gd name="T43" fmla="*/ 713 h 927"/>
                <a:gd name="T44" fmla="*/ 771 w 1210"/>
                <a:gd name="T45" fmla="*/ 742 h 927"/>
                <a:gd name="T46" fmla="*/ 712 w 1210"/>
                <a:gd name="T47" fmla="*/ 761 h 927"/>
                <a:gd name="T48" fmla="*/ 712 w 1210"/>
                <a:gd name="T49" fmla="*/ 781 h 927"/>
                <a:gd name="T50" fmla="*/ 732 w 1210"/>
                <a:gd name="T51" fmla="*/ 859 h 927"/>
                <a:gd name="T52" fmla="*/ 663 w 1210"/>
                <a:gd name="T53" fmla="*/ 927 h 927"/>
                <a:gd name="T54" fmla="*/ 576 w 1210"/>
                <a:gd name="T55" fmla="*/ 888 h 927"/>
                <a:gd name="T56" fmla="*/ 527 w 1210"/>
                <a:gd name="T57" fmla="*/ 878 h 927"/>
                <a:gd name="T58" fmla="*/ 390 w 1210"/>
                <a:gd name="T59" fmla="*/ 917 h 927"/>
                <a:gd name="T60" fmla="*/ 273 w 1210"/>
                <a:gd name="T61" fmla="*/ 878 h 927"/>
                <a:gd name="T62" fmla="*/ 244 w 1210"/>
                <a:gd name="T63" fmla="*/ 781 h 927"/>
                <a:gd name="T64" fmla="*/ 127 w 1210"/>
                <a:gd name="T65" fmla="*/ 752 h 927"/>
                <a:gd name="T66" fmla="*/ 59 w 1210"/>
                <a:gd name="T67" fmla="*/ 722 h 927"/>
                <a:gd name="T68" fmla="*/ 0 w 1210"/>
                <a:gd name="T69" fmla="*/ 683 h 927"/>
                <a:gd name="T70" fmla="*/ 0 w 1210"/>
                <a:gd name="T71" fmla="*/ 625 h 927"/>
                <a:gd name="T72" fmla="*/ 49 w 1210"/>
                <a:gd name="T73" fmla="*/ 595 h 927"/>
                <a:gd name="T74" fmla="*/ 107 w 1210"/>
                <a:gd name="T75" fmla="*/ 566 h 927"/>
                <a:gd name="T76" fmla="*/ 146 w 1210"/>
                <a:gd name="T77" fmla="*/ 605 h 927"/>
                <a:gd name="T78" fmla="*/ 234 w 1210"/>
                <a:gd name="T79" fmla="*/ 683 h 927"/>
                <a:gd name="T80" fmla="*/ 273 w 1210"/>
                <a:gd name="T81" fmla="*/ 683 h 927"/>
                <a:gd name="T82" fmla="*/ 322 w 1210"/>
                <a:gd name="T83" fmla="*/ 722 h 927"/>
                <a:gd name="T84" fmla="*/ 371 w 1210"/>
                <a:gd name="T85" fmla="*/ 761 h 927"/>
                <a:gd name="T86" fmla="*/ 390 w 1210"/>
                <a:gd name="T87" fmla="*/ 771 h 927"/>
                <a:gd name="T88" fmla="*/ 488 w 1210"/>
                <a:gd name="T89" fmla="*/ 732 h 927"/>
                <a:gd name="T90" fmla="*/ 595 w 1210"/>
                <a:gd name="T91" fmla="*/ 605 h 927"/>
                <a:gd name="T92" fmla="*/ 673 w 1210"/>
                <a:gd name="T93" fmla="*/ 508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66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12" y="156"/>
                  </a:lnTo>
                  <a:lnTo>
                    <a:pt x="111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2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1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6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42"/>
                  </a:lnTo>
                  <a:lnTo>
                    <a:pt x="761" y="722"/>
                  </a:lnTo>
                  <a:lnTo>
                    <a:pt x="722" y="742"/>
                  </a:lnTo>
                  <a:lnTo>
                    <a:pt x="72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20"/>
                  </a:lnTo>
                  <a:lnTo>
                    <a:pt x="72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7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2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7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27" y="576"/>
                  </a:lnTo>
                  <a:lnTo>
                    <a:pt x="12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22" y="400"/>
                  </a:lnTo>
                  <a:lnTo>
                    <a:pt x="683" y="381"/>
                  </a:lnTo>
                  <a:lnTo>
                    <a:pt x="673" y="342"/>
                  </a:lnTo>
                </a:path>
              </a:pathLst>
            </a:custGeom>
            <a:noFill/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 311"/>
            <p:cNvSpPr>
              <a:spLocks/>
            </p:cNvSpPr>
            <p:nvPr/>
          </p:nvSpPr>
          <p:spPr bwMode="auto">
            <a:xfrm>
              <a:off x="5960" y="3112"/>
              <a:ext cx="917" cy="1152"/>
            </a:xfrm>
            <a:custGeom>
              <a:avLst/>
              <a:gdLst>
                <a:gd name="T0" fmla="*/ 49 w 917"/>
                <a:gd name="T1" fmla="*/ 1035 h 1152"/>
                <a:gd name="T2" fmla="*/ 39 w 917"/>
                <a:gd name="T3" fmla="*/ 947 h 1152"/>
                <a:gd name="T4" fmla="*/ 39 w 917"/>
                <a:gd name="T5" fmla="*/ 908 h 1152"/>
                <a:gd name="T6" fmla="*/ 156 w 917"/>
                <a:gd name="T7" fmla="*/ 869 h 1152"/>
                <a:gd name="T8" fmla="*/ 253 w 917"/>
                <a:gd name="T9" fmla="*/ 800 h 1152"/>
                <a:gd name="T10" fmla="*/ 341 w 917"/>
                <a:gd name="T11" fmla="*/ 742 h 1152"/>
                <a:gd name="T12" fmla="*/ 390 w 917"/>
                <a:gd name="T13" fmla="*/ 654 h 1152"/>
                <a:gd name="T14" fmla="*/ 371 w 917"/>
                <a:gd name="T15" fmla="*/ 605 h 1152"/>
                <a:gd name="T16" fmla="*/ 400 w 917"/>
                <a:gd name="T17" fmla="*/ 566 h 1152"/>
                <a:gd name="T18" fmla="*/ 458 w 917"/>
                <a:gd name="T19" fmla="*/ 488 h 1152"/>
                <a:gd name="T20" fmla="*/ 527 w 917"/>
                <a:gd name="T21" fmla="*/ 459 h 1152"/>
                <a:gd name="T22" fmla="*/ 468 w 917"/>
                <a:gd name="T23" fmla="*/ 381 h 1152"/>
                <a:gd name="T24" fmla="*/ 429 w 917"/>
                <a:gd name="T25" fmla="*/ 313 h 1152"/>
                <a:gd name="T26" fmla="*/ 390 w 917"/>
                <a:gd name="T27" fmla="*/ 235 h 1152"/>
                <a:gd name="T28" fmla="*/ 429 w 917"/>
                <a:gd name="T29" fmla="*/ 205 h 1152"/>
                <a:gd name="T30" fmla="*/ 497 w 917"/>
                <a:gd name="T31" fmla="*/ 186 h 1152"/>
                <a:gd name="T32" fmla="*/ 488 w 917"/>
                <a:gd name="T33" fmla="*/ 147 h 1152"/>
                <a:gd name="T34" fmla="*/ 449 w 917"/>
                <a:gd name="T35" fmla="*/ 117 h 1152"/>
                <a:gd name="T36" fmla="*/ 458 w 917"/>
                <a:gd name="T37" fmla="*/ 39 h 1152"/>
                <a:gd name="T38" fmla="*/ 536 w 917"/>
                <a:gd name="T39" fmla="*/ 20 h 1152"/>
                <a:gd name="T40" fmla="*/ 566 w 917"/>
                <a:gd name="T41" fmla="*/ 59 h 1152"/>
                <a:gd name="T42" fmla="*/ 575 w 917"/>
                <a:gd name="T43" fmla="*/ 88 h 1152"/>
                <a:gd name="T44" fmla="*/ 653 w 917"/>
                <a:gd name="T45" fmla="*/ 147 h 1152"/>
                <a:gd name="T46" fmla="*/ 692 w 917"/>
                <a:gd name="T47" fmla="*/ 215 h 1152"/>
                <a:gd name="T48" fmla="*/ 751 w 917"/>
                <a:gd name="T49" fmla="*/ 215 h 1152"/>
                <a:gd name="T50" fmla="*/ 809 w 917"/>
                <a:gd name="T51" fmla="*/ 254 h 1152"/>
                <a:gd name="T52" fmla="*/ 839 w 917"/>
                <a:gd name="T53" fmla="*/ 332 h 1152"/>
                <a:gd name="T54" fmla="*/ 878 w 917"/>
                <a:gd name="T55" fmla="*/ 371 h 1152"/>
                <a:gd name="T56" fmla="*/ 887 w 917"/>
                <a:gd name="T57" fmla="*/ 430 h 1152"/>
                <a:gd name="T58" fmla="*/ 839 w 917"/>
                <a:gd name="T59" fmla="*/ 547 h 1152"/>
                <a:gd name="T60" fmla="*/ 848 w 917"/>
                <a:gd name="T61" fmla="*/ 605 h 1152"/>
                <a:gd name="T62" fmla="*/ 878 w 917"/>
                <a:gd name="T63" fmla="*/ 674 h 1152"/>
                <a:gd name="T64" fmla="*/ 848 w 917"/>
                <a:gd name="T65" fmla="*/ 761 h 1152"/>
                <a:gd name="T66" fmla="*/ 829 w 917"/>
                <a:gd name="T67" fmla="*/ 859 h 1152"/>
                <a:gd name="T68" fmla="*/ 839 w 917"/>
                <a:gd name="T69" fmla="*/ 918 h 1152"/>
                <a:gd name="T70" fmla="*/ 761 w 917"/>
                <a:gd name="T71" fmla="*/ 996 h 1152"/>
                <a:gd name="T72" fmla="*/ 614 w 917"/>
                <a:gd name="T73" fmla="*/ 976 h 1152"/>
                <a:gd name="T74" fmla="*/ 488 w 917"/>
                <a:gd name="T75" fmla="*/ 976 h 1152"/>
                <a:gd name="T76" fmla="*/ 566 w 917"/>
                <a:gd name="T77" fmla="*/ 898 h 1152"/>
                <a:gd name="T78" fmla="*/ 546 w 917"/>
                <a:gd name="T79" fmla="*/ 859 h 1152"/>
                <a:gd name="T80" fmla="*/ 527 w 917"/>
                <a:gd name="T81" fmla="*/ 820 h 1152"/>
                <a:gd name="T82" fmla="*/ 458 w 917"/>
                <a:gd name="T83" fmla="*/ 820 h 1152"/>
                <a:gd name="T84" fmla="*/ 400 w 917"/>
                <a:gd name="T85" fmla="*/ 879 h 1152"/>
                <a:gd name="T86" fmla="*/ 351 w 917"/>
                <a:gd name="T87" fmla="*/ 918 h 1152"/>
                <a:gd name="T88" fmla="*/ 331 w 917"/>
                <a:gd name="T89" fmla="*/ 908 h 1152"/>
                <a:gd name="T90" fmla="*/ 322 w 917"/>
                <a:gd name="T91" fmla="*/ 947 h 1152"/>
                <a:gd name="T92" fmla="*/ 380 w 917"/>
                <a:gd name="T93" fmla="*/ 957 h 1152"/>
                <a:gd name="T94" fmla="*/ 478 w 917"/>
                <a:gd name="T95" fmla="*/ 947 h 1152"/>
                <a:gd name="T96" fmla="*/ 390 w 917"/>
                <a:gd name="T97" fmla="*/ 1083 h 1152"/>
                <a:gd name="T98" fmla="*/ 292 w 917"/>
                <a:gd name="T99" fmla="*/ 1132 h 1152"/>
                <a:gd name="T100" fmla="*/ 175 w 917"/>
                <a:gd name="T101" fmla="*/ 1152 h 1152"/>
                <a:gd name="T102" fmla="*/ 58 w 917"/>
                <a:gd name="T103" fmla="*/ 1132 h 11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17"/>
                <a:gd name="T157" fmla="*/ 0 h 1152"/>
                <a:gd name="T158" fmla="*/ 917 w 917"/>
                <a:gd name="T159" fmla="*/ 1152 h 11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17" h="1152">
                  <a:moveTo>
                    <a:pt x="10" y="1093"/>
                  </a:moveTo>
                  <a:lnTo>
                    <a:pt x="0" y="1074"/>
                  </a:lnTo>
                  <a:lnTo>
                    <a:pt x="10" y="1054"/>
                  </a:lnTo>
                  <a:lnTo>
                    <a:pt x="39" y="1035"/>
                  </a:lnTo>
                  <a:lnTo>
                    <a:pt x="49" y="1035"/>
                  </a:lnTo>
                  <a:lnTo>
                    <a:pt x="49" y="1015"/>
                  </a:lnTo>
                  <a:lnTo>
                    <a:pt x="29" y="1005"/>
                  </a:lnTo>
                  <a:lnTo>
                    <a:pt x="29" y="986"/>
                  </a:lnTo>
                  <a:lnTo>
                    <a:pt x="29" y="957"/>
                  </a:lnTo>
                  <a:lnTo>
                    <a:pt x="39" y="947"/>
                  </a:lnTo>
                  <a:lnTo>
                    <a:pt x="39" y="937"/>
                  </a:lnTo>
                  <a:lnTo>
                    <a:pt x="29" y="937"/>
                  </a:lnTo>
                  <a:lnTo>
                    <a:pt x="29" y="927"/>
                  </a:lnTo>
                  <a:lnTo>
                    <a:pt x="29" y="918"/>
                  </a:lnTo>
                  <a:lnTo>
                    <a:pt x="39" y="908"/>
                  </a:lnTo>
                  <a:lnTo>
                    <a:pt x="78" y="898"/>
                  </a:lnTo>
                  <a:lnTo>
                    <a:pt x="88" y="908"/>
                  </a:lnTo>
                  <a:lnTo>
                    <a:pt x="107" y="898"/>
                  </a:lnTo>
                  <a:lnTo>
                    <a:pt x="136" y="869"/>
                  </a:lnTo>
                  <a:lnTo>
                    <a:pt x="156" y="869"/>
                  </a:lnTo>
                  <a:lnTo>
                    <a:pt x="166" y="879"/>
                  </a:lnTo>
                  <a:lnTo>
                    <a:pt x="185" y="879"/>
                  </a:lnTo>
                  <a:lnTo>
                    <a:pt x="185" y="859"/>
                  </a:lnTo>
                  <a:lnTo>
                    <a:pt x="224" y="830"/>
                  </a:lnTo>
                  <a:lnTo>
                    <a:pt x="253" y="800"/>
                  </a:lnTo>
                  <a:lnTo>
                    <a:pt x="273" y="781"/>
                  </a:lnTo>
                  <a:lnTo>
                    <a:pt x="292" y="781"/>
                  </a:lnTo>
                  <a:lnTo>
                    <a:pt x="292" y="761"/>
                  </a:lnTo>
                  <a:lnTo>
                    <a:pt x="322" y="752"/>
                  </a:lnTo>
                  <a:lnTo>
                    <a:pt x="341" y="742"/>
                  </a:lnTo>
                  <a:lnTo>
                    <a:pt x="361" y="742"/>
                  </a:lnTo>
                  <a:lnTo>
                    <a:pt x="390" y="722"/>
                  </a:lnTo>
                  <a:lnTo>
                    <a:pt x="390" y="703"/>
                  </a:lnTo>
                  <a:lnTo>
                    <a:pt x="390" y="664"/>
                  </a:lnTo>
                  <a:lnTo>
                    <a:pt x="390" y="654"/>
                  </a:lnTo>
                  <a:lnTo>
                    <a:pt x="371" y="644"/>
                  </a:lnTo>
                  <a:lnTo>
                    <a:pt x="351" y="635"/>
                  </a:lnTo>
                  <a:lnTo>
                    <a:pt x="351" y="625"/>
                  </a:lnTo>
                  <a:lnTo>
                    <a:pt x="351" y="615"/>
                  </a:lnTo>
                  <a:lnTo>
                    <a:pt x="371" y="605"/>
                  </a:lnTo>
                  <a:lnTo>
                    <a:pt x="371" y="586"/>
                  </a:lnTo>
                  <a:lnTo>
                    <a:pt x="390" y="586"/>
                  </a:lnTo>
                  <a:lnTo>
                    <a:pt x="390" y="576"/>
                  </a:lnTo>
                  <a:lnTo>
                    <a:pt x="400" y="576"/>
                  </a:lnTo>
                  <a:lnTo>
                    <a:pt x="400" y="566"/>
                  </a:lnTo>
                  <a:lnTo>
                    <a:pt x="410" y="557"/>
                  </a:lnTo>
                  <a:lnTo>
                    <a:pt x="429" y="547"/>
                  </a:lnTo>
                  <a:lnTo>
                    <a:pt x="439" y="518"/>
                  </a:lnTo>
                  <a:lnTo>
                    <a:pt x="449" y="508"/>
                  </a:lnTo>
                  <a:lnTo>
                    <a:pt x="458" y="488"/>
                  </a:lnTo>
                  <a:lnTo>
                    <a:pt x="468" y="488"/>
                  </a:lnTo>
                  <a:lnTo>
                    <a:pt x="488" y="478"/>
                  </a:lnTo>
                  <a:lnTo>
                    <a:pt x="507" y="469"/>
                  </a:lnTo>
                  <a:lnTo>
                    <a:pt x="517" y="469"/>
                  </a:lnTo>
                  <a:lnTo>
                    <a:pt x="527" y="459"/>
                  </a:lnTo>
                  <a:lnTo>
                    <a:pt x="536" y="420"/>
                  </a:lnTo>
                  <a:lnTo>
                    <a:pt x="527" y="400"/>
                  </a:lnTo>
                  <a:lnTo>
                    <a:pt x="497" y="391"/>
                  </a:lnTo>
                  <a:lnTo>
                    <a:pt x="488" y="381"/>
                  </a:lnTo>
                  <a:lnTo>
                    <a:pt x="468" y="381"/>
                  </a:lnTo>
                  <a:lnTo>
                    <a:pt x="449" y="371"/>
                  </a:lnTo>
                  <a:lnTo>
                    <a:pt x="449" y="352"/>
                  </a:lnTo>
                  <a:lnTo>
                    <a:pt x="439" y="342"/>
                  </a:lnTo>
                  <a:lnTo>
                    <a:pt x="439" y="322"/>
                  </a:lnTo>
                  <a:lnTo>
                    <a:pt x="429" y="313"/>
                  </a:lnTo>
                  <a:lnTo>
                    <a:pt x="419" y="293"/>
                  </a:lnTo>
                  <a:lnTo>
                    <a:pt x="410" y="293"/>
                  </a:lnTo>
                  <a:lnTo>
                    <a:pt x="410" y="264"/>
                  </a:lnTo>
                  <a:lnTo>
                    <a:pt x="390" y="244"/>
                  </a:lnTo>
                  <a:lnTo>
                    <a:pt x="390" y="235"/>
                  </a:lnTo>
                  <a:lnTo>
                    <a:pt x="390" y="215"/>
                  </a:lnTo>
                  <a:lnTo>
                    <a:pt x="400" y="205"/>
                  </a:lnTo>
                  <a:lnTo>
                    <a:pt x="410" y="205"/>
                  </a:lnTo>
                  <a:lnTo>
                    <a:pt x="419" y="205"/>
                  </a:lnTo>
                  <a:lnTo>
                    <a:pt x="429" y="205"/>
                  </a:lnTo>
                  <a:lnTo>
                    <a:pt x="458" y="215"/>
                  </a:lnTo>
                  <a:lnTo>
                    <a:pt x="468" y="205"/>
                  </a:lnTo>
                  <a:lnTo>
                    <a:pt x="478" y="196"/>
                  </a:lnTo>
                  <a:lnTo>
                    <a:pt x="488" y="196"/>
                  </a:lnTo>
                  <a:lnTo>
                    <a:pt x="497" y="186"/>
                  </a:lnTo>
                  <a:lnTo>
                    <a:pt x="497" y="176"/>
                  </a:lnTo>
                  <a:lnTo>
                    <a:pt x="488" y="166"/>
                  </a:lnTo>
                  <a:lnTo>
                    <a:pt x="497" y="157"/>
                  </a:lnTo>
                  <a:lnTo>
                    <a:pt x="497" y="147"/>
                  </a:lnTo>
                  <a:lnTo>
                    <a:pt x="488" y="147"/>
                  </a:lnTo>
                  <a:lnTo>
                    <a:pt x="478" y="157"/>
                  </a:lnTo>
                  <a:lnTo>
                    <a:pt x="458" y="137"/>
                  </a:lnTo>
                  <a:lnTo>
                    <a:pt x="468" y="127"/>
                  </a:lnTo>
                  <a:lnTo>
                    <a:pt x="468" y="117"/>
                  </a:lnTo>
                  <a:lnTo>
                    <a:pt x="449" y="117"/>
                  </a:lnTo>
                  <a:lnTo>
                    <a:pt x="449" y="88"/>
                  </a:lnTo>
                  <a:lnTo>
                    <a:pt x="458" y="88"/>
                  </a:lnTo>
                  <a:lnTo>
                    <a:pt x="458" y="59"/>
                  </a:lnTo>
                  <a:lnTo>
                    <a:pt x="468" y="49"/>
                  </a:lnTo>
                  <a:lnTo>
                    <a:pt x="458" y="39"/>
                  </a:lnTo>
                  <a:lnTo>
                    <a:pt x="458" y="30"/>
                  </a:lnTo>
                  <a:lnTo>
                    <a:pt x="478" y="20"/>
                  </a:lnTo>
                  <a:lnTo>
                    <a:pt x="488" y="20"/>
                  </a:lnTo>
                  <a:lnTo>
                    <a:pt x="507" y="20"/>
                  </a:lnTo>
                  <a:lnTo>
                    <a:pt x="536" y="20"/>
                  </a:lnTo>
                  <a:lnTo>
                    <a:pt x="546" y="10"/>
                  </a:lnTo>
                  <a:lnTo>
                    <a:pt x="546" y="0"/>
                  </a:lnTo>
                  <a:lnTo>
                    <a:pt x="556" y="20"/>
                  </a:lnTo>
                  <a:lnTo>
                    <a:pt x="566" y="39"/>
                  </a:lnTo>
                  <a:lnTo>
                    <a:pt x="566" y="59"/>
                  </a:lnTo>
                  <a:lnTo>
                    <a:pt x="566" y="69"/>
                  </a:lnTo>
                  <a:lnTo>
                    <a:pt x="575" y="69"/>
                  </a:lnTo>
                  <a:lnTo>
                    <a:pt x="575" y="78"/>
                  </a:lnTo>
                  <a:lnTo>
                    <a:pt x="566" y="88"/>
                  </a:lnTo>
                  <a:lnTo>
                    <a:pt x="575" y="88"/>
                  </a:lnTo>
                  <a:lnTo>
                    <a:pt x="595" y="69"/>
                  </a:lnTo>
                  <a:lnTo>
                    <a:pt x="605" y="78"/>
                  </a:lnTo>
                  <a:lnTo>
                    <a:pt x="605" y="98"/>
                  </a:lnTo>
                  <a:lnTo>
                    <a:pt x="634" y="137"/>
                  </a:lnTo>
                  <a:lnTo>
                    <a:pt x="653" y="147"/>
                  </a:lnTo>
                  <a:lnTo>
                    <a:pt x="653" y="157"/>
                  </a:lnTo>
                  <a:lnTo>
                    <a:pt x="673" y="186"/>
                  </a:lnTo>
                  <a:lnTo>
                    <a:pt x="692" y="196"/>
                  </a:lnTo>
                  <a:lnTo>
                    <a:pt x="712" y="205"/>
                  </a:lnTo>
                  <a:lnTo>
                    <a:pt x="692" y="215"/>
                  </a:lnTo>
                  <a:lnTo>
                    <a:pt x="683" y="225"/>
                  </a:lnTo>
                  <a:lnTo>
                    <a:pt x="692" y="235"/>
                  </a:lnTo>
                  <a:lnTo>
                    <a:pt x="702" y="244"/>
                  </a:lnTo>
                  <a:lnTo>
                    <a:pt x="731" y="225"/>
                  </a:lnTo>
                  <a:lnTo>
                    <a:pt x="751" y="215"/>
                  </a:lnTo>
                  <a:lnTo>
                    <a:pt x="770" y="225"/>
                  </a:lnTo>
                  <a:lnTo>
                    <a:pt x="780" y="254"/>
                  </a:lnTo>
                  <a:lnTo>
                    <a:pt x="780" y="264"/>
                  </a:lnTo>
                  <a:lnTo>
                    <a:pt x="790" y="274"/>
                  </a:lnTo>
                  <a:lnTo>
                    <a:pt x="809" y="254"/>
                  </a:lnTo>
                  <a:lnTo>
                    <a:pt x="829" y="264"/>
                  </a:lnTo>
                  <a:lnTo>
                    <a:pt x="829" y="283"/>
                  </a:lnTo>
                  <a:lnTo>
                    <a:pt x="839" y="293"/>
                  </a:lnTo>
                  <a:lnTo>
                    <a:pt x="839" y="313"/>
                  </a:lnTo>
                  <a:lnTo>
                    <a:pt x="839" y="332"/>
                  </a:lnTo>
                  <a:lnTo>
                    <a:pt x="839" y="342"/>
                  </a:lnTo>
                  <a:lnTo>
                    <a:pt x="858" y="342"/>
                  </a:lnTo>
                  <a:lnTo>
                    <a:pt x="858" y="352"/>
                  </a:lnTo>
                  <a:lnTo>
                    <a:pt x="878" y="371"/>
                  </a:lnTo>
                  <a:lnTo>
                    <a:pt x="858" y="371"/>
                  </a:lnTo>
                  <a:lnTo>
                    <a:pt x="858" y="391"/>
                  </a:lnTo>
                  <a:lnTo>
                    <a:pt x="858" y="400"/>
                  </a:lnTo>
                  <a:lnTo>
                    <a:pt x="858" y="430"/>
                  </a:lnTo>
                  <a:lnTo>
                    <a:pt x="887" y="430"/>
                  </a:lnTo>
                  <a:lnTo>
                    <a:pt x="917" y="488"/>
                  </a:lnTo>
                  <a:lnTo>
                    <a:pt x="897" y="498"/>
                  </a:lnTo>
                  <a:lnTo>
                    <a:pt x="878" y="508"/>
                  </a:lnTo>
                  <a:lnTo>
                    <a:pt x="848" y="527"/>
                  </a:lnTo>
                  <a:lnTo>
                    <a:pt x="839" y="547"/>
                  </a:lnTo>
                  <a:lnTo>
                    <a:pt x="819" y="566"/>
                  </a:lnTo>
                  <a:lnTo>
                    <a:pt x="809" y="605"/>
                  </a:lnTo>
                  <a:lnTo>
                    <a:pt x="829" y="605"/>
                  </a:lnTo>
                  <a:lnTo>
                    <a:pt x="848" y="596"/>
                  </a:lnTo>
                  <a:lnTo>
                    <a:pt x="848" y="605"/>
                  </a:lnTo>
                  <a:lnTo>
                    <a:pt x="868" y="615"/>
                  </a:lnTo>
                  <a:lnTo>
                    <a:pt x="868" y="635"/>
                  </a:lnTo>
                  <a:lnTo>
                    <a:pt x="878" y="644"/>
                  </a:lnTo>
                  <a:lnTo>
                    <a:pt x="878" y="654"/>
                  </a:lnTo>
                  <a:lnTo>
                    <a:pt x="878" y="674"/>
                  </a:lnTo>
                  <a:lnTo>
                    <a:pt x="868" y="683"/>
                  </a:lnTo>
                  <a:lnTo>
                    <a:pt x="858" y="703"/>
                  </a:lnTo>
                  <a:lnTo>
                    <a:pt x="848" y="722"/>
                  </a:lnTo>
                  <a:lnTo>
                    <a:pt x="848" y="742"/>
                  </a:lnTo>
                  <a:lnTo>
                    <a:pt x="848" y="761"/>
                  </a:lnTo>
                  <a:lnTo>
                    <a:pt x="848" y="791"/>
                  </a:lnTo>
                  <a:lnTo>
                    <a:pt x="839" y="820"/>
                  </a:lnTo>
                  <a:lnTo>
                    <a:pt x="839" y="830"/>
                  </a:lnTo>
                  <a:lnTo>
                    <a:pt x="829" y="839"/>
                  </a:lnTo>
                  <a:lnTo>
                    <a:pt x="829" y="859"/>
                  </a:lnTo>
                  <a:lnTo>
                    <a:pt x="839" y="869"/>
                  </a:lnTo>
                  <a:lnTo>
                    <a:pt x="848" y="879"/>
                  </a:lnTo>
                  <a:lnTo>
                    <a:pt x="848" y="898"/>
                  </a:lnTo>
                  <a:lnTo>
                    <a:pt x="839" y="908"/>
                  </a:lnTo>
                  <a:lnTo>
                    <a:pt x="839" y="918"/>
                  </a:lnTo>
                  <a:lnTo>
                    <a:pt x="809" y="927"/>
                  </a:lnTo>
                  <a:lnTo>
                    <a:pt x="790" y="957"/>
                  </a:lnTo>
                  <a:lnTo>
                    <a:pt x="770" y="976"/>
                  </a:lnTo>
                  <a:lnTo>
                    <a:pt x="770" y="996"/>
                  </a:lnTo>
                  <a:lnTo>
                    <a:pt x="761" y="996"/>
                  </a:lnTo>
                  <a:lnTo>
                    <a:pt x="722" y="996"/>
                  </a:lnTo>
                  <a:lnTo>
                    <a:pt x="683" y="986"/>
                  </a:lnTo>
                  <a:lnTo>
                    <a:pt x="653" y="976"/>
                  </a:lnTo>
                  <a:lnTo>
                    <a:pt x="624" y="966"/>
                  </a:lnTo>
                  <a:lnTo>
                    <a:pt x="614" y="976"/>
                  </a:lnTo>
                  <a:lnTo>
                    <a:pt x="605" y="996"/>
                  </a:lnTo>
                  <a:lnTo>
                    <a:pt x="585" y="996"/>
                  </a:lnTo>
                  <a:lnTo>
                    <a:pt x="556" y="986"/>
                  </a:lnTo>
                  <a:lnTo>
                    <a:pt x="527" y="976"/>
                  </a:lnTo>
                  <a:lnTo>
                    <a:pt x="488" y="976"/>
                  </a:lnTo>
                  <a:lnTo>
                    <a:pt x="478" y="947"/>
                  </a:lnTo>
                  <a:lnTo>
                    <a:pt x="497" y="937"/>
                  </a:lnTo>
                  <a:lnTo>
                    <a:pt x="517" y="927"/>
                  </a:lnTo>
                  <a:lnTo>
                    <a:pt x="556" y="918"/>
                  </a:lnTo>
                  <a:lnTo>
                    <a:pt x="566" y="898"/>
                  </a:lnTo>
                  <a:lnTo>
                    <a:pt x="575" y="888"/>
                  </a:lnTo>
                  <a:lnTo>
                    <a:pt x="556" y="888"/>
                  </a:lnTo>
                  <a:lnTo>
                    <a:pt x="536" y="888"/>
                  </a:lnTo>
                  <a:lnTo>
                    <a:pt x="536" y="859"/>
                  </a:lnTo>
                  <a:lnTo>
                    <a:pt x="546" y="859"/>
                  </a:lnTo>
                  <a:lnTo>
                    <a:pt x="566" y="859"/>
                  </a:lnTo>
                  <a:lnTo>
                    <a:pt x="566" y="839"/>
                  </a:lnTo>
                  <a:lnTo>
                    <a:pt x="556" y="839"/>
                  </a:lnTo>
                  <a:lnTo>
                    <a:pt x="546" y="820"/>
                  </a:lnTo>
                  <a:lnTo>
                    <a:pt x="527" y="820"/>
                  </a:lnTo>
                  <a:lnTo>
                    <a:pt x="517" y="810"/>
                  </a:lnTo>
                  <a:lnTo>
                    <a:pt x="507" y="800"/>
                  </a:lnTo>
                  <a:lnTo>
                    <a:pt x="488" y="800"/>
                  </a:lnTo>
                  <a:lnTo>
                    <a:pt x="478" y="810"/>
                  </a:lnTo>
                  <a:lnTo>
                    <a:pt x="458" y="820"/>
                  </a:lnTo>
                  <a:lnTo>
                    <a:pt x="458" y="830"/>
                  </a:lnTo>
                  <a:lnTo>
                    <a:pt x="449" y="839"/>
                  </a:lnTo>
                  <a:lnTo>
                    <a:pt x="410" y="839"/>
                  </a:lnTo>
                  <a:lnTo>
                    <a:pt x="390" y="859"/>
                  </a:lnTo>
                  <a:lnTo>
                    <a:pt x="400" y="879"/>
                  </a:lnTo>
                  <a:lnTo>
                    <a:pt x="410" y="879"/>
                  </a:lnTo>
                  <a:lnTo>
                    <a:pt x="390" y="888"/>
                  </a:lnTo>
                  <a:lnTo>
                    <a:pt x="380" y="888"/>
                  </a:lnTo>
                  <a:lnTo>
                    <a:pt x="361" y="898"/>
                  </a:lnTo>
                  <a:lnTo>
                    <a:pt x="351" y="918"/>
                  </a:lnTo>
                  <a:lnTo>
                    <a:pt x="341" y="927"/>
                  </a:lnTo>
                  <a:lnTo>
                    <a:pt x="341" y="937"/>
                  </a:lnTo>
                  <a:lnTo>
                    <a:pt x="331" y="937"/>
                  </a:lnTo>
                  <a:lnTo>
                    <a:pt x="331" y="918"/>
                  </a:lnTo>
                  <a:lnTo>
                    <a:pt x="331" y="908"/>
                  </a:lnTo>
                  <a:lnTo>
                    <a:pt x="322" y="908"/>
                  </a:lnTo>
                  <a:lnTo>
                    <a:pt x="322" y="918"/>
                  </a:lnTo>
                  <a:lnTo>
                    <a:pt x="322" y="937"/>
                  </a:lnTo>
                  <a:lnTo>
                    <a:pt x="322" y="947"/>
                  </a:lnTo>
                  <a:lnTo>
                    <a:pt x="322" y="957"/>
                  </a:lnTo>
                  <a:lnTo>
                    <a:pt x="341" y="966"/>
                  </a:lnTo>
                  <a:lnTo>
                    <a:pt x="351" y="976"/>
                  </a:lnTo>
                  <a:lnTo>
                    <a:pt x="371" y="957"/>
                  </a:lnTo>
                  <a:lnTo>
                    <a:pt x="380" y="957"/>
                  </a:lnTo>
                  <a:lnTo>
                    <a:pt x="390" y="976"/>
                  </a:lnTo>
                  <a:lnTo>
                    <a:pt x="400" y="976"/>
                  </a:lnTo>
                  <a:lnTo>
                    <a:pt x="439" y="966"/>
                  </a:lnTo>
                  <a:lnTo>
                    <a:pt x="449" y="947"/>
                  </a:lnTo>
                  <a:lnTo>
                    <a:pt x="478" y="947"/>
                  </a:lnTo>
                  <a:lnTo>
                    <a:pt x="488" y="976"/>
                  </a:lnTo>
                  <a:lnTo>
                    <a:pt x="458" y="986"/>
                  </a:lnTo>
                  <a:lnTo>
                    <a:pt x="410" y="1044"/>
                  </a:lnTo>
                  <a:lnTo>
                    <a:pt x="410" y="1074"/>
                  </a:lnTo>
                  <a:lnTo>
                    <a:pt x="390" y="1083"/>
                  </a:lnTo>
                  <a:lnTo>
                    <a:pt x="371" y="1083"/>
                  </a:lnTo>
                  <a:lnTo>
                    <a:pt x="351" y="1093"/>
                  </a:lnTo>
                  <a:lnTo>
                    <a:pt x="331" y="1113"/>
                  </a:lnTo>
                  <a:lnTo>
                    <a:pt x="302" y="1122"/>
                  </a:lnTo>
                  <a:lnTo>
                    <a:pt x="292" y="1132"/>
                  </a:lnTo>
                  <a:lnTo>
                    <a:pt x="273" y="1152"/>
                  </a:lnTo>
                  <a:lnTo>
                    <a:pt x="244" y="1152"/>
                  </a:lnTo>
                  <a:lnTo>
                    <a:pt x="224" y="1152"/>
                  </a:lnTo>
                  <a:lnTo>
                    <a:pt x="195" y="1152"/>
                  </a:lnTo>
                  <a:lnTo>
                    <a:pt x="175" y="1152"/>
                  </a:lnTo>
                  <a:lnTo>
                    <a:pt x="156" y="1152"/>
                  </a:lnTo>
                  <a:lnTo>
                    <a:pt x="146" y="1142"/>
                  </a:lnTo>
                  <a:lnTo>
                    <a:pt x="88" y="1152"/>
                  </a:lnTo>
                  <a:lnTo>
                    <a:pt x="68" y="1142"/>
                  </a:lnTo>
                  <a:lnTo>
                    <a:pt x="58" y="1132"/>
                  </a:lnTo>
                  <a:lnTo>
                    <a:pt x="39" y="1122"/>
                  </a:lnTo>
                  <a:lnTo>
                    <a:pt x="29" y="1113"/>
                  </a:lnTo>
                  <a:lnTo>
                    <a:pt x="19" y="1093"/>
                  </a:lnTo>
                  <a:lnTo>
                    <a:pt x="10" y="1093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 310"/>
            <p:cNvSpPr>
              <a:spLocks/>
            </p:cNvSpPr>
            <p:nvPr/>
          </p:nvSpPr>
          <p:spPr bwMode="auto">
            <a:xfrm>
              <a:off x="6613" y="3093"/>
              <a:ext cx="1120" cy="761"/>
            </a:xfrm>
            <a:custGeom>
              <a:avLst/>
              <a:gdLst>
                <a:gd name="T0" fmla="*/ 225 w 1122"/>
                <a:gd name="T1" fmla="*/ 390 h 761"/>
                <a:gd name="T2" fmla="*/ 205 w 1122"/>
                <a:gd name="T3" fmla="*/ 439 h 761"/>
                <a:gd name="T4" fmla="*/ 332 w 1122"/>
                <a:gd name="T5" fmla="*/ 478 h 761"/>
                <a:gd name="T6" fmla="*/ 400 w 1122"/>
                <a:gd name="T7" fmla="*/ 458 h 761"/>
                <a:gd name="T8" fmla="*/ 478 w 1122"/>
                <a:gd name="T9" fmla="*/ 478 h 761"/>
                <a:gd name="T10" fmla="*/ 537 w 1122"/>
                <a:gd name="T11" fmla="*/ 468 h 761"/>
                <a:gd name="T12" fmla="*/ 576 w 1122"/>
                <a:gd name="T13" fmla="*/ 488 h 761"/>
                <a:gd name="T14" fmla="*/ 615 w 1122"/>
                <a:gd name="T15" fmla="*/ 537 h 761"/>
                <a:gd name="T16" fmla="*/ 654 w 1122"/>
                <a:gd name="T17" fmla="*/ 576 h 761"/>
                <a:gd name="T18" fmla="*/ 693 w 1122"/>
                <a:gd name="T19" fmla="*/ 615 h 761"/>
                <a:gd name="T20" fmla="*/ 742 w 1122"/>
                <a:gd name="T21" fmla="*/ 693 h 761"/>
                <a:gd name="T22" fmla="*/ 800 w 1122"/>
                <a:gd name="T23" fmla="*/ 741 h 761"/>
                <a:gd name="T24" fmla="*/ 869 w 1122"/>
                <a:gd name="T25" fmla="*/ 751 h 761"/>
                <a:gd name="T26" fmla="*/ 937 w 1122"/>
                <a:gd name="T27" fmla="*/ 741 h 761"/>
                <a:gd name="T28" fmla="*/ 986 w 1122"/>
                <a:gd name="T29" fmla="*/ 741 h 761"/>
                <a:gd name="T30" fmla="*/ 1064 w 1122"/>
                <a:gd name="T31" fmla="*/ 751 h 761"/>
                <a:gd name="T32" fmla="*/ 1083 w 1122"/>
                <a:gd name="T33" fmla="*/ 693 h 761"/>
                <a:gd name="T34" fmla="*/ 1073 w 1122"/>
                <a:gd name="T35" fmla="*/ 624 h 761"/>
                <a:gd name="T36" fmla="*/ 1044 w 1122"/>
                <a:gd name="T37" fmla="*/ 585 h 761"/>
                <a:gd name="T38" fmla="*/ 986 w 1122"/>
                <a:gd name="T39" fmla="*/ 556 h 761"/>
                <a:gd name="T40" fmla="*/ 956 w 1122"/>
                <a:gd name="T41" fmla="*/ 507 h 761"/>
                <a:gd name="T42" fmla="*/ 976 w 1122"/>
                <a:gd name="T43" fmla="*/ 458 h 761"/>
                <a:gd name="T44" fmla="*/ 1005 w 1122"/>
                <a:gd name="T45" fmla="*/ 410 h 761"/>
                <a:gd name="T46" fmla="*/ 1015 w 1122"/>
                <a:gd name="T47" fmla="*/ 380 h 761"/>
                <a:gd name="T48" fmla="*/ 1044 w 1122"/>
                <a:gd name="T49" fmla="*/ 341 h 761"/>
                <a:gd name="T50" fmla="*/ 1025 w 1122"/>
                <a:gd name="T51" fmla="*/ 283 h 761"/>
                <a:gd name="T52" fmla="*/ 1064 w 1122"/>
                <a:gd name="T53" fmla="*/ 273 h 761"/>
                <a:gd name="T54" fmla="*/ 1112 w 1122"/>
                <a:gd name="T55" fmla="*/ 224 h 761"/>
                <a:gd name="T56" fmla="*/ 1083 w 1122"/>
                <a:gd name="T57" fmla="*/ 166 h 761"/>
                <a:gd name="T58" fmla="*/ 1034 w 1122"/>
                <a:gd name="T59" fmla="*/ 176 h 761"/>
                <a:gd name="T60" fmla="*/ 976 w 1122"/>
                <a:gd name="T61" fmla="*/ 215 h 761"/>
                <a:gd name="T62" fmla="*/ 927 w 1122"/>
                <a:gd name="T63" fmla="*/ 254 h 761"/>
                <a:gd name="T64" fmla="*/ 898 w 1122"/>
                <a:gd name="T65" fmla="*/ 273 h 761"/>
                <a:gd name="T66" fmla="*/ 849 w 1122"/>
                <a:gd name="T67" fmla="*/ 215 h 761"/>
                <a:gd name="T68" fmla="*/ 781 w 1122"/>
                <a:gd name="T69" fmla="*/ 224 h 761"/>
                <a:gd name="T70" fmla="*/ 800 w 1122"/>
                <a:gd name="T71" fmla="*/ 156 h 761"/>
                <a:gd name="T72" fmla="*/ 830 w 1122"/>
                <a:gd name="T73" fmla="*/ 68 h 761"/>
                <a:gd name="T74" fmla="*/ 849 w 1122"/>
                <a:gd name="T75" fmla="*/ 39 h 761"/>
                <a:gd name="T76" fmla="*/ 849 w 1122"/>
                <a:gd name="T77" fmla="*/ 29 h 761"/>
                <a:gd name="T78" fmla="*/ 800 w 1122"/>
                <a:gd name="T79" fmla="*/ 10 h 761"/>
                <a:gd name="T80" fmla="*/ 634 w 1122"/>
                <a:gd name="T81" fmla="*/ 68 h 761"/>
                <a:gd name="T82" fmla="*/ 595 w 1122"/>
                <a:gd name="T83" fmla="*/ 127 h 761"/>
                <a:gd name="T84" fmla="*/ 517 w 1122"/>
                <a:gd name="T85" fmla="*/ 136 h 761"/>
                <a:gd name="T86" fmla="*/ 488 w 1122"/>
                <a:gd name="T87" fmla="*/ 156 h 761"/>
                <a:gd name="T88" fmla="*/ 430 w 1122"/>
                <a:gd name="T89" fmla="*/ 176 h 761"/>
                <a:gd name="T90" fmla="*/ 391 w 1122"/>
                <a:gd name="T91" fmla="*/ 166 h 761"/>
                <a:gd name="T92" fmla="*/ 303 w 1122"/>
                <a:gd name="T93" fmla="*/ 176 h 761"/>
                <a:gd name="T94" fmla="*/ 225 w 1122"/>
                <a:gd name="T95" fmla="*/ 146 h 761"/>
                <a:gd name="T96" fmla="*/ 166 w 1122"/>
                <a:gd name="T97" fmla="*/ 166 h 761"/>
                <a:gd name="T98" fmla="*/ 108 w 1122"/>
                <a:gd name="T99" fmla="*/ 146 h 761"/>
                <a:gd name="T100" fmla="*/ 20 w 1122"/>
                <a:gd name="T101" fmla="*/ 146 h 761"/>
                <a:gd name="T102" fmla="*/ 49 w 1122"/>
                <a:gd name="T103" fmla="*/ 215 h 761"/>
                <a:gd name="T104" fmla="*/ 39 w 1122"/>
                <a:gd name="T105" fmla="*/ 254 h 761"/>
                <a:gd name="T106" fmla="*/ 117 w 1122"/>
                <a:gd name="T107" fmla="*/ 244 h 761"/>
                <a:gd name="T108" fmla="*/ 156 w 1122"/>
                <a:gd name="T109" fmla="*/ 273 h 761"/>
                <a:gd name="T110" fmla="*/ 186 w 1122"/>
                <a:gd name="T111" fmla="*/ 332 h 76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22"/>
                <a:gd name="T169" fmla="*/ 0 h 761"/>
                <a:gd name="T170" fmla="*/ 1122 w 1122"/>
                <a:gd name="T171" fmla="*/ 761 h 76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22" h="761">
                  <a:moveTo>
                    <a:pt x="205" y="361"/>
                  </a:moveTo>
                  <a:lnTo>
                    <a:pt x="205" y="371"/>
                  </a:lnTo>
                  <a:lnTo>
                    <a:pt x="225" y="380"/>
                  </a:lnTo>
                  <a:lnTo>
                    <a:pt x="225" y="390"/>
                  </a:lnTo>
                  <a:lnTo>
                    <a:pt x="205" y="390"/>
                  </a:lnTo>
                  <a:lnTo>
                    <a:pt x="205" y="410"/>
                  </a:lnTo>
                  <a:lnTo>
                    <a:pt x="205" y="419"/>
                  </a:lnTo>
                  <a:lnTo>
                    <a:pt x="205" y="439"/>
                  </a:lnTo>
                  <a:lnTo>
                    <a:pt x="234" y="449"/>
                  </a:lnTo>
                  <a:lnTo>
                    <a:pt x="264" y="497"/>
                  </a:lnTo>
                  <a:lnTo>
                    <a:pt x="303" y="488"/>
                  </a:lnTo>
                  <a:lnTo>
                    <a:pt x="332" y="478"/>
                  </a:lnTo>
                  <a:lnTo>
                    <a:pt x="352" y="458"/>
                  </a:lnTo>
                  <a:lnTo>
                    <a:pt x="361" y="458"/>
                  </a:lnTo>
                  <a:lnTo>
                    <a:pt x="381" y="458"/>
                  </a:lnTo>
                  <a:lnTo>
                    <a:pt x="400" y="458"/>
                  </a:lnTo>
                  <a:lnTo>
                    <a:pt x="430" y="458"/>
                  </a:lnTo>
                  <a:lnTo>
                    <a:pt x="439" y="478"/>
                  </a:lnTo>
                  <a:lnTo>
                    <a:pt x="459" y="478"/>
                  </a:lnTo>
                  <a:lnTo>
                    <a:pt x="478" y="478"/>
                  </a:lnTo>
                  <a:lnTo>
                    <a:pt x="478" y="458"/>
                  </a:lnTo>
                  <a:lnTo>
                    <a:pt x="498" y="458"/>
                  </a:lnTo>
                  <a:lnTo>
                    <a:pt x="517" y="468"/>
                  </a:lnTo>
                  <a:lnTo>
                    <a:pt x="537" y="468"/>
                  </a:lnTo>
                  <a:lnTo>
                    <a:pt x="547" y="47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86" y="497"/>
                  </a:lnTo>
                  <a:lnTo>
                    <a:pt x="595" y="517"/>
                  </a:lnTo>
                  <a:lnTo>
                    <a:pt x="605" y="527"/>
                  </a:lnTo>
                  <a:lnTo>
                    <a:pt x="615" y="537"/>
                  </a:lnTo>
                  <a:lnTo>
                    <a:pt x="625" y="556"/>
                  </a:lnTo>
                  <a:lnTo>
                    <a:pt x="644" y="556"/>
                  </a:lnTo>
                  <a:lnTo>
                    <a:pt x="654" y="566"/>
                  </a:lnTo>
                  <a:lnTo>
                    <a:pt x="654" y="576"/>
                  </a:lnTo>
                  <a:lnTo>
                    <a:pt x="664" y="585"/>
                  </a:lnTo>
                  <a:lnTo>
                    <a:pt x="683" y="595"/>
                  </a:lnTo>
                  <a:lnTo>
                    <a:pt x="683" y="615"/>
                  </a:lnTo>
                  <a:lnTo>
                    <a:pt x="693" y="615"/>
                  </a:lnTo>
                  <a:lnTo>
                    <a:pt x="703" y="634"/>
                  </a:lnTo>
                  <a:lnTo>
                    <a:pt x="732" y="663"/>
                  </a:lnTo>
                  <a:lnTo>
                    <a:pt x="742" y="673"/>
                  </a:lnTo>
                  <a:lnTo>
                    <a:pt x="742" y="693"/>
                  </a:lnTo>
                  <a:lnTo>
                    <a:pt x="771" y="702"/>
                  </a:lnTo>
                  <a:lnTo>
                    <a:pt x="781" y="722"/>
                  </a:lnTo>
                  <a:lnTo>
                    <a:pt x="790" y="741"/>
                  </a:lnTo>
                  <a:lnTo>
                    <a:pt x="800" y="741"/>
                  </a:lnTo>
                  <a:lnTo>
                    <a:pt x="810" y="761"/>
                  </a:lnTo>
                  <a:lnTo>
                    <a:pt x="830" y="761"/>
                  </a:lnTo>
                  <a:lnTo>
                    <a:pt x="859" y="751"/>
                  </a:lnTo>
                  <a:lnTo>
                    <a:pt x="869" y="751"/>
                  </a:lnTo>
                  <a:lnTo>
                    <a:pt x="888" y="732"/>
                  </a:lnTo>
                  <a:lnTo>
                    <a:pt x="898" y="732"/>
                  </a:lnTo>
                  <a:lnTo>
                    <a:pt x="917" y="741"/>
                  </a:lnTo>
                  <a:lnTo>
                    <a:pt x="937" y="741"/>
                  </a:lnTo>
                  <a:lnTo>
                    <a:pt x="947" y="732"/>
                  </a:lnTo>
                  <a:lnTo>
                    <a:pt x="956" y="732"/>
                  </a:lnTo>
                  <a:lnTo>
                    <a:pt x="976" y="732"/>
                  </a:lnTo>
                  <a:lnTo>
                    <a:pt x="986" y="741"/>
                  </a:lnTo>
                  <a:lnTo>
                    <a:pt x="1005" y="751"/>
                  </a:lnTo>
                  <a:lnTo>
                    <a:pt x="1034" y="761"/>
                  </a:lnTo>
                  <a:lnTo>
                    <a:pt x="1044" y="751"/>
                  </a:lnTo>
                  <a:lnTo>
                    <a:pt x="1064" y="751"/>
                  </a:lnTo>
                  <a:lnTo>
                    <a:pt x="1064" y="722"/>
                  </a:lnTo>
                  <a:lnTo>
                    <a:pt x="1064" y="712"/>
                  </a:lnTo>
                  <a:lnTo>
                    <a:pt x="1073" y="693"/>
                  </a:lnTo>
                  <a:lnTo>
                    <a:pt x="1083" y="693"/>
                  </a:lnTo>
                  <a:lnTo>
                    <a:pt x="1083" y="673"/>
                  </a:lnTo>
                  <a:lnTo>
                    <a:pt x="1073" y="654"/>
                  </a:lnTo>
                  <a:lnTo>
                    <a:pt x="1064" y="644"/>
                  </a:lnTo>
                  <a:lnTo>
                    <a:pt x="1073" y="624"/>
                  </a:lnTo>
                  <a:lnTo>
                    <a:pt x="1064" y="615"/>
                  </a:lnTo>
                  <a:lnTo>
                    <a:pt x="1044" y="605"/>
                  </a:lnTo>
                  <a:lnTo>
                    <a:pt x="1044" y="595"/>
                  </a:lnTo>
                  <a:lnTo>
                    <a:pt x="1044" y="585"/>
                  </a:lnTo>
                  <a:lnTo>
                    <a:pt x="1025" y="576"/>
                  </a:lnTo>
                  <a:lnTo>
                    <a:pt x="1005" y="585"/>
                  </a:lnTo>
                  <a:lnTo>
                    <a:pt x="986" y="566"/>
                  </a:lnTo>
                  <a:lnTo>
                    <a:pt x="986" y="556"/>
                  </a:lnTo>
                  <a:lnTo>
                    <a:pt x="956" y="556"/>
                  </a:lnTo>
                  <a:lnTo>
                    <a:pt x="956" y="537"/>
                  </a:lnTo>
                  <a:lnTo>
                    <a:pt x="947" y="517"/>
                  </a:lnTo>
                  <a:lnTo>
                    <a:pt x="956" y="507"/>
                  </a:lnTo>
                  <a:lnTo>
                    <a:pt x="966" y="488"/>
                  </a:lnTo>
                  <a:lnTo>
                    <a:pt x="966" y="468"/>
                  </a:lnTo>
                  <a:lnTo>
                    <a:pt x="976" y="468"/>
                  </a:lnTo>
                  <a:lnTo>
                    <a:pt x="976" y="458"/>
                  </a:lnTo>
                  <a:lnTo>
                    <a:pt x="966" y="449"/>
                  </a:lnTo>
                  <a:lnTo>
                    <a:pt x="956" y="429"/>
                  </a:lnTo>
                  <a:lnTo>
                    <a:pt x="986" y="429"/>
                  </a:lnTo>
                  <a:lnTo>
                    <a:pt x="1005" y="410"/>
                  </a:lnTo>
                  <a:lnTo>
                    <a:pt x="1005" y="400"/>
                  </a:lnTo>
                  <a:lnTo>
                    <a:pt x="1005" y="380"/>
                  </a:lnTo>
                  <a:lnTo>
                    <a:pt x="1015" y="380"/>
                  </a:lnTo>
                  <a:lnTo>
                    <a:pt x="1015" y="361"/>
                  </a:lnTo>
                  <a:lnTo>
                    <a:pt x="1015" y="351"/>
                  </a:lnTo>
                  <a:lnTo>
                    <a:pt x="1025" y="351"/>
                  </a:lnTo>
                  <a:lnTo>
                    <a:pt x="1044" y="341"/>
                  </a:lnTo>
                  <a:lnTo>
                    <a:pt x="1064" y="332"/>
                  </a:lnTo>
                  <a:lnTo>
                    <a:pt x="1054" y="312"/>
                  </a:lnTo>
                  <a:lnTo>
                    <a:pt x="1044" y="302"/>
                  </a:lnTo>
                  <a:lnTo>
                    <a:pt x="1025" y="283"/>
                  </a:lnTo>
                  <a:lnTo>
                    <a:pt x="1025" y="273"/>
                  </a:lnTo>
                  <a:lnTo>
                    <a:pt x="1034" y="273"/>
                  </a:lnTo>
                  <a:lnTo>
                    <a:pt x="1044" y="283"/>
                  </a:lnTo>
                  <a:lnTo>
                    <a:pt x="1064" y="273"/>
                  </a:lnTo>
                  <a:lnTo>
                    <a:pt x="1093" y="263"/>
                  </a:lnTo>
                  <a:lnTo>
                    <a:pt x="1122" y="263"/>
                  </a:lnTo>
                  <a:lnTo>
                    <a:pt x="1122" y="244"/>
                  </a:lnTo>
                  <a:lnTo>
                    <a:pt x="1112" y="224"/>
                  </a:lnTo>
                  <a:lnTo>
                    <a:pt x="1103" y="224"/>
                  </a:lnTo>
                  <a:lnTo>
                    <a:pt x="1093" y="205"/>
                  </a:lnTo>
                  <a:lnTo>
                    <a:pt x="1093" y="185"/>
                  </a:lnTo>
                  <a:lnTo>
                    <a:pt x="1083" y="166"/>
                  </a:lnTo>
                  <a:lnTo>
                    <a:pt x="1064" y="156"/>
                  </a:lnTo>
                  <a:lnTo>
                    <a:pt x="1044" y="146"/>
                  </a:lnTo>
                  <a:lnTo>
                    <a:pt x="1034" y="176"/>
                  </a:lnTo>
                  <a:lnTo>
                    <a:pt x="1025" y="185"/>
                  </a:lnTo>
                  <a:lnTo>
                    <a:pt x="1005" y="185"/>
                  </a:lnTo>
                  <a:lnTo>
                    <a:pt x="976" y="195"/>
                  </a:lnTo>
                  <a:lnTo>
                    <a:pt x="976" y="215"/>
                  </a:lnTo>
                  <a:lnTo>
                    <a:pt x="966" y="224"/>
                  </a:lnTo>
                  <a:lnTo>
                    <a:pt x="966" y="234"/>
                  </a:lnTo>
                  <a:lnTo>
                    <a:pt x="947" y="244"/>
                  </a:lnTo>
                  <a:lnTo>
                    <a:pt x="927" y="254"/>
                  </a:lnTo>
                  <a:lnTo>
                    <a:pt x="927" y="273"/>
                  </a:lnTo>
                  <a:lnTo>
                    <a:pt x="908" y="273"/>
                  </a:lnTo>
                  <a:lnTo>
                    <a:pt x="908" y="263"/>
                  </a:lnTo>
                  <a:lnTo>
                    <a:pt x="898" y="273"/>
                  </a:lnTo>
                  <a:lnTo>
                    <a:pt x="878" y="283"/>
                  </a:lnTo>
                  <a:lnTo>
                    <a:pt x="859" y="263"/>
                  </a:lnTo>
                  <a:lnTo>
                    <a:pt x="849" y="234"/>
                  </a:lnTo>
                  <a:lnTo>
                    <a:pt x="849" y="215"/>
                  </a:lnTo>
                  <a:lnTo>
                    <a:pt x="820" y="224"/>
                  </a:lnTo>
                  <a:lnTo>
                    <a:pt x="810" y="234"/>
                  </a:lnTo>
                  <a:lnTo>
                    <a:pt x="790" y="234"/>
                  </a:lnTo>
                  <a:lnTo>
                    <a:pt x="781" y="224"/>
                  </a:lnTo>
                  <a:lnTo>
                    <a:pt x="790" y="195"/>
                  </a:lnTo>
                  <a:lnTo>
                    <a:pt x="800" y="176"/>
                  </a:lnTo>
                  <a:lnTo>
                    <a:pt x="800" y="166"/>
                  </a:lnTo>
                  <a:lnTo>
                    <a:pt x="800" y="156"/>
                  </a:lnTo>
                  <a:lnTo>
                    <a:pt x="800" y="136"/>
                  </a:lnTo>
                  <a:lnTo>
                    <a:pt x="810" y="117"/>
                  </a:lnTo>
                  <a:lnTo>
                    <a:pt x="820" y="88"/>
                  </a:lnTo>
                  <a:lnTo>
                    <a:pt x="830" y="68"/>
                  </a:lnTo>
                  <a:lnTo>
                    <a:pt x="849" y="58"/>
                  </a:lnTo>
                  <a:lnTo>
                    <a:pt x="839" y="49"/>
                  </a:lnTo>
                  <a:lnTo>
                    <a:pt x="839" y="39"/>
                  </a:lnTo>
                  <a:lnTo>
                    <a:pt x="849" y="39"/>
                  </a:lnTo>
                  <a:lnTo>
                    <a:pt x="839" y="29"/>
                  </a:lnTo>
                  <a:lnTo>
                    <a:pt x="849" y="29"/>
                  </a:lnTo>
                  <a:lnTo>
                    <a:pt x="859" y="19"/>
                  </a:lnTo>
                  <a:lnTo>
                    <a:pt x="830" y="10"/>
                  </a:lnTo>
                  <a:lnTo>
                    <a:pt x="810" y="0"/>
                  </a:lnTo>
                  <a:lnTo>
                    <a:pt x="800" y="10"/>
                  </a:lnTo>
                  <a:lnTo>
                    <a:pt x="771" y="19"/>
                  </a:lnTo>
                  <a:lnTo>
                    <a:pt x="712" y="39"/>
                  </a:lnTo>
                  <a:lnTo>
                    <a:pt x="664" y="58"/>
                  </a:lnTo>
                  <a:lnTo>
                    <a:pt x="634" y="68"/>
                  </a:lnTo>
                  <a:lnTo>
                    <a:pt x="595" y="88"/>
                  </a:lnTo>
                  <a:lnTo>
                    <a:pt x="595" y="107"/>
                  </a:lnTo>
                  <a:lnTo>
                    <a:pt x="605" y="117"/>
                  </a:lnTo>
                  <a:lnTo>
                    <a:pt x="595" y="127"/>
                  </a:lnTo>
                  <a:lnTo>
                    <a:pt x="556" y="136"/>
                  </a:lnTo>
                  <a:lnTo>
                    <a:pt x="537" y="136"/>
                  </a:lnTo>
                  <a:lnTo>
                    <a:pt x="527" y="136"/>
                  </a:lnTo>
                  <a:lnTo>
                    <a:pt x="517" y="136"/>
                  </a:lnTo>
                  <a:lnTo>
                    <a:pt x="517" y="156"/>
                  </a:lnTo>
                  <a:lnTo>
                    <a:pt x="498" y="156"/>
                  </a:lnTo>
                  <a:lnTo>
                    <a:pt x="498" y="146"/>
                  </a:lnTo>
                  <a:lnTo>
                    <a:pt x="488" y="156"/>
                  </a:lnTo>
                  <a:lnTo>
                    <a:pt x="478" y="156"/>
                  </a:lnTo>
                  <a:lnTo>
                    <a:pt x="459" y="156"/>
                  </a:lnTo>
                  <a:lnTo>
                    <a:pt x="449" y="166"/>
                  </a:lnTo>
                  <a:lnTo>
                    <a:pt x="430" y="176"/>
                  </a:lnTo>
                  <a:lnTo>
                    <a:pt x="420" y="166"/>
                  </a:lnTo>
                  <a:lnTo>
                    <a:pt x="410" y="156"/>
                  </a:lnTo>
                  <a:lnTo>
                    <a:pt x="400" y="166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76"/>
                  </a:lnTo>
                  <a:lnTo>
                    <a:pt x="313" y="185"/>
                  </a:lnTo>
                  <a:lnTo>
                    <a:pt x="303" y="176"/>
                  </a:lnTo>
                  <a:lnTo>
                    <a:pt x="283" y="156"/>
                  </a:lnTo>
                  <a:lnTo>
                    <a:pt x="264" y="146"/>
                  </a:lnTo>
                  <a:lnTo>
                    <a:pt x="244" y="146"/>
                  </a:lnTo>
                  <a:lnTo>
                    <a:pt x="225" y="146"/>
                  </a:lnTo>
                  <a:lnTo>
                    <a:pt x="195" y="146"/>
                  </a:lnTo>
                  <a:lnTo>
                    <a:pt x="186" y="146"/>
                  </a:lnTo>
                  <a:lnTo>
                    <a:pt x="186" y="166"/>
                  </a:lnTo>
                  <a:lnTo>
                    <a:pt x="166" y="166"/>
                  </a:lnTo>
                  <a:lnTo>
                    <a:pt x="147" y="156"/>
                  </a:lnTo>
                  <a:lnTo>
                    <a:pt x="137" y="136"/>
                  </a:lnTo>
                  <a:lnTo>
                    <a:pt x="117" y="156"/>
                  </a:lnTo>
                  <a:lnTo>
                    <a:pt x="108" y="146"/>
                  </a:lnTo>
                  <a:lnTo>
                    <a:pt x="88" y="136"/>
                  </a:lnTo>
                  <a:lnTo>
                    <a:pt x="69" y="136"/>
                  </a:lnTo>
                  <a:lnTo>
                    <a:pt x="49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0" y="17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59" y="224"/>
                  </a:lnTo>
                  <a:lnTo>
                    <a:pt x="39" y="234"/>
                  </a:lnTo>
                  <a:lnTo>
                    <a:pt x="30" y="244"/>
                  </a:lnTo>
                  <a:lnTo>
                    <a:pt x="39" y="254"/>
                  </a:lnTo>
                  <a:lnTo>
                    <a:pt x="49" y="263"/>
                  </a:lnTo>
                  <a:lnTo>
                    <a:pt x="78" y="244"/>
                  </a:lnTo>
                  <a:lnTo>
                    <a:pt x="108" y="234"/>
                  </a:lnTo>
                  <a:lnTo>
                    <a:pt x="117" y="244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37" y="293"/>
                  </a:lnTo>
                  <a:lnTo>
                    <a:pt x="156" y="273"/>
                  </a:lnTo>
                  <a:lnTo>
                    <a:pt x="176" y="283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86" y="332"/>
                  </a:lnTo>
                  <a:lnTo>
                    <a:pt x="186" y="351"/>
                  </a:lnTo>
                  <a:lnTo>
                    <a:pt x="186" y="361"/>
                  </a:lnTo>
                  <a:lnTo>
                    <a:pt x="205" y="36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87" name="Group 307"/>
            <p:cNvGrpSpPr>
              <a:grpSpLocks/>
            </p:cNvGrpSpPr>
            <p:nvPr/>
          </p:nvGrpSpPr>
          <p:grpSpPr bwMode="auto">
            <a:xfrm>
              <a:off x="6612" y="3093"/>
              <a:ext cx="1122" cy="761"/>
              <a:chOff x="6613" y="3093"/>
              <a:chExt cx="1122" cy="761"/>
            </a:xfrm>
          </p:grpSpPr>
          <p:sp>
            <p:nvSpPr>
              <p:cNvPr id="372" name="Freeform 309"/>
              <p:cNvSpPr>
                <a:spLocks/>
              </p:cNvSpPr>
              <p:nvPr/>
            </p:nvSpPr>
            <p:spPr bwMode="auto">
              <a:xfrm>
                <a:off x="6614" y="3093"/>
                <a:ext cx="1122" cy="762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  <a:lnTo>
                      <a:pt x="205" y="361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3" name="Freeform 308"/>
              <p:cNvSpPr>
                <a:spLocks/>
              </p:cNvSpPr>
              <p:nvPr/>
            </p:nvSpPr>
            <p:spPr bwMode="auto">
              <a:xfrm>
                <a:off x="6614" y="3093"/>
                <a:ext cx="1122" cy="762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88" name="Freeform 306"/>
            <p:cNvSpPr>
              <a:spLocks/>
            </p:cNvSpPr>
            <p:nvPr/>
          </p:nvSpPr>
          <p:spPr bwMode="auto">
            <a:xfrm>
              <a:off x="7237" y="2059"/>
              <a:ext cx="1112" cy="1883"/>
            </a:xfrm>
            <a:custGeom>
              <a:avLst/>
              <a:gdLst>
                <a:gd name="T0" fmla="*/ 419 w 1112"/>
                <a:gd name="T1" fmla="*/ 1639 h 1883"/>
                <a:gd name="T2" fmla="*/ 478 w 1112"/>
                <a:gd name="T3" fmla="*/ 1707 h 1883"/>
                <a:gd name="T4" fmla="*/ 565 w 1112"/>
                <a:gd name="T5" fmla="*/ 1678 h 1883"/>
                <a:gd name="T6" fmla="*/ 682 w 1112"/>
                <a:gd name="T7" fmla="*/ 1688 h 1883"/>
                <a:gd name="T8" fmla="*/ 760 w 1112"/>
                <a:gd name="T9" fmla="*/ 1678 h 1883"/>
                <a:gd name="T10" fmla="*/ 790 w 1112"/>
                <a:gd name="T11" fmla="*/ 1756 h 1883"/>
                <a:gd name="T12" fmla="*/ 800 w 1112"/>
                <a:gd name="T13" fmla="*/ 1873 h 1883"/>
                <a:gd name="T14" fmla="*/ 839 w 1112"/>
                <a:gd name="T15" fmla="*/ 1805 h 1883"/>
                <a:gd name="T16" fmla="*/ 917 w 1112"/>
                <a:gd name="T17" fmla="*/ 1795 h 1883"/>
                <a:gd name="T18" fmla="*/ 965 w 1112"/>
                <a:gd name="T19" fmla="*/ 1717 h 1883"/>
                <a:gd name="T20" fmla="*/ 975 w 1112"/>
                <a:gd name="T21" fmla="*/ 1639 h 1883"/>
                <a:gd name="T22" fmla="*/ 1004 w 1112"/>
                <a:gd name="T23" fmla="*/ 1551 h 1883"/>
                <a:gd name="T24" fmla="*/ 1073 w 1112"/>
                <a:gd name="T25" fmla="*/ 1590 h 1883"/>
                <a:gd name="T26" fmla="*/ 1102 w 1112"/>
                <a:gd name="T27" fmla="*/ 1600 h 1883"/>
                <a:gd name="T28" fmla="*/ 1092 w 1112"/>
                <a:gd name="T29" fmla="*/ 1405 h 1883"/>
                <a:gd name="T30" fmla="*/ 1053 w 1112"/>
                <a:gd name="T31" fmla="*/ 1317 h 1883"/>
                <a:gd name="T32" fmla="*/ 985 w 1112"/>
                <a:gd name="T33" fmla="*/ 1229 h 1883"/>
                <a:gd name="T34" fmla="*/ 956 w 1112"/>
                <a:gd name="T35" fmla="*/ 1131 h 1883"/>
                <a:gd name="T36" fmla="*/ 926 w 1112"/>
                <a:gd name="T37" fmla="*/ 1063 h 1883"/>
                <a:gd name="T38" fmla="*/ 878 w 1112"/>
                <a:gd name="T39" fmla="*/ 995 h 1883"/>
                <a:gd name="T40" fmla="*/ 800 w 1112"/>
                <a:gd name="T41" fmla="*/ 956 h 1883"/>
                <a:gd name="T42" fmla="*/ 682 w 1112"/>
                <a:gd name="T43" fmla="*/ 956 h 1883"/>
                <a:gd name="T44" fmla="*/ 673 w 1112"/>
                <a:gd name="T45" fmla="*/ 1014 h 1883"/>
                <a:gd name="T46" fmla="*/ 653 w 1112"/>
                <a:gd name="T47" fmla="*/ 1005 h 1883"/>
                <a:gd name="T48" fmla="*/ 604 w 1112"/>
                <a:gd name="T49" fmla="*/ 1092 h 1883"/>
                <a:gd name="T50" fmla="*/ 575 w 1112"/>
                <a:gd name="T51" fmla="*/ 1034 h 1883"/>
                <a:gd name="T52" fmla="*/ 556 w 1112"/>
                <a:gd name="T53" fmla="*/ 1034 h 1883"/>
                <a:gd name="T54" fmla="*/ 546 w 1112"/>
                <a:gd name="T55" fmla="*/ 1063 h 1883"/>
                <a:gd name="T56" fmla="*/ 487 w 1112"/>
                <a:gd name="T57" fmla="*/ 1024 h 1883"/>
                <a:gd name="T58" fmla="*/ 400 w 1112"/>
                <a:gd name="T59" fmla="*/ 1034 h 1883"/>
                <a:gd name="T60" fmla="*/ 429 w 1112"/>
                <a:gd name="T61" fmla="*/ 927 h 1883"/>
                <a:gd name="T62" fmla="*/ 468 w 1112"/>
                <a:gd name="T63" fmla="*/ 849 h 1883"/>
                <a:gd name="T64" fmla="*/ 478 w 1112"/>
                <a:gd name="T65" fmla="*/ 751 h 1883"/>
                <a:gd name="T66" fmla="*/ 487 w 1112"/>
                <a:gd name="T67" fmla="*/ 634 h 1883"/>
                <a:gd name="T68" fmla="*/ 497 w 1112"/>
                <a:gd name="T69" fmla="*/ 527 h 1883"/>
                <a:gd name="T70" fmla="*/ 517 w 1112"/>
                <a:gd name="T71" fmla="*/ 380 h 1883"/>
                <a:gd name="T72" fmla="*/ 634 w 1112"/>
                <a:gd name="T73" fmla="*/ 263 h 1883"/>
                <a:gd name="T74" fmla="*/ 702 w 1112"/>
                <a:gd name="T75" fmla="*/ 244 h 1883"/>
                <a:gd name="T76" fmla="*/ 682 w 1112"/>
                <a:gd name="T77" fmla="*/ 146 h 1883"/>
                <a:gd name="T78" fmla="*/ 585 w 1112"/>
                <a:gd name="T79" fmla="*/ 175 h 1883"/>
                <a:gd name="T80" fmla="*/ 565 w 1112"/>
                <a:gd name="T81" fmla="*/ 78 h 1883"/>
                <a:gd name="T82" fmla="*/ 400 w 1112"/>
                <a:gd name="T83" fmla="*/ 48 h 1883"/>
                <a:gd name="T84" fmla="*/ 361 w 1112"/>
                <a:gd name="T85" fmla="*/ 87 h 1883"/>
                <a:gd name="T86" fmla="*/ 253 w 1112"/>
                <a:gd name="T87" fmla="*/ 127 h 1883"/>
                <a:gd name="T88" fmla="*/ 205 w 1112"/>
                <a:gd name="T89" fmla="*/ 195 h 1883"/>
                <a:gd name="T90" fmla="*/ 185 w 1112"/>
                <a:gd name="T91" fmla="*/ 361 h 1883"/>
                <a:gd name="T92" fmla="*/ 244 w 1112"/>
                <a:gd name="T93" fmla="*/ 517 h 1883"/>
                <a:gd name="T94" fmla="*/ 146 w 1112"/>
                <a:gd name="T95" fmla="*/ 595 h 1883"/>
                <a:gd name="T96" fmla="*/ 48 w 1112"/>
                <a:gd name="T97" fmla="*/ 644 h 1883"/>
                <a:gd name="T98" fmla="*/ 19 w 1112"/>
                <a:gd name="T99" fmla="*/ 770 h 1883"/>
                <a:gd name="T100" fmla="*/ 29 w 1112"/>
                <a:gd name="T101" fmla="*/ 829 h 1883"/>
                <a:gd name="T102" fmla="*/ 87 w 1112"/>
                <a:gd name="T103" fmla="*/ 946 h 1883"/>
                <a:gd name="T104" fmla="*/ 87 w 1112"/>
                <a:gd name="T105" fmla="*/ 1073 h 1883"/>
                <a:gd name="T106" fmla="*/ 224 w 1112"/>
                <a:gd name="T107" fmla="*/ 1073 h 1883"/>
                <a:gd name="T108" fmla="*/ 185 w 1112"/>
                <a:gd name="T109" fmla="*/ 1151 h 1883"/>
                <a:gd name="T110" fmla="*/ 185 w 1112"/>
                <a:gd name="T111" fmla="*/ 1268 h 1883"/>
                <a:gd name="T112" fmla="*/ 283 w 1112"/>
                <a:gd name="T113" fmla="*/ 1307 h 1883"/>
                <a:gd name="T114" fmla="*/ 380 w 1112"/>
                <a:gd name="T115" fmla="*/ 1219 h 1883"/>
                <a:gd name="T116" fmla="*/ 468 w 1112"/>
                <a:gd name="T117" fmla="*/ 1239 h 1883"/>
                <a:gd name="T118" fmla="*/ 400 w 1112"/>
                <a:gd name="T119" fmla="*/ 1307 h 1883"/>
                <a:gd name="T120" fmla="*/ 390 w 1112"/>
                <a:gd name="T121" fmla="*/ 1395 h 1883"/>
                <a:gd name="T122" fmla="*/ 341 w 1112"/>
                <a:gd name="T123" fmla="*/ 1483 h 1883"/>
                <a:gd name="T124" fmla="*/ 331 w 1112"/>
                <a:gd name="T125" fmla="*/ 1590 h 188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2"/>
                <a:gd name="T190" fmla="*/ 0 h 1883"/>
                <a:gd name="T191" fmla="*/ 1112 w 1112"/>
                <a:gd name="T192" fmla="*/ 1883 h 188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2" h="1883">
                  <a:moveTo>
                    <a:pt x="331" y="1590"/>
                  </a:moveTo>
                  <a:lnTo>
                    <a:pt x="361" y="1590"/>
                  </a:lnTo>
                  <a:lnTo>
                    <a:pt x="361" y="1600"/>
                  </a:lnTo>
                  <a:lnTo>
                    <a:pt x="380" y="1619"/>
                  </a:lnTo>
                  <a:lnTo>
                    <a:pt x="400" y="1610"/>
                  </a:lnTo>
                  <a:lnTo>
                    <a:pt x="419" y="1619"/>
                  </a:lnTo>
                  <a:lnTo>
                    <a:pt x="419" y="1629"/>
                  </a:lnTo>
                  <a:lnTo>
                    <a:pt x="419" y="1639"/>
                  </a:lnTo>
                  <a:lnTo>
                    <a:pt x="439" y="1649"/>
                  </a:lnTo>
                  <a:lnTo>
                    <a:pt x="448" y="1658"/>
                  </a:lnTo>
                  <a:lnTo>
                    <a:pt x="439" y="1678"/>
                  </a:lnTo>
                  <a:lnTo>
                    <a:pt x="448" y="1688"/>
                  </a:lnTo>
                  <a:lnTo>
                    <a:pt x="458" y="1707"/>
                  </a:lnTo>
                  <a:lnTo>
                    <a:pt x="458" y="1727"/>
                  </a:lnTo>
                  <a:lnTo>
                    <a:pt x="478" y="1717"/>
                  </a:lnTo>
                  <a:lnTo>
                    <a:pt x="478" y="1707"/>
                  </a:lnTo>
                  <a:lnTo>
                    <a:pt x="507" y="1697"/>
                  </a:lnTo>
                  <a:lnTo>
                    <a:pt x="507" y="1678"/>
                  </a:lnTo>
                  <a:lnTo>
                    <a:pt x="526" y="1678"/>
                  </a:lnTo>
                  <a:lnTo>
                    <a:pt x="536" y="1678"/>
                  </a:lnTo>
                  <a:lnTo>
                    <a:pt x="536" y="1697"/>
                  </a:lnTo>
                  <a:lnTo>
                    <a:pt x="546" y="1678"/>
                  </a:lnTo>
                  <a:lnTo>
                    <a:pt x="565" y="1678"/>
                  </a:lnTo>
                  <a:lnTo>
                    <a:pt x="575" y="1668"/>
                  </a:lnTo>
                  <a:lnTo>
                    <a:pt x="595" y="1678"/>
                  </a:lnTo>
                  <a:lnTo>
                    <a:pt x="604" y="1678"/>
                  </a:lnTo>
                  <a:lnTo>
                    <a:pt x="614" y="1678"/>
                  </a:lnTo>
                  <a:lnTo>
                    <a:pt x="624" y="1688"/>
                  </a:lnTo>
                  <a:lnTo>
                    <a:pt x="643" y="1678"/>
                  </a:lnTo>
                  <a:lnTo>
                    <a:pt x="673" y="1688"/>
                  </a:lnTo>
                  <a:lnTo>
                    <a:pt x="682" y="1688"/>
                  </a:lnTo>
                  <a:lnTo>
                    <a:pt x="702" y="1678"/>
                  </a:lnTo>
                  <a:lnTo>
                    <a:pt x="702" y="1668"/>
                  </a:lnTo>
                  <a:lnTo>
                    <a:pt x="712" y="1668"/>
                  </a:lnTo>
                  <a:lnTo>
                    <a:pt x="721" y="1668"/>
                  </a:lnTo>
                  <a:lnTo>
                    <a:pt x="741" y="1658"/>
                  </a:lnTo>
                  <a:lnTo>
                    <a:pt x="751" y="1658"/>
                  </a:lnTo>
                  <a:lnTo>
                    <a:pt x="760" y="1668"/>
                  </a:lnTo>
                  <a:lnTo>
                    <a:pt x="760" y="1678"/>
                  </a:lnTo>
                  <a:lnTo>
                    <a:pt x="741" y="1678"/>
                  </a:lnTo>
                  <a:lnTo>
                    <a:pt x="731" y="1688"/>
                  </a:lnTo>
                  <a:lnTo>
                    <a:pt x="731" y="1697"/>
                  </a:lnTo>
                  <a:lnTo>
                    <a:pt x="760" y="1697"/>
                  </a:lnTo>
                  <a:lnTo>
                    <a:pt x="770" y="1727"/>
                  </a:lnTo>
                  <a:lnTo>
                    <a:pt x="780" y="1736"/>
                  </a:lnTo>
                  <a:lnTo>
                    <a:pt x="790" y="1746"/>
                  </a:lnTo>
                  <a:lnTo>
                    <a:pt x="790" y="1756"/>
                  </a:lnTo>
                  <a:lnTo>
                    <a:pt x="790" y="1775"/>
                  </a:lnTo>
                  <a:lnTo>
                    <a:pt x="790" y="1795"/>
                  </a:lnTo>
                  <a:lnTo>
                    <a:pt x="780" y="1805"/>
                  </a:lnTo>
                  <a:lnTo>
                    <a:pt x="780" y="1814"/>
                  </a:lnTo>
                  <a:lnTo>
                    <a:pt x="790" y="1834"/>
                  </a:lnTo>
                  <a:lnTo>
                    <a:pt x="790" y="1853"/>
                  </a:lnTo>
                  <a:lnTo>
                    <a:pt x="800" y="1873"/>
                  </a:lnTo>
                  <a:lnTo>
                    <a:pt x="800" y="1883"/>
                  </a:lnTo>
                  <a:lnTo>
                    <a:pt x="809" y="1863"/>
                  </a:lnTo>
                  <a:lnTo>
                    <a:pt x="829" y="1863"/>
                  </a:lnTo>
                  <a:lnTo>
                    <a:pt x="819" y="1844"/>
                  </a:lnTo>
                  <a:lnTo>
                    <a:pt x="829" y="1834"/>
                  </a:lnTo>
                  <a:lnTo>
                    <a:pt x="819" y="1814"/>
                  </a:lnTo>
                  <a:lnTo>
                    <a:pt x="829" y="1805"/>
                  </a:lnTo>
                  <a:lnTo>
                    <a:pt x="839" y="1805"/>
                  </a:lnTo>
                  <a:lnTo>
                    <a:pt x="848" y="1795"/>
                  </a:lnTo>
                  <a:lnTo>
                    <a:pt x="858" y="1795"/>
                  </a:lnTo>
                  <a:lnTo>
                    <a:pt x="868" y="1805"/>
                  </a:lnTo>
                  <a:lnTo>
                    <a:pt x="878" y="1805"/>
                  </a:lnTo>
                  <a:lnTo>
                    <a:pt x="887" y="1805"/>
                  </a:lnTo>
                  <a:lnTo>
                    <a:pt x="887" y="1795"/>
                  </a:lnTo>
                  <a:lnTo>
                    <a:pt x="897" y="1795"/>
                  </a:lnTo>
                  <a:lnTo>
                    <a:pt x="917" y="1795"/>
                  </a:lnTo>
                  <a:lnTo>
                    <a:pt x="926" y="1785"/>
                  </a:lnTo>
                  <a:lnTo>
                    <a:pt x="946" y="1785"/>
                  </a:lnTo>
                  <a:lnTo>
                    <a:pt x="956" y="1775"/>
                  </a:lnTo>
                  <a:lnTo>
                    <a:pt x="975" y="1775"/>
                  </a:lnTo>
                  <a:lnTo>
                    <a:pt x="985" y="1756"/>
                  </a:lnTo>
                  <a:lnTo>
                    <a:pt x="985" y="1746"/>
                  </a:lnTo>
                  <a:lnTo>
                    <a:pt x="965" y="1727"/>
                  </a:lnTo>
                  <a:lnTo>
                    <a:pt x="965" y="1717"/>
                  </a:lnTo>
                  <a:lnTo>
                    <a:pt x="985" y="1697"/>
                  </a:lnTo>
                  <a:lnTo>
                    <a:pt x="1014" y="1688"/>
                  </a:lnTo>
                  <a:lnTo>
                    <a:pt x="1024" y="1668"/>
                  </a:lnTo>
                  <a:lnTo>
                    <a:pt x="1024" y="1649"/>
                  </a:lnTo>
                  <a:lnTo>
                    <a:pt x="1014" y="1629"/>
                  </a:lnTo>
                  <a:lnTo>
                    <a:pt x="995" y="1629"/>
                  </a:lnTo>
                  <a:lnTo>
                    <a:pt x="975" y="1639"/>
                  </a:lnTo>
                  <a:lnTo>
                    <a:pt x="975" y="1619"/>
                  </a:lnTo>
                  <a:lnTo>
                    <a:pt x="956" y="1619"/>
                  </a:lnTo>
                  <a:lnTo>
                    <a:pt x="946" y="1600"/>
                  </a:lnTo>
                  <a:lnTo>
                    <a:pt x="956" y="1590"/>
                  </a:lnTo>
                  <a:lnTo>
                    <a:pt x="975" y="1561"/>
                  </a:lnTo>
                  <a:lnTo>
                    <a:pt x="985" y="1541"/>
                  </a:lnTo>
                  <a:lnTo>
                    <a:pt x="1004" y="1551"/>
                  </a:lnTo>
                  <a:lnTo>
                    <a:pt x="1024" y="1561"/>
                  </a:lnTo>
                  <a:lnTo>
                    <a:pt x="1034" y="1551"/>
                  </a:lnTo>
                  <a:lnTo>
                    <a:pt x="1024" y="1571"/>
                  </a:lnTo>
                  <a:lnTo>
                    <a:pt x="1024" y="1580"/>
                  </a:lnTo>
                  <a:lnTo>
                    <a:pt x="1043" y="1580"/>
                  </a:lnTo>
                  <a:lnTo>
                    <a:pt x="1063" y="1590"/>
                  </a:lnTo>
                  <a:lnTo>
                    <a:pt x="1073" y="1590"/>
                  </a:lnTo>
                  <a:lnTo>
                    <a:pt x="1053" y="1610"/>
                  </a:lnTo>
                  <a:lnTo>
                    <a:pt x="1073" y="1629"/>
                  </a:lnTo>
                  <a:lnTo>
                    <a:pt x="1082" y="1619"/>
                  </a:lnTo>
                  <a:lnTo>
                    <a:pt x="1092" y="1619"/>
                  </a:lnTo>
                  <a:lnTo>
                    <a:pt x="1112" y="1629"/>
                  </a:lnTo>
                  <a:lnTo>
                    <a:pt x="1112" y="1619"/>
                  </a:lnTo>
                  <a:lnTo>
                    <a:pt x="1102" y="1600"/>
                  </a:lnTo>
                  <a:lnTo>
                    <a:pt x="1102" y="1571"/>
                  </a:lnTo>
                  <a:lnTo>
                    <a:pt x="1102" y="1551"/>
                  </a:lnTo>
                  <a:lnTo>
                    <a:pt x="1112" y="1502"/>
                  </a:lnTo>
                  <a:lnTo>
                    <a:pt x="1112" y="1473"/>
                  </a:lnTo>
                  <a:lnTo>
                    <a:pt x="1112" y="1453"/>
                  </a:lnTo>
                  <a:lnTo>
                    <a:pt x="1102" y="1453"/>
                  </a:lnTo>
                  <a:lnTo>
                    <a:pt x="1102" y="1424"/>
                  </a:lnTo>
                  <a:lnTo>
                    <a:pt x="1092" y="1405"/>
                  </a:lnTo>
                  <a:lnTo>
                    <a:pt x="1082" y="1405"/>
                  </a:lnTo>
                  <a:lnTo>
                    <a:pt x="1082" y="1395"/>
                  </a:lnTo>
                  <a:lnTo>
                    <a:pt x="1073" y="1385"/>
                  </a:lnTo>
                  <a:lnTo>
                    <a:pt x="1082" y="1375"/>
                  </a:lnTo>
                  <a:lnTo>
                    <a:pt x="1073" y="1366"/>
                  </a:lnTo>
                  <a:lnTo>
                    <a:pt x="1063" y="1346"/>
                  </a:lnTo>
                  <a:lnTo>
                    <a:pt x="1053" y="1336"/>
                  </a:lnTo>
                  <a:lnTo>
                    <a:pt x="1053" y="1317"/>
                  </a:lnTo>
                  <a:lnTo>
                    <a:pt x="1034" y="1317"/>
                  </a:lnTo>
                  <a:lnTo>
                    <a:pt x="1034" y="1288"/>
                  </a:lnTo>
                  <a:lnTo>
                    <a:pt x="1024" y="1297"/>
                  </a:lnTo>
                  <a:lnTo>
                    <a:pt x="1014" y="1288"/>
                  </a:lnTo>
                  <a:lnTo>
                    <a:pt x="1014" y="1278"/>
                  </a:lnTo>
                  <a:lnTo>
                    <a:pt x="995" y="1258"/>
                  </a:lnTo>
                  <a:lnTo>
                    <a:pt x="995" y="1249"/>
                  </a:lnTo>
                  <a:lnTo>
                    <a:pt x="985" y="1229"/>
                  </a:lnTo>
                  <a:lnTo>
                    <a:pt x="985" y="1200"/>
                  </a:lnTo>
                  <a:lnTo>
                    <a:pt x="975" y="1190"/>
                  </a:lnTo>
                  <a:lnTo>
                    <a:pt x="965" y="1180"/>
                  </a:lnTo>
                  <a:lnTo>
                    <a:pt x="965" y="1170"/>
                  </a:lnTo>
                  <a:lnTo>
                    <a:pt x="965" y="1161"/>
                  </a:lnTo>
                  <a:lnTo>
                    <a:pt x="956" y="1151"/>
                  </a:lnTo>
                  <a:lnTo>
                    <a:pt x="956" y="1131"/>
                  </a:lnTo>
                  <a:lnTo>
                    <a:pt x="956" y="1122"/>
                  </a:lnTo>
                  <a:lnTo>
                    <a:pt x="956" y="1112"/>
                  </a:lnTo>
                  <a:lnTo>
                    <a:pt x="956" y="1092"/>
                  </a:lnTo>
                  <a:lnTo>
                    <a:pt x="965" y="1092"/>
                  </a:lnTo>
                  <a:lnTo>
                    <a:pt x="956" y="1083"/>
                  </a:lnTo>
                  <a:lnTo>
                    <a:pt x="946" y="1073"/>
                  </a:lnTo>
                  <a:lnTo>
                    <a:pt x="946" y="1063"/>
                  </a:lnTo>
                  <a:lnTo>
                    <a:pt x="926" y="1063"/>
                  </a:lnTo>
                  <a:lnTo>
                    <a:pt x="907" y="1053"/>
                  </a:lnTo>
                  <a:lnTo>
                    <a:pt x="907" y="1034"/>
                  </a:lnTo>
                  <a:lnTo>
                    <a:pt x="897" y="1024"/>
                  </a:lnTo>
                  <a:lnTo>
                    <a:pt x="887" y="1014"/>
                  </a:lnTo>
                  <a:lnTo>
                    <a:pt x="878" y="1005"/>
                  </a:lnTo>
                  <a:lnTo>
                    <a:pt x="868" y="1005"/>
                  </a:lnTo>
                  <a:lnTo>
                    <a:pt x="848" y="1005"/>
                  </a:lnTo>
                  <a:lnTo>
                    <a:pt x="878" y="995"/>
                  </a:lnTo>
                  <a:lnTo>
                    <a:pt x="878" y="975"/>
                  </a:lnTo>
                  <a:lnTo>
                    <a:pt x="868" y="966"/>
                  </a:lnTo>
                  <a:lnTo>
                    <a:pt x="848" y="966"/>
                  </a:lnTo>
                  <a:lnTo>
                    <a:pt x="829" y="966"/>
                  </a:lnTo>
                  <a:lnTo>
                    <a:pt x="829" y="956"/>
                  </a:lnTo>
                  <a:lnTo>
                    <a:pt x="800" y="956"/>
                  </a:lnTo>
                  <a:lnTo>
                    <a:pt x="780" y="956"/>
                  </a:lnTo>
                  <a:lnTo>
                    <a:pt x="770" y="956"/>
                  </a:lnTo>
                  <a:lnTo>
                    <a:pt x="751" y="936"/>
                  </a:lnTo>
                  <a:lnTo>
                    <a:pt x="741" y="936"/>
                  </a:lnTo>
                  <a:lnTo>
                    <a:pt x="721" y="936"/>
                  </a:lnTo>
                  <a:lnTo>
                    <a:pt x="712" y="936"/>
                  </a:lnTo>
                  <a:lnTo>
                    <a:pt x="702" y="927"/>
                  </a:lnTo>
                  <a:lnTo>
                    <a:pt x="682" y="956"/>
                  </a:lnTo>
                  <a:lnTo>
                    <a:pt x="673" y="966"/>
                  </a:lnTo>
                  <a:lnTo>
                    <a:pt x="643" y="966"/>
                  </a:lnTo>
                  <a:lnTo>
                    <a:pt x="653" y="975"/>
                  </a:lnTo>
                  <a:lnTo>
                    <a:pt x="653" y="985"/>
                  </a:lnTo>
                  <a:lnTo>
                    <a:pt x="663" y="995"/>
                  </a:lnTo>
                  <a:lnTo>
                    <a:pt x="673" y="1005"/>
                  </a:lnTo>
                  <a:lnTo>
                    <a:pt x="673" y="1014"/>
                  </a:lnTo>
                  <a:lnTo>
                    <a:pt x="682" y="1024"/>
                  </a:lnTo>
                  <a:lnTo>
                    <a:pt x="682" y="1034"/>
                  </a:lnTo>
                  <a:lnTo>
                    <a:pt x="682" y="1053"/>
                  </a:lnTo>
                  <a:lnTo>
                    <a:pt x="673" y="1053"/>
                  </a:lnTo>
                  <a:lnTo>
                    <a:pt x="663" y="1044"/>
                  </a:lnTo>
                  <a:lnTo>
                    <a:pt x="663" y="1024"/>
                  </a:lnTo>
                  <a:lnTo>
                    <a:pt x="663" y="1014"/>
                  </a:lnTo>
                  <a:lnTo>
                    <a:pt x="653" y="1005"/>
                  </a:lnTo>
                  <a:lnTo>
                    <a:pt x="643" y="1005"/>
                  </a:lnTo>
                  <a:lnTo>
                    <a:pt x="643" y="1024"/>
                  </a:lnTo>
                  <a:lnTo>
                    <a:pt x="653" y="1034"/>
                  </a:lnTo>
                  <a:lnTo>
                    <a:pt x="643" y="1044"/>
                  </a:lnTo>
                  <a:lnTo>
                    <a:pt x="643" y="1063"/>
                  </a:lnTo>
                  <a:lnTo>
                    <a:pt x="634" y="1073"/>
                  </a:lnTo>
                  <a:lnTo>
                    <a:pt x="624" y="1083"/>
                  </a:lnTo>
                  <a:lnTo>
                    <a:pt x="604" y="1092"/>
                  </a:lnTo>
                  <a:lnTo>
                    <a:pt x="604" y="1073"/>
                  </a:lnTo>
                  <a:lnTo>
                    <a:pt x="614" y="1073"/>
                  </a:lnTo>
                  <a:lnTo>
                    <a:pt x="614" y="1044"/>
                  </a:lnTo>
                  <a:lnTo>
                    <a:pt x="624" y="1034"/>
                  </a:lnTo>
                  <a:lnTo>
                    <a:pt x="604" y="1034"/>
                  </a:lnTo>
                  <a:lnTo>
                    <a:pt x="595" y="1034"/>
                  </a:lnTo>
                  <a:lnTo>
                    <a:pt x="575" y="1034"/>
                  </a:lnTo>
                  <a:lnTo>
                    <a:pt x="585" y="1024"/>
                  </a:lnTo>
                  <a:lnTo>
                    <a:pt x="585" y="1014"/>
                  </a:lnTo>
                  <a:lnTo>
                    <a:pt x="585" y="1005"/>
                  </a:lnTo>
                  <a:lnTo>
                    <a:pt x="575" y="1014"/>
                  </a:lnTo>
                  <a:lnTo>
                    <a:pt x="565" y="1024"/>
                  </a:lnTo>
                  <a:lnTo>
                    <a:pt x="556" y="1034"/>
                  </a:lnTo>
                  <a:lnTo>
                    <a:pt x="575" y="1053"/>
                  </a:lnTo>
                  <a:lnTo>
                    <a:pt x="575" y="1063"/>
                  </a:lnTo>
                  <a:lnTo>
                    <a:pt x="575" y="1073"/>
                  </a:lnTo>
                  <a:lnTo>
                    <a:pt x="565" y="1073"/>
                  </a:lnTo>
                  <a:lnTo>
                    <a:pt x="565" y="1083"/>
                  </a:lnTo>
                  <a:lnTo>
                    <a:pt x="556" y="1083"/>
                  </a:lnTo>
                  <a:lnTo>
                    <a:pt x="546" y="1073"/>
                  </a:lnTo>
                  <a:lnTo>
                    <a:pt x="546" y="1063"/>
                  </a:lnTo>
                  <a:lnTo>
                    <a:pt x="546" y="1053"/>
                  </a:lnTo>
                  <a:lnTo>
                    <a:pt x="536" y="1044"/>
                  </a:lnTo>
                  <a:lnTo>
                    <a:pt x="536" y="1034"/>
                  </a:lnTo>
                  <a:lnTo>
                    <a:pt x="526" y="1014"/>
                  </a:lnTo>
                  <a:lnTo>
                    <a:pt x="517" y="1005"/>
                  </a:lnTo>
                  <a:lnTo>
                    <a:pt x="507" y="1005"/>
                  </a:lnTo>
                  <a:lnTo>
                    <a:pt x="497" y="1005"/>
                  </a:lnTo>
                  <a:lnTo>
                    <a:pt x="487" y="1024"/>
                  </a:lnTo>
                  <a:lnTo>
                    <a:pt x="478" y="1024"/>
                  </a:lnTo>
                  <a:lnTo>
                    <a:pt x="458" y="1044"/>
                  </a:lnTo>
                  <a:lnTo>
                    <a:pt x="439" y="1044"/>
                  </a:lnTo>
                  <a:lnTo>
                    <a:pt x="429" y="1044"/>
                  </a:lnTo>
                  <a:lnTo>
                    <a:pt x="419" y="1044"/>
                  </a:lnTo>
                  <a:lnTo>
                    <a:pt x="409" y="1034"/>
                  </a:lnTo>
                  <a:lnTo>
                    <a:pt x="400" y="1034"/>
                  </a:lnTo>
                  <a:lnTo>
                    <a:pt x="400" y="1014"/>
                  </a:lnTo>
                  <a:lnTo>
                    <a:pt x="409" y="1005"/>
                  </a:lnTo>
                  <a:lnTo>
                    <a:pt x="419" y="995"/>
                  </a:lnTo>
                  <a:lnTo>
                    <a:pt x="429" y="985"/>
                  </a:lnTo>
                  <a:lnTo>
                    <a:pt x="429" y="975"/>
                  </a:lnTo>
                  <a:lnTo>
                    <a:pt x="439" y="956"/>
                  </a:lnTo>
                  <a:lnTo>
                    <a:pt x="429" y="936"/>
                  </a:lnTo>
                  <a:lnTo>
                    <a:pt x="429" y="927"/>
                  </a:lnTo>
                  <a:lnTo>
                    <a:pt x="439" y="917"/>
                  </a:lnTo>
                  <a:lnTo>
                    <a:pt x="439" y="907"/>
                  </a:lnTo>
                  <a:lnTo>
                    <a:pt x="448" y="907"/>
                  </a:lnTo>
                  <a:lnTo>
                    <a:pt x="448" y="897"/>
                  </a:lnTo>
                  <a:lnTo>
                    <a:pt x="448" y="888"/>
                  </a:lnTo>
                  <a:lnTo>
                    <a:pt x="458" y="868"/>
                  </a:lnTo>
                  <a:lnTo>
                    <a:pt x="458" y="858"/>
                  </a:lnTo>
                  <a:lnTo>
                    <a:pt x="468" y="849"/>
                  </a:lnTo>
                  <a:lnTo>
                    <a:pt x="468" y="839"/>
                  </a:lnTo>
                  <a:lnTo>
                    <a:pt x="478" y="819"/>
                  </a:lnTo>
                  <a:lnTo>
                    <a:pt x="478" y="809"/>
                  </a:lnTo>
                  <a:lnTo>
                    <a:pt x="468" y="800"/>
                  </a:lnTo>
                  <a:lnTo>
                    <a:pt x="478" y="780"/>
                  </a:lnTo>
                  <a:lnTo>
                    <a:pt x="478" y="770"/>
                  </a:lnTo>
                  <a:lnTo>
                    <a:pt x="468" y="770"/>
                  </a:lnTo>
                  <a:lnTo>
                    <a:pt x="478" y="751"/>
                  </a:lnTo>
                  <a:lnTo>
                    <a:pt x="478" y="741"/>
                  </a:lnTo>
                  <a:lnTo>
                    <a:pt x="468" y="712"/>
                  </a:lnTo>
                  <a:lnTo>
                    <a:pt x="478" y="702"/>
                  </a:lnTo>
                  <a:lnTo>
                    <a:pt x="478" y="692"/>
                  </a:lnTo>
                  <a:lnTo>
                    <a:pt x="478" y="683"/>
                  </a:lnTo>
                  <a:lnTo>
                    <a:pt x="478" y="673"/>
                  </a:lnTo>
                  <a:lnTo>
                    <a:pt x="487" y="653"/>
                  </a:lnTo>
                  <a:lnTo>
                    <a:pt x="487" y="634"/>
                  </a:lnTo>
                  <a:lnTo>
                    <a:pt x="497" y="634"/>
                  </a:lnTo>
                  <a:lnTo>
                    <a:pt x="497" y="614"/>
                  </a:lnTo>
                  <a:lnTo>
                    <a:pt x="497" y="595"/>
                  </a:lnTo>
                  <a:lnTo>
                    <a:pt x="507" y="585"/>
                  </a:lnTo>
                  <a:lnTo>
                    <a:pt x="517" y="566"/>
                  </a:lnTo>
                  <a:lnTo>
                    <a:pt x="507" y="556"/>
                  </a:lnTo>
                  <a:lnTo>
                    <a:pt x="497" y="546"/>
                  </a:lnTo>
                  <a:lnTo>
                    <a:pt x="497" y="527"/>
                  </a:lnTo>
                  <a:lnTo>
                    <a:pt x="497" y="497"/>
                  </a:lnTo>
                  <a:lnTo>
                    <a:pt x="507" y="488"/>
                  </a:lnTo>
                  <a:lnTo>
                    <a:pt x="517" y="458"/>
                  </a:lnTo>
                  <a:lnTo>
                    <a:pt x="517" y="448"/>
                  </a:lnTo>
                  <a:lnTo>
                    <a:pt x="517" y="439"/>
                  </a:lnTo>
                  <a:lnTo>
                    <a:pt x="507" y="419"/>
                  </a:lnTo>
                  <a:lnTo>
                    <a:pt x="507" y="400"/>
                  </a:lnTo>
                  <a:lnTo>
                    <a:pt x="517" y="380"/>
                  </a:lnTo>
                  <a:lnTo>
                    <a:pt x="526" y="361"/>
                  </a:lnTo>
                  <a:lnTo>
                    <a:pt x="536" y="331"/>
                  </a:lnTo>
                  <a:lnTo>
                    <a:pt x="556" y="331"/>
                  </a:lnTo>
                  <a:lnTo>
                    <a:pt x="565" y="322"/>
                  </a:lnTo>
                  <a:lnTo>
                    <a:pt x="575" y="302"/>
                  </a:lnTo>
                  <a:lnTo>
                    <a:pt x="595" y="292"/>
                  </a:lnTo>
                  <a:lnTo>
                    <a:pt x="614" y="283"/>
                  </a:lnTo>
                  <a:lnTo>
                    <a:pt x="634" y="263"/>
                  </a:lnTo>
                  <a:lnTo>
                    <a:pt x="643" y="253"/>
                  </a:lnTo>
                  <a:lnTo>
                    <a:pt x="653" y="244"/>
                  </a:lnTo>
                  <a:lnTo>
                    <a:pt x="663" y="244"/>
                  </a:lnTo>
                  <a:lnTo>
                    <a:pt x="673" y="253"/>
                  </a:lnTo>
                  <a:lnTo>
                    <a:pt x="682" y="253"/>
                  </a:lnTo>
                  <a:lnTo>
                    <a:pt x="692" y="263"/>
                  </a:lnTo>
                  <a:lnTo>
                    <a:pt x="692" y="244"/>
                  </a:lnTo>
                  <a:lnTo>
                    <a:pt x="702" y="244"/>
                  </a:lnTo>
                  <a:lnTo>
                    <a:pt x="682" y="224"/>
                  </a:lnTo>
                  <a:lnTo>
                    <a:pt x="682" y="214"/>
                  </a:lnTo>
                  <a:lnTo>
                    <a:pt x="692" y="214"/>
                  </a:lnTo>
                  <a:lnTo>
                    <a:pt x="702" y="205"/>
                  </a:lnTo>
                  <a:lnTo>
                    <a:pt x="702" y="195"/>
                  </a:lnTo>
                  <a:lnTo>
                    <a:pt x="692" y="175"/>
                  </a:lnTo>
                  <a:lnTo>
                    <a:pt x="682" y="166"/>
                  </a:lnTo>
                  <a:lnTo>
                    <a:pt x="682" y="146"/>
                  </a:lnTo>
                  <a:lnTo>
                    <a:pt x="663" y="156"/>
                  </a:lnTo>
                  <a:lnTo>
                    <a:pt x="643" y="156"/>
                  </a:lnTo>
                  <a:lnTo>
                    <a:pt x="634" y="156"/>
                  </a:lnTo>
                  <a:lnTo>
                    <a:pt x="634" y="146"/>
                  </a:lnTo>
                  <a:lnTo>
                    <a:pt x="614" y="146"/>
                  </a:lnTo>
                  <a:lnTo>
                    <a:pt x="614" y="166"/>
                  </a:lnTo>
                  <a:lnTo>
                    <a:pt x="604" y="166"/>
                  </a:lnTo>
                  <a:lnTo>
                    <a:pt x="585" y="175"/>
                  </a:lnTo>
                  <a:lnTo>
                    <a:pt x="575" y="175"/>
                  </a:lnTo>
                  <a:lnTo>
                    <a:pt x="575" y="156"/>
                  </a:lnTo>
                  <a:lnTo>
                    <a:pt x="565" y="156"/>
                  </a:lnTo>
                  <a:lnTo>
                    <a:pt x="565" y="146"/>
                  </a:lnTo>
                  <a:lnTo>
                    <a:pt x="565" y="117"/>
                  </a:lnTo>
                  <a:lnTo>
                    <a:pt x="575" y="107"/>
                  </a:lnTo>
                  <a:lnTo>
                    <a:pt x="575" y="87"/>
                  </a:lnTo>
                  <a:lnTo>
                    <a:pt x="565" y="78"/>
                  </a:lnTo>
                  <a:lnTo>
                    <a:pt x="575" y="58"/>
                  </a:lnTo>
                  <a:lnTo>
                    <a:pt x="546" y="39"/>
                  </a:lnTo>
                  <a:lnTo>
                    <a:pt x="517" y="9"/>
                  </a:lnTo>
                  <a:lnTo>
                    <a:pt x="458" y="0"/>
                  </a:lnTo>
                  <a:lnTo>
                    <a:pt x="448" y="9"/>
                  </a:lnTo>
                  <a:lnTo>
                    <a:pt x="419" y="19"/>
                  </a:lnTo>
                  <a:lnTo>
                    <a:pt x="409" y="29"/>
                  </a:lnTo>
                  <a:lnTo>
                    <a:pt x="400" y="48"/>
                  </a:lnTo>
                  <a:lnTo>
                    <a:pt x="400" y="58"/>
                  </a:lnTo>
                  <a:lnTo>
                    <a:pt x="400" y="78"/>
                  </a:lnTo>
                  <a:lnTo>
                    <a:pt x="390" y="78"/>
                  </a:lnTo>
                  <a:lnTo>
                    <a:pt x="380" y="68"/>
                  </a:lnTo>
                  <a:lnTo>
                    <a:pt x="380" y="58"/>
                  </a:lnTo>
                  <a:lnTo>
                    <a:pt x="370" y="68"/>
                  </a:lnTo>
                  <a:lnTo>
                    <a:pt x="370" y="78"/>
                  </a:lnTo>
                  <a:lnTo>
                    <a:pt x="361" y="87"/>
                  </a:lnTo>
                  <a:lnTo>
                    <a:pt x="351" y="68"/>
                  </a:lnTo>
                  <a:lnTo>
                    <a:pt x="331" y="87"/>
                  </a:lnTo>
                  <a:lnTo>
                    <a:pt x="341" y="107"/>
                  </a:lnTo>
                  <a:lnTo>
                    <a:pt x="331" y="117"/>
                  </a:lnTo>
                  <a:lnTo>
                    <a:pt x="312" y="127"/>
                  </a:lnTo>
                  <a:lnTo>
                    <a:pt x="292" y="117"/>
                  </a:lnTo>
                  <a:lnTo>
                    <a:pt x="273" y="127"/>
                  </a:lnTo>
                  <a:lnTo>
                    <a:pt x="253" y="127"/>
                  </a:lnTo>
                  <a:lnTo>
                    <a:pt x="234" y="117"/>
                  </a:lnTo>
                  <a:lnTo>
                    <a:pt x="224" y="136"/>
                  </a:lnTo>
                  <a:lnTo>
                    <a:pt x="214" y="127"/>
                  </a:lnTo>
                  <a:lnTo>
                    <a:pt x="205" y="117"/>
                  </a:lnTo>
                  <a:lnTo>
                    <a:pt x="195" y="127"/>
                  </a:lnTo>
                  <a:lnTo>
                    <a:pt x="205" y="136"/>
                  </a:lnTo>
                  <a:lnTo>
                    <a:pt x="195" y="156"/>
                  </a:lnTo>
                  <a:lnTo>
                    <a:pt x="205" y="195"/>
                  </a:lnTo>
                  <a:lnTo>
                    <a:pt x="214" y="205"/>
                  </a:lnTo>
                  <a:lnTo>
                    <a:pt x="214" y="234"/>
                  </a:lnTo>
                  <a:lnTo>
                    <a:pt x="205" y="253"/>
                  </a:lnTo>
                  <a:lnTo>
                    <a:pt x="195" y="273"/>
                  </a:lnTo>
                  <a:lnTo>
                    <a:pt x="195" y="292"/>
                  </a:lnTo>
                  <a:lnTo>
                    <a:pt x="185" y="302"/>
                  </a:lnTo>
                  <a:lnTo>
                    <a:pt x="185" y="331"/>
                  </a:lnTo>
                  <a:lnTo>
                    <a:pt x="185" y="361"/>
                  </a:lnTo>
                  <a:lnTo>
                    <a:pt x="214" y="380"/>
                  </a:lnTo>
                  <a:lnTo>
                    <a:pt x="224" y="419"/>
                  </a:lnTo>
                  <a:lnTo>
                    <a:pt x="234" y="439"/>
                  </a:lnTo>
                  <a:lnTo>
                    <a:pt x="253" y="439"/>
                  </a:lnTo>
                  <a:lnTo>
                    <a:pt x="253" y="458"/>
                  </a:lnTo>
                  <a:lnTo>
                    <a:pt x="253" y="478"/>
                  </a:lnTo>
                  <a:lnTo>
                    <a:pt x="244" y="478"/>
                  </a:lnTo>
                  <a:lnTo>
                    <a:pt x="244" y="517"/>
                  </a:lnTo>
                  <a:lnTo>
                    <a:pt x="234" y="527"/>
                  </a:lnTo>
                  <a:lnTo>
                    <a:pt x="214" y="546"/>
                  </a:lnTo>
                  <a:lnTo>
                    <a:pt x="195" y="546"/>
                  </a:lnTo>
                  <a:lnTo>
                    <a:pt x="185" y="556"/>
                  </a:lnTo>
                  <a:lnTo>
                    <a:pt x="165" y="556"/>
                  </a:lnTo>
                  <a:lnTo>
                    <a:pt x="156" y="556"/>
                  </a:lnTo>
                  <a:lnTo>
                    <a:pt x="146" y="575"/>
                  </a:lnTo>
                  <a:lnTo>
                    <a:pt x="146" y="595"/>
                  </a:lnTo>
                  <a:lnTo>
                    <a:pt x="146" y="614"/>
                  </a:lnTo>
                  <a:lnTo>
                    <a:pt x="136" y="614"/>
                  </a:lnTo>
                  <a:lnTo>
                    <a:pt x="117" y="624"/>
                  </a:lnTo>
                  <a:lnTo>
                    <a:pt x="107" y="624"/>
                  </a:lnTo>
                  <a:lnTo>
                    <a:pt x="97" y="644"/>
                  </a:lnTo>
                  <a:lnTo>
                    <a:pt x="78" y="634"/>
                  </a:lnTo>
                  <a:lnTo>
                    <a:pt x="68" y="644"/>
                  </a:lnTo>
                  <a:lnTo>
                    <a:pt x="48" y="644"/>
                  </a:lnTo>
                  <a:lnTo>
                    <a:pt x="29" y="653"/>
                  </a:lnTo>
                  <a:lnTo>
                    <a:pt x="29" y="683"/>
                  </a:lnTo>
                  <a:lnTo>
                    <a:pt x="29" y="702"/>
                  </a:lnTo>
                  <a:lnTo>
                    <a:pt x="19" y="712"/>
                  </a:lnTo>
                  <a:lnTo>
                    <a:pt x="29" y="761"/>
                  </a:lnTo>
                  <a:lnTo>
                    <a:pt x="19" y="761"/>
                  </a:lnTo>
                  <a:lnTo>
                    <a:pt x="19" y="770"/>
                  </a:lnTo>
                  <a:lnTo>
                    <a:pt x="29" y="780"/>
                  </a:lnTo>
                  <a:lnTo>
                    <a:pt x="29" y="790"/>
                  </a:lnTo>
                  <a:lnTo>
                    <a:pt x="29" y="800"/>
                  </a:lnTo>
                  <a:lnTo>
                    <a:pt x="29" y="809"/>
                  </a:lnTo>
                  <a:lnTo>
                    <a:pt x="9" y="809"/>
                  </a:lnTo>
                  <a:lnTo>
                    <a:pt x="0" y="809"/>
                  </a:lnTo>
                  <a:lnTo>
                    <a:pt x="9" y="819"/>
                  </a:lnTo>
                  <a:lnTo>
                    <a:pt x="29" y="829"/>
                  </a:lnTo>
                  <a:lnTo>
                    <a:pt x="39" y="839"/>
                  </a:lnTo>
                  <a:lnTo>
                    <a:pt x="58" y="849"/>
                  </a:lnTo>
                  <a:lnTo>
                    <a:pt x="48" y="868"/>
                  </a:lnTo>
                  <a:lnTo>
                    <a:pt x="39" y="897"/>
                  </a:lnTo>
                  <a:lnTo>
                    <a:pt x="39" y="917"/>
                  </a:lnTo>
                  <a:lnTo>
                    <a:pt x="58" y="917"/>
                  </a:lnTo>
                  <a:lnTo>
                    <a:pt x="78" y="936"/>
                  </a:lnTo>
                  <a:lnTo>
                    <a:pt x="87" y="946"/>
                  </a:lnTo>
                  <a:lnTo>
                    <a:pt x="87" y="956"/>
                  </a:lnTo>
                  <a:lnTo>
                    <a:pt x="87" y="975"/>
                  </a:lnTo>
                  <a:lnTo>
                    <a:pt x="78" y="985"/>
                  </a:lnTo>
                  <a:lnTo>
                    <a:pt x="78" y="1005"/>
                  </a:lnTo>
                  <a:lnTo>
                    <a:pt x="78" y="1014"/>
                  </a:lnTo>
                  <a:lnTo>
                    <a:pt x="68" y="1034"/>
                  </a:lnTo>
                  <a:lnTo>
                    <a:pt x="68" y="1053"/>
                  </a:lnTo>
                  <a:lnTo>
                    <a:pt x="87" y="1073"/>
                  </a:lnTo>
                  <a:lnTo>
                    <a:pt x="146" y="1053"/>
                  </a:lnTo>
                  <a:lnTo>
                    <a:pt x="175" y="1044"/>
                  </a:lnTo>
                  <a:lnTo>
                    <a:pt x="185" y="1034"/>
                  </a:lnTo>
                  <a:lnTo>
                    <a:pt x="205" y="1044"/>
                  </a:lnTo>
                  <a:lnTo>
                    <a:pt x="234" y="1053"/>
                  </a:lnTo>
                  <a:lnTo>
                    <a:pt x="234" y="1063"/>
                  </a:lnTo>
                  <a:lnTo>
                    <a:pt x="214" y="1063"/>
                  </a:lnTo>
                  <a:lnTo>
                    <a:pt x="224" y="1073"/>
                  </a:lnTo>
                  <a:lnTo>
                    <a:pt x="214" y="1073"/>
                  </a:lnTo>
                  <a:lnTo>
                    <a:pt x="214" y="1083"/>
                  </a:lnTo>
                  <a:lnTo>
                    <a:pt x="224" y="1092"/>
                  </a:lnTo>
                  <a:lnTo>
                    <a:pt x="205" y="1102"/>
                  </a:lnTo>
                  <a:lnTo>
                    <a:pt x="195" y="1122"/>
                  </a:lnTo>
                  <a:lnTo>
                    <a:pt x="185" y="1151"/>
                  </a:lnTo>
                  <a:lnTo>
                    <a:pt x="175" y="1170"/>
                  </a:lnTo>
                  <a:lnTo>
                    <a:pt x="175" y="1190"/>
                  </a:lnTo>
                  <a:lnTo>
                    <a:pt x="175" y="1200"/>
                  </a:lnTo>
                  <a:lnTo>
                    <a:pt x="175" y="1210"/>
                  </a:lnTo>
                  <a:lnTo>
                    <a:pt x="165" y="1229"/>
                  </a:lnTo>
                  <a:lnTo>
                    <a:pt x="156" y="1258"/>
                  </a:lnTo>
                  <a:lnTo>
                    <a:pt x="165" y="1268"/>
                  </a:lnTo>
                  <a:lnTo>
                    <a:pt x="185" y="1268"/>
                  </a:lnTo>
                  <a:lnTo>
                    <a:pt x="195" y="1258"/>
                  </a:lnTo>
                  <a:lnTo>
                    <a:pt x="224" y="1249"/>
                  </a:lnTo>
                  <a:lnTo>
                    <a:pt x="234" y="1268"/>
                  </a:lnTo>
                  <a:lnTo>
                    <a:pt x="234" y="1297"/>
                  </a:lnTo>
                  <a:lnTo>
                    <a:pt x="253" y="1317"/>
                  </a:lnTo>
                  <a:lnTo>
                    <a:pt x="273" y="1307"/>
                  </a:lnTo>
                  <a:lnTo>
                    <a:pt x="283" y="1297"/>
                  </a:lnTo>
                  <a:lnTo>
                    <a:pt x="283" y="1307"/>
                  </a:lnTo>
                  <a:lnTo>
                    <a:pt x="302" y="1307"/>
                  </a:lnTo>
                  <a:lnTo>
                    <a:pt x="302" y="1288"/>
                  </a:lnTo>
                  <a:lnTo>
                    <a:pt x="322" y="1278"/>
                  </a:lnTo>
                  <a:lnTo>
                    <a:pt x="341" y="1268"/>
                  </a:lnTo>
                  <a:lnTo>
                    <a:pt x="341" y="1258"/>
                  </a:lnTo>
                  <a:lnTo>
                    <a:pt x="351" y="1249"/>
                  </a:lnTo>
                  <a:lnTo>
                    <a:pt x="351" y="1229"/>
                  </a:lnTo>
                  <a:lnTo>
                    <a:pt x="380" y="1219"/>
                  </a:lnTo>
                  <a:lnTo>
                    <a:pt x="400" y="1219"/>
                  </a:lnTo>
                  <a:lnTo>
                    <a:pt x="409" y="1210"/>
                  </a:lnTo>
                  <a:lnTo>
                    <a:pt x="419" y="1180"/>
                  </a:lnTo>
                  <a:lnTo>
                    <a:pt x="439" y="1190"/>
                  </a:lnTo>
                  <a:lnTo>
                    <a:pt x="458" y="1200"/>
                  </a:lnTo>
                  <a:lnTo>
                    <a:pt x="468" y="1219"/>
                  </a:lnTo>
                  <a:lnTo>
                    <a:pt x="468" y="1239"/>
                  </a:lnTo>
                  <a:lnTo>
                    <a:pt x="478" y="1258"/>
                  </a:lnTo>
                  <a:lnTo>
                    <a:pt x="487" y="1258"/>
                  </a:lnTo>
                  <a:lnTo>
                    <a:pt x="497" y="1278"/>
                  </a:lnTo>
                  <a:lnTo>
                    <a:pt x="497" y="1297"/>
                  </a:lnTo>
                  <a:lnTo>
                    <a:pt x="439" y="1307"/>
                  </a:lnTo>
                  <a:lnTo>
                    <a:pt x="419" y="1317"/>
                  </a:lnTo>
                  <a:lnTo>
                    <a:pt x="409" y="1307"/>
                  </a:lnTo>
                  <a:lnTo>
                    <a:pt x="400" y="1307"/>
                  </a:lnTo>
                  <a:lnTo>
                    <a:pt x="400" y="1317"/>
                  </a:lnTo>
                  <a:lnTo>
                    <a:pt x="419" y="1336"/>
                  </a:lnTo>
                  <a:lnTo>
                    <a:pt x="429" y="1346"/>
                  </a:lnTo>
                  <a:lnTo>
                    <a:pt x="439" y="1366"/>
                  </a:lnTo>
                  <a:lnTo>
                    <a:pt x="419" y="1375"/>
                  </a:lnTo>
                  <a:lnTo>
                    <a:pt x="400" y="1385"/>
                  </a:lnTo>
                  <a:lnTo>
                    <a:pt x="390" y="1385"/>
                  </a:lnTo>
                  <a:lnTo>
                    <a:pt x="390" y="1395"/>
                  </a:lnTo>
                  <a:lnTo>
                    <a:pt x="390" y="1414"/>
                  </a:lnTo>
                  <a:lnTo>
                    <a:pt x="380" y="1414"/>
                  </a:lnTo>
                  <a:lnTo>
                    <a:pt x="380" y="1434"/>
                  </a:lnTo>
                  <a:lnTo>
                    <a:pt x="380" y="1444"/>
                  </a:lnTo>
                  <a:lnTo>
                    <a:pt x="361" y="1463"/>
                  </a:lnTo>
                  <a:lnTo>
                    <a:pt x="331" y="1463"/>
                  </a:lnTo>
                  <a:lnTo>
                    <a:pt x="341" y="1483"/>
                  </a:lnTo>
                  <a:lnTo>
                    <a:pt x="351" y="1492"/>
                  </a:lnTo>
                  <a:lnTo>
                    <a:pt x="351" y="1502"/>
                  </a:lnTo>
                  <a:lnTo>
                    <a:pt x="341" y="1502"/>
                  </a:lnTo>
                  <a:lnTo>
                    <a:pt x="341" y="1522"/>
                  </a:lnTo>
                  <a:lnTo>
                    <a:pt x="331" y="1541"/>
                  </a:lnTo>
                  <a:lnTo>
                    <a:pt x="331" y="1551"/>
                  </a:lnTo>
                  <a:lnTo>
                    <a:pt x="331" y="1571"/>
                  </a:lnTo>
                  <a:lnTo>
                    <a:pt x="331" y="159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89" name="Group 303"/>
            <p:cNvGrpSpPr>
              <a:grpSpLocks/>
            </p:cNvGrpSpPr>
            <p:nvPr/>
          </p:nvGrpSpPr>
          <p:grpSpPr bwMode="auto">
            <a:xfrm>
              <a:off x="7237" y="2059"/>
              <a:ext cx="1112" cy="1883"/>
              <a:chOff x="7238" y="2059"/>
              <a:chExt cx="1112" cy="1883"/>
            </a:xfrm>
          </p:grpSpPr>
          <p:sp>
            <p:nvSpPr>
              <p:cNvPr id="370" name="Freeform 305"/>
              <p:cNvSpPr>
                <a:spLocks/>
              </p:cNvSpPr>
              <p:nvPr/>
            </p:nvSpPr>
            <p:spPr bwMode="auto">
              <a:xfrm>
                <a:off x="7238" y="2059"/>
                <a:ext cx="1112" cy="1883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331 w 1112"/>
                  <a:gd name="T125" fmla="*/ 1590 h 188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112"/>
                  <a:gd name="T190" fmla="*/ 0 h 1883"/>
                  <a:gd name="T191" fmla="*/ 1112 w 1112"/>
                  <a:gd name="T192" fmla="*/ 1883 h 188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  <a:lnTo>
                      <a:pt x="331" y="1590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1" name="Freeform 304"/>
              <p:cNvSpPr>
                <a:spLocks/>
              </p:cNvSpPr>
              <p:nvPr/>
            </p:nvSpPr>
            <p:spPr bwMode="auto">
              <a:xfrm>
                <a:off x="7238" y="2059"/>
                <a:ext cx="1112" cy="1883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12"/>
                  <a:gd name="T187" fmla="*/ 0 h 1883"/>
                  <a:gd name="T188" fmla="*/ 1112 w 1112"/>
                  <a:gd name="T189" fmla="*/ 1883 h 188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90" name="Freeform 302"/>
            <p:cNvSpPr>
              <a:spLocks/>
            </p:cNvSpPr>
            <p:nvPr/>
          </p:nvSpPr>
          <p:spPr bwMode="auto">
            <a:xfrm>
              <a:off x="7716" y="3006"/>
              <a:ext cx="29" cy="28"/>
            </a:xfrm>
            <a:custGeom>
              <a:avLst/>
              <a:gdLst>
                <a:gd name="T0" fmla="*/ 0 w 29"/>
                <a:gd name="T1" fmla="*/ 29 h 29"/>
                <a:gd name="T2" fmla="*/ 9 w 29"/>
                <a:gd name="T3" fmla="*/ 10 h 29"/>
                <a:gd name="T4" fmla="*/ 29 w 29"/>
                <a:gd name="T5" fmla="*/ 0 h 29"/>
                <a:gd name="T6" fmla="*/ 29 w 29"/>
                <a:gd name="T7" fmla="*/ 10 h 29"/>
                <a:gd name="T8" fmla="*/ 29 w 29"/>
                <a:gd name="T9" fmla="*/ 20 h 29"/>
                <a:gd name="T10" fmla="*/ 19 w 29"/>
                <a:gd name="T11" fmla="*/ 20 h 29"/>
                <a:gd name="T12" fmla="*/ 19 w 29"/>
                <a:gd name="T13" fmla="*/ 29 h 29"/>
                <a:gd name="T14" fmla="*/ 9 w 29"/>
                <a:gd name="T15" fmla="*/ 29 h 29"/>
                <a:gd name="T16" fmla="*/ 0 w 29"/>
                <a:gd name="T17" fmla="*/ 29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29"/>
                <a:gd name="T29" fmla="*/ 29 w 29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29">
                  <a:moveTo>
                    <a:pt x="0" y="29"/>
                  </a:moveTo>
                  <a:lnTo>
                    <a:pt x="9" y="10"/>
                  </a:lnTo>
                  <a:lnTo>
                    <a:pt x="29" y="0"/>
                  </a:lnTo>
                  <a:lnTo>
                    <a:pt x="29" y="10"/>
                  </a:lnTo>
                  <a:lnTo>
                    <a:pt x="29" y="20"/>
                  </a:lnTo>
                  <a:lnTo>
                    <a:pt x="19" y="20"/>
                  </a:lnTo>
                  <a:lnTo>
                    <a:pt x="19" y="29"/>
                  </a:lnTo>
                  <a:lnTo>
                    <a:pt x="9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91" name="Group 299"/>
            <p:cNvGrpSpPr>
              <a:grpSpLocks/>
            </p:cNvGrpSpPr>
            <p:nvPr/>
          </p:nvGrpSpPr>
          <p:grpSpPr bwMode="auto">
            <a:xfrm>
              <a:off x="7715" y="3005"/>
              <a:ext cx="29" cy="29"/>
              <a:chOff x="7716" y="3005"/>
              <a:chExt cx="29" cy="29"/>
            </a:xfrm>
          </p:grpSpPr>
          <p:sp>
            <p:nvSpPr>
              <p:cNvPr id="368" name="Freeform 301"/>
              <p:cNvSpPr>
                <a:spLocks/>
              </p:cNvSpPr>
              <p:nvPr/>
            </p:nvSpPr>
            <p:spPr bwMode="auto">
              <a:xfrm>
                <a:off x="7717" y="3004"/>
                <a:ext cx="29" cy="31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9" name="Freeform 300"/>
              <p:cNvSpPr>
                <a:spLocks/>
              </p:cNvSpPr>
              <p:nvPr/>
            </p:nvSpPr>
            <p:spPr bwMode="auto">
              <a:xfrm>
                <a:off x="7717" y="3004"/>
                <a:ext cx="29" cy="31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92" name="Freeform 298"/>
            <p:cNvSpPr>
              <a:spLocks/>
            </p:cNvSpPr>
            <p:nvPr/>
          </p:nvSpPr>
          <p:spPr bwMode="auto">
            <a:xfrm>
              <a:off x="7754" y="2978"/>
              <a:ext cx="58" cy="47"/>
            </a:xfrm>
            <a:custGeom>
              <a:avLst/>
              <a:gdLst>
                <a:gd name="T0" fmla="*/ 0 w 58"/>
                <a:gd name="T1" fmla="*/ 0 h 49"/>
                <a:gd name="T2" fmla="*/ 19 w 58"/>
                <a:gd name="T3" fmla="*/ 0 h 49"/>
                <a:gd name="T4" fmla="*/ 29 w 58"/>
                <a:gd name="T5" fmla="*/ 0 h 49"/>
                <a:gd name="T6" fmla="*/ 39 w 58"/>
                <a:gd name="T7" fmla="*/ 0 h 49"/>
                <a:gd name="T8" fmla="*/ 48 w 58"/>
                <a:gd name="T9" fmla="*/ 0 h 49"/>
                <a:gd name="T10" fmla="*/ 58 w 58"/>
                <a:gd name="T11" fmla="*/ 0 h 49"/>
                <a:gd name="T12" fmla="*/ 48 w 58"/>
                <a:gd name="T13" fmla="*/ 10 h 49"/>
                <a:gd name="T14" fmla="*/ 48 w 58"/>
                <a:gd name="T15" fmla="*/ 19 h 49"/>
                <a:gd name="T16" fmla="*/ 58 w 58"/>
                <a:gd name="T17" fmla="*/ 29 h 49"/>
                <a:gd name="T18" fmla="*/ 58 w 58"/>
                <a:gd name="T19" fmla="*/ 29 h 49"/>
                <a:gd name="T20" fmla="*/ 48 w 58"/>
                <a:gd name="T21" fmla="*/ 49 h 49"/>
                <a:gd name="T22" fmla="*/ 39 w 58"/>
                <a:gd name="T23" fmla="*/ 49 h 49"/>
                <a:gd name="T24" fmla="*/ 29 w 58"/>
                <a:gd name="T25" fmla="*/ 49 h 49"/>
                <a:gd name="T26" fmla="*/ 19 w 58"/>
                <a:gd name="T27" fmla="*/ 39 h 49"/>
                <a:gd name="T28" fmla="*/ 19 w 58"/>
                <a:gd name="T29" fmla="*/ 49 h 49"/>
                <a:gd name="T30" fmla="*/ 9 w 58"/>
                <a:gd name="T31" fmla="*/ 49 h 49"/>
                <a:gd name="T32" fmla="*/ 9 w 58"/>
                <a:gd name="T33" fmla="*/ 49 h 49"/>
                <a:gd name="T34" fmla="*/ 9 w 58"/>
                <a:gd name="T35" fmla="*/ 29 h 49"/>
                <a:gd name="T36" fmla="*/ 9 w 58"/>
                <a:gd name="T37" fmla="*/ 19 h 49"/>
                <a:gd name="T38" fmla="*/ 0 w 58"/>
                <a:gd name="T39" fmla="*/ 10 h 49"/>
                <a:gd name="T40" fmla="*/ 0 w 58"/>
                <a:gd name="T41" fmla="*/ 0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8"/>
                <a:gd name="T64" fmla="*/ 0 h 49"/>
                <a:gd name="T65" fmla="*/ 58 w 58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8" h="49">
                  <a:moveTo>
                    <a:pt x="0" y="0"/>
                  </a:moveTo>
                  <a:lnTo>
                    <a:pt x="19" y="0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48" y="10"/>
                  </a:lnTo>
                  <a:lnTo>
                    <a:pt x="48" y="19"/>
                  </a:lnTo>
                  <a:lnTo>
                    <a:pt x="58" y="29"/>
                  </a:lnTo>
                  <a:lnTo>
                    <a:pt x="48" y="49"/>
                  </a:lnTo>
                  <a:lnTo>
                    <a:pt x="39" y="49"/>
                  </a:lnTo>
                  <a:lnTo>
                    <a:pt x="29" y="49"/>
                  </a:lnTo>
                  <a:lnTo>
                    <a:pt x="19" y="39"/>
                  </a:lnTo>
                  <a:lnTo>
                    <a:pt x="19" y="49"/>
                  </a:lnTo>
                  <a:lnTo>
                    <a:pt x="9" y="49"/>
                  </a:lnTo>
                  <a:lnTo>
                    <a:pt x="9" y="29"/>
                  </a:lnTo>
                  <a:lnTo>
                    <a:pt x="9" y="19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93" name="Group 295"/>
            <p:cNvGrpSpPr>
              <a:grpSpLocks/>
            </p:cNvGrpSpPr>
            <p:nvPr/>
          </p:nvGrpSpPr>
          <p:grpSpPr bwMode="auto">
            <a:xfrm>
              <a:off x="7754" y="2976"/>
              <a:ext cx="58" cy="49"/>
              <a:chOff x="7755" y="2976"/>
              <a:chExt cx="58" cy="49"/>
            </a:xfrm>
          </p:grpSpPr>
          <p:sp>
            <p:nvSpPr>
              <p:cNvPr id="366" name="Freeform 297"/>
              <p:cNvSpPr>
                <a:spLocks/>
              </p:cNvSpPr>
              <p:nvPr/>
            </p:nvSpPr>
            <p:spPr bwMode="auto">
              <a:xfrm>
                <a:off x="7755" y="2976"/>
                <a:ext cx="58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7" name="Freeform 296"/>
              <p:cNvSpPr>
                <a:spLocks/>
              </p:cNvSpPr>
              <p:nvPr/>
            </p:nvSpPr>
            <p:spPr bwMode="auto">
              <a:xfrm>
                <a:off x="7755" y="2976"/>
                <a:ext cx="58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94" name="Freeform 294"/>
            <p:cNvSpPr>
              <a:spLocks/>
            </p:cNvSpPr>
            <p:nvPr/>
          </p:nvSpPr>
          <p:spPr bwMode="auto">
            <a:xfrm>
              <a:off x="8083" y="2858"/>
              <a:ext cx="646" cy="818"/>
            </a:xfrm>
            <a:custGeom>
              <a:avLst/>
              <a:gdLst>
                <a:gd name="T0" fmla="*/ 127 w 644"/>
                <a:gd name="T1" fmla="*/ 273 h 819"/>
                <a:gd name="T2" fmla="*/ 147 w 644"/>
                <a:gd name="T3" fmla="*/ 292 h 819"/>
                <a:gd name="T4" fmla="*/ 176 w 644"/>
                <a:gd name="T5" fmla="*/ 302 h 819"/>
                <a:gd name="T6" fmla="*/ 215 w 644"/>
                <a:gd name="T7" fmla="*/ 331 h 819"/>
                <a:gd name="T8" fmla="*/ 234 w 644"/>
                <a:gd name="T9" fmla="*/ 370 h 819"/>
                <a:gd name="T10" fmla="*/ 293 w 644"/>
                <a:gd name="T11" fmla="*/ 439 h 819"/>
                <a:gd name="T12" fmla="*/ 332 w 644"/>
                <a:gd name="T13" fmla="*/ 507 h 819"/>
                <a:gd name="T14" fmla="*/ 351 w 644"/>
                <a:gd name="T15" fmla="*/ 566 h 819"/>
                <a:gd name="T16" fmla="*/ 410 w 644"/>
                <a:gd name="T17" fmla="*/ 595 h 819"/>
                <a:gd name="T18" fmla="*/ 439 w 644"/>
                <a:gd name="T19" fmla="*/ 624 h 819"/>
                <a:gd name="T20" fmla="*/ 459 w 644"/>
                <a:gd name="T21" fmla="*/ 683 h 819"/>
                <a:gd name="T22" fmla="*/ 488 w 644"/>
                <a:gd name="T23" fmla="*/ 722 h 819"/>
                <a:gd name="T24" fmla="*/ 527 w 644"/>
                <a:gd name="T25" fmla="*/ 780 h 819"/>
                <a:gd name="T26" fmla="*/ 556 w 644"/>
                <a:gd name="T27" fmla="*/ 810 h 819"/>
                <a:gd name="T28" fmla="*/ 566 w 644"/>
                <a:gd name="T29" fmla="*/ 800 h 819"/>
                <a:gd name="T30" fmla="*/ 547 w 644"/>
                <a:gd name="T31" fmla="*/ 741 h 819"/>
                <a:gd name="T32" fmla="*/ 547 w 644"/>
                <a:gd name="T33" fmla="*/ 712 h 819"/>
                <a:gd name="T34" fmla="*/ 605 w 644"/>
                <a:gd name="T35" fmla="*/ 702 h 819"/>
                <a:gd name="T36" fmla="*/ 634 w 644"/>
                <a:gd name="T37" fmla="*/ 731 h 819"/>
                <a:gd name="T38" fmla="*/ 644 w 644"/>
                <a:gd name="T39" fmla="*/ 722 h 819"/>
                <a:gd name="T40" fmla="*/ 625 w 644"/>
                <a:gd name="T41" fmla="*/ 692 h 819"/>
                <a:gd name="T42" fmla="*/ 595 w 644"/>
                <a:gd name="T43" fmla="*/ 663 h 819"/>
                <a:gd name="T44" fmla="*/ 576 w 644"/>
                <a:gd name="T45" fmla="*/ 673 h 819"/>
                <a:gd name="T46" fmla="*/ 537 w 644"/>
                <a:gd name="T47" fmla="*/ 653 h 819"/>
                <a:gd name="T48" fmla="*/ 478 w 644"/>
                <a:gd name="T49" fmla="*/ 624 h 819"/>
                <a:gd name="T50" fmla="*/ 429 w 644"/>
                <a:gd name="T51" fmla="*/ 546 h 819"/>
                <a:gd name="T52" fmla="*/ 410 w 644"/>
                <a:gd name="T53" fmla="*/ 488 h 819"/>
                <a:gd name="T54" fmla="*/ 410 w 644"/>
                <a:gd name="T55" fmla="*/ 449 h 819"/>
                <a:gd name="T56" fmla="*/ 449 w 644"/>
                <a:gd name="T57" fmla="*/ 429 h 819"/>
                <a:gd name="T58" fmla="*/ 527 w 644"/>
                <a:gd name="T59" fmla="*/ 439 h 819"/>
                <a:gd name="T60" fmla="*/ 527 w 644"/>
                <a:gd name="T61" fmla="*/ 429 h 819"/>
                <a:gd name="T62" fmla="*/ 488 w 644"/>
                <a:gd name="T63" fmla="*/ 419 h 819"/>
                <a:gd name="T64" fmla="*/ 449 w 644"/>
                <a:gd name="T65" fmla="*/ 380 h 819"/>
                <a:gd name="T66" fmla="*/ 429 w 644"/>
                <a:gd name="T67" fmla="*/ 361 h 819"/>
                <a:gd name="T68" fmla="*/ 390 w 644"/>
                <a:gd name="T69" fmla="*/ 341 h 819"/>
                <a:gd name="T70" fmla="*/ 322 w 644"/>
                <a:gd name="T71" fmla="*/ 292 h 819"/>
                <a:gd name="T72" fmla="*/ 283 w 644"/>
                <a:gd name="T73" fmla="*/ 273 h 819"/>
                <a:gd name="T74" fmla="*/ 254 w 644"/>
                <a:gd name="T75" fmla="*/ 244 h 819"/>
                <a:gd name="T76" fmla="*/ 234 w 644"/>
                <a:gd name="T77" fmla="*/ 234 h 819"/>
                <a:gd name="T78" fmla="*/ 225 w 644"/>
                <a:gd name="T79" fmla="*/ 214 h 819"/>
                <a:gd name="T80" fmla="*/ 205 w 644"/>
                <a:gd name="T81" fmla="*/ 205 h 819"/>
                <a:gd name="T82" fmla="*/ 195 w 644"/>
                <a:gd name="T83" fmla="*/ 185 h 819"/>
                <a:gd name="T84" fmla="*/ 176 w 644"/>
                <a:gd name="T85" fmla="*/ 156 h 819"/>
                <a:gd name="T86" fmla="*/ 186 w 644"/>
                <a:gd name="T87" fmla="*/ 156 h 819"/>
                <a:gd name="T88" fmla="*/ 147 w 644"/>
                <a:gd name="T89" fmla="*/ 117 h 819"/>
                <a:gd name="T90" fmla="*/ 117 w 644"/>
                <a:gd name="T91" fmla="*/ 97 h 819"/>
                <a:gd name="T92" fmla="*/ 137 w 644"/>
                <a:gd name="T93" fmla="*/ 97 h 819"/>
                <a:gd name="T94" fmla="*/ 88 w 644"/>
                <a:gd name="T95" fmla="*/ 78 h 819"/>
                <a:gd name="T96" fmla="*/ 59 w 644"/>
                <a:gd name="T97" fmla="*/ 39 h 819"/>
                <a:gd name="T98" fmla="*/ 30 w 644"/>
                <a:gd name="T99" fmla="*/ 19 h 819"/>
                <a:gd name="T100" fmla="*/ 10 w 644"/>
                <a:gd name="T101" fmla="*/ 19 h 819"/>
                <a:gd name="T102" fmla="*/ 0 w 644"/>
                <a:gd name="T103" fmla="*/ 39 h 819"/>
                <a:gd name="T104" fmla="*/ 30 w 644"/>
                <a:gd name="T105" fmla="*/ 58 h 819"/>
                <a:gd name="T106" fmla="*/ 59 w 644"/>
                <a:gd name="T107" fmla="*/ 68 h 819"/>
                <a:gd name="T108" fmla="*/ 69 w 644"/>
                <a:gd name="T109" fmla="*/ 78 h 819"/>
                <a:gd name="T110" fmla="*/ 69 w 644"/>
                <a:gd name="T111" fmla="*/ 88 h 819"/>
                <a:gd name="T112" fmla="*/ 59 w 644"/>
                <a:gd name="T113" fmla="*/ 117 h 819"/>
                <a:gd name="T114" fmla="*/ 39 w 644"/>
                <a:gd name="T115" fmla="*/ 117 h 819"/>
                <a:gd name="T116" fmla="*/ 49 w 644"/>
                <a:gd name="T117" fmla="*/ 156 h 819"/>
                <a:gd name="T118" fmla="*/ 78 w 644"/>
                <a:gd name="T119" fmla="*/ 185 h 819"/>
                <a:gd name="T120" fmla="*/ 98 w 644"/>
                <a:gd name="T121" fmla="*/ 234 h 81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44"/>
                <a:gd name="T184" fmla="*/ 0 h 819"/>
                <a:gd name="T185" fmla="*/ 644 w 644"/>
                <a:gd name="T186" fmla="*/ 819 h 81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44" h="819">
                  <a:moveTo>
                    <a:pt x="117" y="253"/>
                  </a:moveTo>
                  <a:lnTo>
                    <a:pt x="117" y="273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47" y="283"/>
                  </a:lnTo>
                  <a:lnTo>
                    <a:pt x="147" y="292"/>
                  </a:lnTo>
                  <a:lnTo>
                    <a:pt x="137" y="292"/>
                  </a:lnTo>
                  <a:lnTo>
                    <a:pt x="166" y="302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95" y="322"/>
                  </a:lnTo>
                  <a:lnTo>
                    <a:pt x="215" y="331"/>
                  </a:lnTo>
                  <a:lnTo>
                    <a:pt x="225" y="341"/>
                  </a:lnTo>
                  <a:lnTo>
                    <a:pt x="225" y="370"/>
                  </a:lnTo>
                  <a:lnTo>
                    <a:pt x="234" y="370"/>
                  </a:lnTo>
                  <a:lnTo>
                    <a:pt x="254" y="400"/>
                  </a:lnTo>
                  <a:lnTo>
                    <a:pt x="273" y="419"/>
                  </a:lnTo>
                  <a:lnTo>
                    <a:pt x="293" y="439"/>
                  </a:lnTo>
                  <a:lnTo>
                    <a:pt x="312" y="458"/>
                  </a:lnTo>
                  <a:lnTo>
                    <a:pt x="322" y="488"/>
                  </a:lnTo>
                  <a:lnTo>
                    <a:pt x="332" y="507"/>
                  </a:lnTo>
                  <a:lnTo>
                    <a:pt x="342" y="517"/>
                  </a:lnTo>
                  <a:lnTo>
                    <a:pt x="351" y="546"/>
                  </a:lnTo>
                  <a:lnTo>
                    <a:pt x="351" y="566"/>
                  </a:lnTo>
                  <a:lnTo>
                    <a:pt x="371" y="585"/>
                  </a:lnTo>
                  <a:lnTo>
                    <a:pt x="390" y="585"/>
                  </a:lnTo>
                  <a:lnTo>
                    <a:pt x="410" y="595"/>
                  </a:lnTo>
                  <a:lnTo>
                    <a:pt x="420" y="605"/>
                  </a:lnTo>
                  <a:lnTo>
                    <a:pt x="429" y="605"/>
                  </a:lnTo>
                  <a:lnTo>
                    <a:pt x="439" y="624"/>
                  </a:lnTo>
                  <a:lnTo>
                    <a:pt x="439" y="644"/>
                  </a:lnTo>
                  <a:lnTo>
                    <a:pt x="449" y="673"/>
                  </a:lnTo>
                  <a:lnTo>
                    <a:pt x="459" y="683"/>
                  </a:lnTo>
                  <a:lnTo>
                    <a:pt x="468" y="692"/>
                  </a:lnTo>
                  <a:lnTo>
                    <a:pt x="478" y="702"/>
                  </a:lnTo>
                  <a:lnTo>
                    <a:pt x="488" y="722"/>
                  </a:lnTo>
                  <a:lnTo>
                    <a:pt x="488" y="751"/>
                  </a:lnTo>
                  <a:lnTo>
                    <a:pt x="508" y="771"/>
                  </a:lnTo>
                  <a:lnTo>
                    <a:pt x="527" y="780"/>
                  </a:lnTo>
                  <a:lnTo>
                    <a:pt x="537" y="800"/>
                  </a:lnTo>
                  <a:lnTo>
                    <a:pt x="547" y="810"/>
                  </a:lnTo>
                  <a:lnTo>
                    <a:pt x="556" y="810"/>
                  </a:lnTo>
                  <a:lnTo>
                    <a:pt x="576" y="819"/>
                  </a:lnTo>
                  <a:lnTo>
                    <a:pt x="576" y="810"/>
                  </a:lnTo>
                  <a:lnTo>
                    <a:pt x="566" y="800"/>
                  </a:lnTo>
                  <a:lnTo>
                    <a:pt x="566" y="780"/>
                  </a:lnTo>
                  <a:lnTo>
                    <a:pt x="556" y="771"/>
                  </a:lnTo>
                  <a:lnTo>
                    <a:pt x="547" y="741"/>
                  </a:lnTo>
                  <a:lnTo>
                    <a:pt x="537" y="731"/>
                  </a:lnTo>
                  <a:lnTo>
                    <a:pt x="547" y="712"/>
                  </a:lnTo>
                  <a:lnTo>
                    <a:pt x="566" y="712"/>
                  </a:lnTo>
                  <a:lnTo>
                    <a:pt x="586" y="702"/>
                  </a:lnTo>
                  <a:lnTo>
                    <a:pt x="605" y="702"/>
                  </a:lnTo>
                  <a:lnTo>
                    <a:pt x="615" y="712"/>
                  </a:lnTo>
                  <a:lnTo>
                    <a:pt x="634" y="722"/>
                  </a:lnTo>
                  <a:lnTo>
                    <a:pt x="634" y="731"/>
                  </a:lnTo>
                  <a:lnTo>
                    <a:pt x="644" y="741"/>
                  </a:lnTo>
                  <a:lnTo>
                    <a:pt x="644" y="731"/>
                  </a:lnTo>
                  <a:lnTo>
                    <a:pt x="644" y="722"/>
                  </a:lnTo>
                  <a:lnTo>
                    <a:pt x="644" y="702"/>
                  </a:lnTo>
                  <a:lnTo>
                    <a:pt x="634" y="702"/>
                  </a:lnTo>
                  <a:lnTo>
                    <a:pt x="625" y="692"/>
                  </a:lnTo>
                  <a:lnTo>
                    <a:pt x="615" y="683"/>
                  </a:lnTo>
                  <a:lnTo>
                    <a:pt x="605" y="673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76" y="673"/>
                  </a:lnTo>
                  <a:lnTo>
                    <a:pt x="566" y="673"/>
                  </a:lnTo>
                  <a:lnTo>
                    <a:pt x="556" y="653"/>
                  </a:lnTo>
                  <a:lnTo>
                    <a:pt x="537" y="653"/>
                  </a:lnTo>
                  <a:lnTo>
                    <a:pt x="517" y="644"/>
                  </a:lnTo>
                  <a:lnTo>
                    <a:pt x="488" y="644"/>
                  </a:lnTo>
                  <a:lnTo>
                    <a:pt x="478" y="624"/>
                  </a:lnTo>
                  <a:lnTo>
                    <a:pt x="459" y="595"/>
                  </a:lnTo>
                  <a:lnTo>
                    <a:pt x="439" y="566"/>
                  </a:lnTo>
                  <a:lnTo>
                    <a:pt x="429" y="546"/>
                  </a:lnTo>
                  <a:lnTo>
                    <a:pt x="429" y="517"/>
                  </a:lnTo>
                  <a:lnTo>
                    <a:pt x="420" y="497"/>
                  </a:lnTo>
                  <a:lnTo>
                    <a:pt x="410" y="488"/>
                  </a:lnTo>
                  <a:lnTo>
                    <a:pt x="400" y="478"/>
                  </a:lnTo>
                  <a:lnTo>
                    <a:pt x="400" y="468"/>
                  </a:lnTo>
                  <a:lnTo>
                    <a:pt x="410" y="449"/>
                  </a:lnTo>
                  <a:lnTo>
                    <a:pt x="410" y="439"/>
                  </a:lnTo>
                  <a:lnTo>
                    <a:pt x="429" y="429"/>
                  </a:lnTo>
                  <a:lnTo>
                    <a:pt x="449" y="429"/>
                  </a:lnTo>
                  <a:lnTo>
                    <a:pt x="478" y="429"/>
                  </a:lnTo>
                  <a:lnTo>
                    <a:pt x="517" y="429"/>
                  </a:lnTo>
                  <a:lnTo>
                    <a:pt x="527" y="439"/>
                  </a:lnTo>
                  <a:lnTo>
                    <a:pt x="537" y="449"/>
                  </a:lnTo>
                  <a:lnTo>
                    <a:pt x="537" y="439"/>
                  </a:lnTo>
                  <a:lnTo>
                    <a:pt x="527" y="429"/>
                  </a:lnTo>
                  <a:lnTo>
                    <a:pt x="517" y="419"/>
                  </a:lnTo>
                  <a:lnTo>
                    <a:pt x="498" y="419"/>
                  </a:lnTo>
                  <a:lnTo>
                    <a:pt x="488" y="419"/>
                  </a:lnTo>
                  <a:lnTo>
                    <a:pt x="478" y="410"/>
                  </a:lnTo>
                  <a:lnTo>
                    <a:pt x="468" y="400"/>
                  </a:lnTo>
                  <a:lnTo>
                    <a:pt x="449" y="380"/>
                  </a:lnTo>
                  <a:lnTo>
                    <a:pt x="439" y="380"/>
                  </a:lnTo>
                  <a:lnTo>
                    <a:pt x="429" y="370"/>
                  </a:lnTo>
                  <a:lnTo>
                    <a:pt x="429" y="361"/>
                  </a:lnTo>
                  <a:lnTo>
                    <a:pt x="410" y="361"/>
                  </a:lnTo>
                  <a:lnTo>
                    <a:pt x="400" y="351"/>
                  </a:lnTo>
                  <a:lnTo>
                    <a:pt x="390" y="341"/>
                  </a:lnTo>
                  <a:lnTo>
                    <a:pt x="371" y="331"/>
                  </a:lnTo>
                  <a:lnTo>
                    <a:pt x="342" y="312"/>
                  </a:lnTo>
                  <a:lnTo>
                    <a:pt x="322" y="292"/>
                  </a:lnTo>
                  <a:lnTo>
                    <a:pt x="293" y="273"/>
                  </a:lnTo>
                  <a:lnTo>
                    <a:pt x="283" y="263"/>
                  </a:lnTo>
                  <a:lnTo>
                    <a:pt x="283" y="273"/>
                  </a:lnTo>
                  <a:lnTo>
                    <a:pt x="273" y="263"/>
                  </a:lnTo>
                  <a:lnTo>
                    <a:pt x="273" y="253"/>
                  </a:lnTo>
                  <a:lnTo>
                    <a:pt x="254" y="244"/>
                  </a:lnTo>
                  <a:lnTo>
                    <a:pt x="244" y="244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25" y="214"/>
                  </a:lnTo>
                  <a:lnTo>
                    <a:pt x="215" y="21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195" y="205"/>
                  </a:lnTo>
                  <a:lnTo>
                    <a:pt x="195" y="195"/>
                  </a:lnTo>
                  <a:lnTo>
                    <a:pt x="195" y="185"/>
                  </a:lnTo>
                  <a:lnTo>
                    <a:pt x="186" y="185"/>
                  </a:lnTo>
                  <a:lnTo>
                    <a:pt x="176" y="185"/>
                  </a:lnTo>
                  <a:lnTo>
                    <a:pt x="176" y="156"/>
                  </a:lnTo>
                  <a:lnTo>
                    <a:pt x="186" y="166"/>
                  </a:lnTo>
                  <a:lnTo>
                    <a:pt x="186" y="156"/>
                  </a:lnTo>
                  <a:lnTo>
                    <a:pt x="176" y="146"/>
                  </a:lnTo>
                  <a:lnTo>
                    <a:pt x="166" y="127"/>
                  </a:lnTo>
                  <a:lnTo>
                    <a:pt x="147" y="117"/>
                  </a:lnTo>
                  <a:lnTo>
                    <a:pt x="127" y="117"/>
                  </a:lnTo>
                  <a:lnTo>
                    <a:pt x="117" y="107"/>
                  </a:lnTo>
                  <a:lnTo>
                    <a:pt x="117" y="97"/>
                  </a:lnTo>
                  <a:lnTo>
                    <a:pt x="117" y="88"/>
                  </a:lnTo>
                  <a:lnTo>
                    <a:pt x="127" y="97"/>
                  </a:lnTo>
                  <a:lnTo>
                    <a:pt x="137" y="97"/>
                  </a:lnTo>
                  <a:lnTo>
                    <a:pt x="127" y="88"/>
                  </a:lnTo>
                  <a:lnTo>
                    <a:pt x="108" y="78"/>
                  </a:lnTo>
                  <a:lnTo>
                    <a:pt x="88" y="78"/>
                  </a:lnTo>
                  <a:lnTo>
                    <a:pt x="88" y="68"/>
                  </a:lnTo>
                  <a:lnTo>
                    <a:pt x="69" y="49"/>
                  </a:lnTo>
                  <a:lnTo>
                    <a:pt x="59" y="39"/>
                  </a:lnTo>
                  <a:lnTo>
                    <a:pt x="59" y="19"/>
                  </a:lnTo>
                  <a:lnTo>
                    <a:pt x="49" y="19"/>
                  </a:lnTo>
                  <a:lnTo>
                    <a:pt x="30" y="19"/>
                  </a:lnTo>
                  <a:lnTo>
                    <a:pt x="2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10" y="2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58"/>
                  </a:lnTo>
                  <a:lnTo>
                    <a:pt x="49" y="58"/>
                  </a:lnTo>
                  <a:lnTo>
                    <a:pt x="59" y="58"/>
                  </a:lnTo>
                  <a:lnTo>
                    <a:pt x="59" y="68"/>
                  </a:lnTo>
                  <a:lnTo>
                    <a:pt x="69" y="68"/>
                  </a:lnTo>
                  <a:lnTo>
                    <a:pt x="69" y="78"/>
                  </a:lnTo>
                  <a:lnTo>
                    <a:pt x="59" y="88"/>
                  </a:lnTo>
                  <a:lnTo>
                    <a:pt x="69" y="88"/>
                  </a:lnTo>
                  <a:lnTo>
                    <a:pt x="69" y="97"/>
                  </a:lnTo>
                  <a:lnTo>
                    <a:pt x="69" y="117"/>
                  </a:lnTo>
                  <a:lnTo>
                    <a:pt x="59" y="117"/>
                  </a:lnTo>
                  <a:lnTo>
                    <a:pt x="49" y="107"/>
                  </a:lnTo>
                  <a:lnTo>
                    <a:pt x="39" y="107"/>
                  </a:lnTo>
                  <a:lnTo>
                    <a:pt x="39" y="117"/>
                  </a:lnTo>
                  <a:lnTo>
                    <a:pt x="30" y="127"/>
                  </a:lnTo>
                  <a:lnTo>
                    <a:pt x="39" y="146"/>
                  </a:lnTo>
                  <a:lnTo>
                    <a:pt x="49" y="156"/>
                  </a:lnTo>
                  <a:lnTo>
                    <a:pt x="69" y="166"/>
                  </a:lnTo>
                  <a:lnTo>
                    <a:pt x="69" y="17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8" y="234"/>
                  </a:lnTo>
                  <a:lnTo>
                    <a:pt x="108" y="253"/>
                  </a:lnTo>
                  <a:lnTo>
                    <a:pt x="117" y="253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95" name="Group 291"/>
            <p:cNvGrpSpPr>
              <a:grpSpLocks/>
            </p:cNvGrpSpPr>
            <p:nvPr/>
          </p:nvGrpSpPr>
          <p:grpSpPr bwMode="auto">
            <a:xfrm>
              <a:off x="8085" y="2859"/>
              <a:ext cx="644" cy="819"/>
              <a:chOff x="8086" y="2859"/>
              <a:chExt cx="644" cy="819"/>
            </a:xfrm>
          </p:grpSpPr>
          <p:sp>
            <p:nvSpPr>
              <p:cNvPr id="364" name="Freeform 293"/>
              <p:cNvSpPr>
                <a:spLocks/>
              </p:cNvSpPr>
              <p:nvPr/>
            </p:nvSpPr>
            <p:spPr bwMode="auto">
              <a:xfrm>
                <a:off x="8087" y="2858"/>
                <a:ext cx="643" cy="820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5" name="Freeform 292"/>
              <p:cNvSpPr>
                <a:spLocks/>
              </p:cNvSpPr>
              <p:nvPr/>
            </p:nvSpPr>
            <p:spPr bwMode="auto">
              <a:xfrm>
                <a:off x="8087" y="2858"/>
                <a:ext cx="643" cy="820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96" name="Freeform 290"/>
            <p:cNvSpPr>
              <a:spLocks/>
            </p:cNvSpPr>
            <p:nvPr/>
          </p:nvSpPr>
          <p:spPr bwMode="auto">
            <a:xfrm>
              <a:off x="9109" y="2527"/>
              <a:ext cx="22" cy="28"/>
            </a:xfrm>
            <a:custGeom>
              <a:avLst/>
              <a:gdLst>
                <a:gd name="T0" fmla="*/ 0 w 20"/>
                <a:gd name="T1" fmla="*/ 0 h 29"/>
                <a:gd name="T2" fmla="*/ 10 w 20"/>
                <a:gd name="T3" fmla="*/ 0 h 29"/>
                <a:gd name="T4" fmla="*/ 20 w 20"/>
                <a:gd name="T5" fmla="*/ 10 h 29"/>
                <a:gd name="T6" fmla="*/ 20 w 20"/>
                <a:gd name="T7" fmla="*/ 20 h 29"/>
                <a:gd name="T8" fmla="*/ 10 w 20"/>
                <a:gd name="T9" fmla="*/ 29 h 29"/>
                <a:gd name="T10" fmla="*/ 0 w 20"/>
                <a:gd name="T11" fmla="*/ 20 h 29"/>
                <a:gd name="T12" fmla="*/ 0 w 20"/>
                <a:gd name="T13" fmla="*/ 10 h 29"/>
                <a:gd name="T14" fmla="*/ 0 w 20"/>
                <a:gd name="T15" fmla="*/ 0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9"/>
                <a:gd name="T26" fmla="*/ 20 w 20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9">
                  <a:moveTo>
                    <a:pt x="0" y="0"/>
                  </a:moveTo>
                  <a:lnTo>
                    <a:pt x="1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10" y="29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97" name="Group 287"/>
            <p:cNvGrpSpPr>
              <a:grpSpLocks/>
            </p:cNvGrpSpPr>
            <p:nvPr/>
          </p:nvGrpSpPr>
          <p:grpSpPr bwMode="auto">
            <a:xfrm>
              <a:off x="9109" y="2527"/>
              <a:ext cx="20" cy="29"/>
              <a:chOff x="9110" y="2527"/>
              <a:chExt cx="20" cy="29"/>
            </a:xfrm>
          </p:grpSpPr>
          <p:sp>
            <p:nvSpPr>
              <p:cNvPr id="362" name="Freeform 289"/>
              <p:cNvSpPr>
                <a:spLocks/>
              </p:cNvSpPr>
              <p:nvPr/>
            </p:nvSpPr>
            <p:spPr bwMode="auto">
              <a:xfrm>
                <a:off x="9110" y="2527"/>
                <a:ext cx="22" cy="28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3" name="Freeform 288"/>
              <p:cNvSpPr>
                <a:spLocks/>
              </p:cNvSpPr>
              <p:nvPr/>
            </p:nvSpPr>
            <p:spPr bwMode="auto">
              <a:xfrm>
                <a:off x="9110" y="2527"/>
                <a:ext cx="22" cy="28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98" name="Freeform 286"/>
            <p:cNvSpPr>
              <a:spLocks/>
            </p:cNvSpPr>
            <p:nvPr/>
          </p:nvSpPr>
          <p:spPr bwMode="auto">
            <a:xfrm>
              <a:off x="1532" y="1436"/>
              <a:ext cx="518" cy="378"/>
            </a:xfrm>
            <a:custGeom>
              <a:avLst/>
              <a:gdLst>
                <a:gd name="T0" fmla="*/ 478 w 517"/>
                <a:gd name="T1" fmla="*/ 244 h 381"/>
                <a:gd name="T2" fmla="*/ 449 w 517"/>
                <a:gd name="T3" fmla="*/ 244 h 381"/>
                <a:gd name="T4" fmla="*/ 439 w 517"/>
                <a:gd name="T5" fmla="*/ 283 h 381"/>
                <a:gd name="T6" fmla="*/ 420 w 517"/>
                <a:gd name="T7" fmla="*/ 322 h 381"/>
                <a:gd name="T8" fmla="*/ 420 w 517"/>
                <a:gd name="T9" fmla="*/ 342 h 381"/>
                <a:gd name="T10" fmla="*/ 391 w 517"/>
                <a:gd name="T11" fmla="*/ 361 h 381"/>
                <a:gd name="T12" fmla="*/ 361 w 517"/>
                <a:gd name="T13" fmla="*/ 361 h 381"/>
                <a:gd name="T14" fmla="*/ 361 w 517"/>
                <a:gd name="T15" fmla="*/ 342 h 381"/>
                <a:gd name="T16" fmla="*/ 342 w 517"/>
                <a:gd name="T17" fmla="*/ 322 h 381"/>
                <a:gd name="T18" fmla="*/ 322 w 517"/>
                <a:gd name="T19" fmla="*/ 332 h 381"/>
                <a:gd name="T20" fmla="*/ 303 w 517"/>
                <a:gd name="T21" fmla="*/ 332 h 381"/>
                <a:gd name="T22" fmla="*/ 293 w 517"/>
                <a:gd name="T23" fmla="*/ 312 h 381"/>
                <a:gd name="T24" fmla="*/ 235 w 517"/>
                <a:gd name="T25" fmla="*/ 293 h 381"/>
                <a:gd name="T26" fmla="*/ 235 w 517"/>
                <a:gd name="T27" fmla="*/ 254 h 381"/>
                <a:gd name="T28" fmla="*/ 195 w 517"/>
                <a:gd name="T29" fmla="*/ 264 h 381"/>
                <a:gd name="T30" fmla="*/ 166 w 517"/>
                <a:gd name="T31" fmla="*/ 264 h 381"/>
                <a:gd name="T32" fmla="*/ 147 w 517"/>
                <a:gd name="T33" fmla="*/ 244 h 381"/>
                <a:gd name="T34" fmla="*/ 147 w 517"/>
                <a:gd name="T35" fmla="*/ 205 h 381"/>
                <a:gd name="T36" fmla="*/ 117 w 517"/>
                <a:gd name="T37" fmla="*/ 205 h 381"/>
                <a:gd name="T38" fmla="*/ 59 w 517"/>
                <a:gd name="T39" fmla="*/ 176 h 381"/>
                <a:gd name="T40" fmla="*/ 10 w 517"/>
                <a:gd name="T41" fmla="*/ 108 h 381"/>
                <a:gd name="T42" fmla="*/ 30 w 517"/>
                <a:gd name="T43" fmla="*/ 88 h 381"/>
                <a:gd name="T44" fmla="*/ 59 w 517"/>
                <a:gd name="T45" fmla="*/ 69 h 381"/>
                <a:gd name="T46" fmla="*/ 78 w 517"/>
                <a:gd name="T47" fmla="*/ 49 h 381"/>
                <a:gd name="T48" fmla="*/ 88 w 517"/>
                <a:gd name="T49" fmla="*/ 20 h 381"/>
                <a:gd name="T50" fmla="*/ 98 w 517"/>
                <a:gd name="T51" fmla="*/ 0 h 381"/>
                <a:gd name="T52" fmla="*/ 127 w 517"/>
                <a:gd name="T53" fmla="*/ 0 h 381"/>
                <a:gd name="T54" fmla="*/ 147 w 517"/>
                <a:gd name="T55" fmla="*/ 10 h 381"/>
                <a:gd name="T56" fmla="*/ 156 w 517"/>
                <a:gd name="T57" fmla="*/ 10 h 381"/>
                <a:gd name="T58" fmla="*/ 186 w 517"/>
                <a:gd name="T59" fmla="*/ 30 h 381"/>
                <a:gd name="T60" fmla="*/ 205 w 517"/>
                <a:gd name="T61" fmla="*/ 39 h 381"/>
                <a:gd name="T62" fmla="*/ 235 w 517"/>
                <a:gd name="T63" fmla="*/ 49 h 381"/>
                <a:gd name="T64" fmla="*/ 244 w 517"/>
                <a:gd name="T65" fmla="*/ 78 h 381"/>
                <a:gd name="T66" fmla="*/ 293 w 517"/>
                <a:gd name="T67" fmla="*/ 69 h 381"/>
                <a:gd name="T68" fmla="*/ 313 w 517"/>
                <a:gd name="T69" fmla="*/ 69 h 381"/>
                <a:gd name="T70" fmla="*/ 332 w 517"/>
                <a:gd name="T71" fmla="*/ 49 h 381"/>
                <a:gd name="T72" fmla="*/ 352 w 517"/>
                <a:gd name="T73" fmla="*/ 98 h 381"/>
                <a:gd name="T74" fmla="*/ 371 w 517"/>
                <a:gd name="T75" fmla="*/ 108 h 381"/>
                <a:gd name="T76" fmla="*/ 400 w 517"/>
                <a:gd name="T77" fmla="*/ 117 h 381"/>
                <a:gd name="T78" fmla="*/ 459 w 517"/>
                <a:gd name="T79" fmla="*/ 166 h 381"/>
                <a:gd name="T80" fmla="*/ 488 w 517"/>
                <a:gd name="T81" fmla="*/ 166 h 381"/>
                <a:gd name="T82" fmla="*/ 517 w 517"/>
                <a:gd name="T83" fmla="*/ 186 h 381"/>
                <a:gd name="T84" fmla="*/ 508 w 517"/>
                <a:gd name="T85" fmla="*/ 215 h 381"/>
                <a:gd name="T86" fmla="*/ 469 w 517"/>
                <a:gd name="T87" fmla="*/ 234 h 38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17"/>
                <a:gd name="T133" fmla="*/ 0 h 381"/>
                <a:gd name="T134" fmla="*/ 517 w 517"/>
                <a:gd name="T135" fmla="*/ 381 h 38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17" h="381">
                  <a:moveTo>
                    <a:pt x="469" y="234"/>
                  </a:moveTo>
                  <a:lnTo>
                    <a:pt x="478" y="244"/>
                  </a:lnTo>
                  <a:lnTo>
                    <a:pt x="469" y="244"/>
                  </a:lnTo>
                  <a:lnTo>
                    <a:pt x="449" y="244"/>
                  </a:lnTo>
                  <a:lnTo>
                    <a:pt x="449" y="264"/>
                  </a:lnTo>
                  <a:lnTo>
                    <a:pt x="439" y="283"/>
                  </a:lnTo>
                  <a:lnTo>
                    <a:pt x="420" y="303"/>
                  </a:lnTo>
                  <a:lnTo>
                    <a:pt x="420" y="322"/>
                  </a:lnTo>
                  <a:lnTo>
                    <a:pt x="430" y="332"/>
                  </a:lnTo>
                  <a:lnTo>
                    <a:pt x="420" y="342"/>
                  </a:lnTo>
                  <a:lnTo>
                    <a:pt x="410" y="342"/>
                  </a:lnTo>
                  <a:lnTo>
                    <a:pt x="391" y="361"/>
                  </a:lnTo>
                  <a:lnTo>
                    <a:pt x="361" y="381"/>
                  </a:lnTo>
                  <a:lnTo>
                    <a:pt x="361" y="361"/>
                  </a:lnTo>
                  <a:lnTo>
                    <a:pt x="361" y="351"/>
                  </a:lnTo>
                  <a:lnTo>
                    <a:pt x="361" y="342"/>
                  </a:lnTo>
                  <a:lnTo>
                    <a:pt x="352" y="342"/>
                  </a:lnTo>
                  <a:lnTo>
                    <a:pt x="342" y="322"/>
                  </a:lnTo>
                  <a:lnTo>
                    <a:pt x="332" y="322"/>
                  </a:lnTo>
                  <a:lnTo>
                    <a:pt x="322" y="332"/>
                  </a:lnTo>
                  <a:lnTo>
                    <a:pt x="303" y="332"/>
                  </a:lnTo>
                  <a:lnTo>
                    <a:pt x="293" y="332"/>
                  </a:lnTo>
                  <a:lnTo>
                    <a:pt x="293" y="312"/>
                  </a:lnTo>
                  <a:lnTo>
                    <a:pt x="274" y="303"/>
                  </a:lnTo>
                  <a:lnTo>
                    <a:pt x="235" y="293"/>
                  </a:lnTo>
                  <a:lnTo>
                    <a:pt x="235" y="273"/>
                  </a:lnTo>
                  <a:lnTo>
                    <a:pt x="235" y="254"/>
                  </a:lnTo>
                  <a:lnTo>
                    <a:pt x="215" y="254"/>
                  </a:lnTo>
                  <a:lnTo>
                    <a:pt x="195" y="264"/>
                  </a:lnTo>
                  <a:lnTo>
                    <a:pt x="176" y="254"/>
                  </a:lnTo>
                  <a:lnTo>
                    <a:pt x="166" y="264"/>
                  </a:lnTo>
                  <a:lnTo>
                    <a:pt x="156" y="254"/>
                  </a:lnTo>
                  <a:lnTo>
                    <a:pt x="147" y="244"/>
                  </a:lnTo>
                  <a:lnTo>
                    <a:pt x="147" y="225"/>
                  </a:lnTo>
                  <a:lnTo>
                    <a:pt x="147" y="205"/>
                  </a:lnTo>
                  <a:lnTo>
                    <a:pt x="147" y="195"/>
                  </a:lnTo>
                  <a:lnTo>
                    <a:pt x="117" y="205"/>
                  </a:lnTo>
                  <a:lnTo>
                    <a:pt x="88" y="195"/>
                  </a:lnTo>
                  <a:lnTo>
                    <a:pt x="59" y="176"/>
                  </a:lnTo>
                  <a:lnTo>
                    <a:pt x="30" y="147"/>
                  </a:lnTo>
                  <a:lnTo>
                    <a:pt x="10" y="108"/>
                  </a:lnTo>
                  <a:lnTo>
                    <a:pt x="0" y="98"/>
                  </a:lnTo>
                  <a:lnTo>
                    <a:pt x="30" y="88"/>
                  </a:lnTo>
                  <a:lnTo>
                    <a:pt x="49" y="78"/>
                  </a:lnTo>
                  <a:lnTo>
                    <a:pt x="59" y="69"/>
                  </a:lnTo>
                  <a:lnTo>
                    <a:pt x="69" y="49"/>
                  </a:lnTo>
                  <a:lnTo>
                    <a:pt x="78" y="49"/>
                  </a:lnTo>
                  <a:lnTo>
                    <a:pt x="8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8" y="0"/>
                  </a:lnTo>
                  <a:lnTo>
                    <a:pt x="108" y="0"/>
                  </a:lnTo>
                  <a:lnTo>
                    <a:pt x="127" y="0"/>
                  </a:lnTo>
                  <a:lnTo>
                    <a:pt x="137" y="0"/>
                  </a:lnTo>
                  <a:lnTo>
                    <a:pt x="147" y="10"/>
                  </a:lnTo>
                  <a:lnTo>
                    <a:pt x="147" y="20"/>
                  </a:lnTo>
                  <a:lnTo>
                    <a:pt x="156" y="10"/>
                  </a:lnTo>
                  <a:lnTo>
                    <a:pt x="166" y="10"/>
                  </a:lnTo>
                  <a:lnTo>
                    <a:pt x="186" y="30"/>
                  </a:lnTo>
                  <a:lnTo>
                    <a:pt x="205" y="30"/>
                  </a:lnTo>
                  <a:lnTo>
                    <a:pt x="205" y="39"/>
                  </a:lnTo>
                  <a:lnTo>
                    <a:pt x="205" y="49"/>
                  </a:lnTo>
                  <a:lnTo>
                    <a:pt x="235" y="49"/>
                  </a:lnTo>
                  <a:lnTo>
                    <a:pt x="244" y="59"/>
                  </a:lnTo>
                  <a:lnTo>
                    <a:pt x="244" y="78"/>
                  </a:lnTo>
                  <a:lnTo>
                    <a:pt x="264" y="69"/>
                  </a:lnTo>
                  <a:lnTo>
                    <a:pt x="293" y="69"/>
                  </a:lnTo>
                  <a:lnTo>
                    <a:pt x="313" y="69"/>
                  </a:lnTo>
                  <a:lnTo>
                    <a:pt x="322" y="59"/>
                  </a:lnTo>
                  <a:lnTo>
                    <a:pt x="332" y="49"/>
                  </a:lnTo>
                  <a:lnTo>
                    <a:pt x="342" y="59"/>
                  </a:lnTo>
                  <a:lnTo>
                    <a:pt x="352" y="98"/>
                  </a:lnTo>
                  <a:lnTo>
                    <a:pt x="361" y="108"/>
                  </a:lnTo>
                  <a:lnTo>
                    <a:pt x="371" y="108"/>
                  </a:lnTo>
                  <a:lnTo>
                    <a:pt x="391" y="117"/>
                  </a:lnTo>
                  <a:lnTo>
                    <a:pt x="400" y="117"/>
                  </a:lnTo>
                  <a:lnTo>
                    <a:pt x="430" y="147"/>
                  </a:lnTo>
                  <a:lnTo>
                    <a:pt x="459" y="166"/>
                  </a:lnTo>
                  <a:lnTo>
                    <a:pt x="469" y="166"/>
                  </a:lnTo>
                  <a:lnTo>
                    <a:pt x="488" y="166"/>
                  </a:lnTo>
                  <a:lnTo>
                    <a:pt x="498" y="166"/>
                  </a:lnTo>
                  <a:lnTo>
                    <a:pt x="517" y="186"/>
                  </a:lnTo>
                  <a:lnTo>
                    <a:pt x="508" y="205"/>
                  </a:lnTo>
                  <a:lnTo>
                    <a:pt x="508" y="215"/>
                  </a:lnTo>
                  <a:lnTo>
                    <a:pt x="488" y="225"/>
                  </a:lnTo>
                  <a:lnTo>
                    <a:pt x="469" y="23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Freeform 285"/>
            <p:cNvSpPr>
              <a:spLocks/>
            </p:cNvSpPr>
            <p:nvPr/>
          </p:nvSpPr>
          <p:spPr bwMode="auto">
            <a:xfrm>
              <a:off x="5616" y="905"/>
              <a:ext cx="2196" cy="2374"/>
            </a:xfrm>
            <a:custGeom>
              <a:avLst/>
              <a:gdLst>
                <a:gd name="T0" fmla="*/ 878 w 2195"/>
                <a:gd name="T1" fmla="*/ 2186 h 2371"/>
                <a:gd name="T2" fmla="*/ 761 w 2195"/>
                <a:gd name="T3" fmla="*/ 2098 h 2371"/>
                <a:gd name="T4" fmla="*/ 615 w 2195"/>
                <a:gd name="T5" fmla="*/ 2059 h 2371"/>
                <a:gd name="T6" fmla="*/ 488 w 2195"/>
                <a:gd name="T7" fmla="*/ 2186 h 2371"/>
                <a:gd name="T8" fmla="*/ 303 w 2195"/>
                <a:gd name="T9" fmla="*/ 2205 h 2371"/>
                <a:gd name="T10" fmla="*/ 293 w 2195"/>
                <a:gd name="T11" fmla="*/ 1991 h 2371"/>
                <a:gd name="T12" fmla="*/ 254 w 2195"/>
                <a:gd name="T13" fmla="*/ 1844 h 2371"/>
                <a:gd name="T14" fmla="*/ 186 w 2195"/>
                <a:gd name="T15" fmla="*/ 1688 h 2371"/>
                <a:gd name="T16" fmla="*/ 30 w 2195"/>
                <a:gd name="T17" fmla="*/ 1649 h 2371"/>
                <a:gd name="T18" fmla="*/ 39 w 2195"/>
                <a:gd name="T19" fmla="*/ 1415 h 2371"/>
                <a:gd name="T20" fmla="*/ 30 w 2195"/>
                <a:gd name="T21" fmla="*/ 1152 h 2371"/>
                <a:gd name="T22" fmla="*/ 127 w 2195"/>
                <a:gd name="T23" fmla="*/ 1015 h 2371"/>
                <a:gd name="T24" fmla="*/ 196 w 2195"/>
                <a:gd name="T25" fmla="*/ 839 h 2371"/>
                <a:gd name="T26" fmla="*/ 117 w 2195"/>
                <a:gd name="T27" fmla="*/ 605 h 2371"/>
                <a:gd name="T28" fmla="*/ 205 w 2195"/>
                <a:gd name="T29" fmla="*/ 596 h 2371"/>
                <a:gd name="T30" fmla="*/ 303 w 2195"/>
                <a:gd name="T31" fmla="*/ 566 h 2371"/>
                <a:gd name="T32" fmla="*/ 517 w 2195"/>
                <a:gd name="T33" fmla="*/ 586 h 2371"/>
                <a:gd name="T34" fmla="*/ 547 w 2195"/>
                <a:gd name="T35" fmla="*/ 488 h 2371"/>
                <a:gd name="T36" fmla="*/ 654 w 2195"/>
                <a:gd name="T37" fmla="*/ 478 h 2371"/>
                <a:gd name="T38" fmla="*/ 752 w 2195"/>
                <a:gd name="T39" fmla="*/ 488 h 2371"/>
                <a:gd name="T40" fmla="*/ 781 w 2195"/>
                <a:gd name="T41" fmla="*/ 537 h 2371"/>
                <a:gd name="T42" fmla="*/ 752 w 2195"/>
                <a:gd name="T43" fmla="*/ 576 h 2371"/>
                <a:gd name="T44" fmla="*/ 810 w 2195"/>
                <a:gd name="T45" fmla="*/ 596 h 2371"/>
                <a:gd name="T46" fmla="*/ 869 w 2195"/>
                <a:gd name="T47" fmla="*/ 674 h 2371"/>
                <a:gd name="T48" fmla="*/ 947 w 2195"/>
                <a:gd name="T49" fmla="*/ 674 h 2371"/>
                <a:gd name="T50" fmla="*/ 995 w 2195"/>
                <a:gd name="T51" fmla="*/ 576 h 2371"/>
                <a:gd name="T52" fmla="*/ 1132 w 2195"/>
                <a:gd name="T53" fmla="*/ 517 h 2371"/>
                <a:gd name="T54" fmla="*/ 1132 w 2195"/>
                <a:gd name="T55" fmla="*/ 508 h 2371"/>
                <a:gd name="T56" fmla="*/ 1190 w 2195"/>
                <a:gd name="T57" fmla="*/ 439 h 2371"/>
                <a:gd name="T58" fmla="*/ 1122 w 2195"/>
                <a:gd name="T59" fmla="*/ 400 h 2371"/>
                <a:gd name="T60" fmla="*/ 1122 w 2195"/>
                <a:gd name="T61" fmla="*/ 303 h 2371"/>
                <a:gd name="T62" fmla="*/ 1288 w 2195"/>
                <a:gd name="T63" fmla="*/ 254 h 2371"/>
                <a:gd name="T64" fmla="*/ 1347 w 2195"/>
                <a:gd name="T65" fmla="*/ 264 h 2371"/>
                <a:gd name="T66" fmla="*/ 1317 w 2195"/>
                <a:gd name="T67" fmla="*/ 303 h 2371"/>
                <a:gd name="T68" fmla="*/ 1464 w 2195"/>
                <a:gd name="T69" fmla="*/ 176 h 2371"/>
                <a:gd name="T70" fmla="*/ 1512 w 2195"/>
                <a:gd name="T71" fmla="*/ 196 h 2371"/>
                <a:gd name="T72" fmla="*/ 1639 w 2195"/>
                <a:gd name="T73" fmla="*/ 176 h 2371"/>
                <a:gd name="T74" fmla="*/ 1854 w 2195"/>
                <a:gd name="T75" fmla="*/ 30 h 2371"/>
                <a:gd name="T76" fmla="*/ 1981 w 2195"/>
                <a:gd name="T77" fmla="*/ 59 h 2371"/>
                <a:gd name="T78" fmla="*/ 2068 w 2195"/>
                <a:gd name="T79" fmla="*/ 49 h 2371"/>
                <a:gd name="T80" fmla="*/ 2029 w 2195"/>
                <a:gd name="T81" fmla="*/ 235 h 2371"/>
                <a:gd name="T82" fmla="*/ 2185 w 2195"/>
                <a:gd name="T83" fmla="*/ 371 h 2371"/>
                <a:gd name="T84" fmla="*/ 2068 w 2195"/>
                <a:gd name="T85" fmla="*/ 517 h 2371"/>
                <a:gd name="T86" fmla="*/ 2098 w 2195"/>
                <a:gd name="T87" fmla="*/ 674 h 2371"/>
                <a:gd name="T88" fmla="*/ 2068 w 2195"/>
                <a:gd name="T89" fmla="*/ 820 h 2371"/>
                <a:gd name="T90" fmla="*/ 2010 w 2195"/>
                <a:gd name="T91" fmla="*/ 869 h 2371"/>
                <a:gd name="T92" fmla="*/ 1951 w 2195"/>
                <a:gd name="T93" fmla="*/ 976 h 2371"/>
                <a:gd name="T94" fmla="*/ 2020 w 2195"/>
                <a:gd name="T95" fmla="*/ 1191 h 2371"/>
                <a:gd name="T96" fmla="*/ 1951 w 2195"/>
                <a:gd name="T97" fmla="*/ 1269 h 2371"/>
                <a:gd name="T98" fmla="*/ 1825 w 2195"/>
                <a:gd name="T99" fmla="*/ 1347 h 2371"/>
                <a:gd name="T100" fmla="*/ 1873 w 2195"/>
                <a:gd name="T101" fmla="*/ 1591 h 2371"/>
                <a:gd name="T102" fmla="*/ 1766 w 2195"/>
                <a:gd name="T103" fmla="*/ 1747 h 2371"/>
                <a:gd name="T104" fmla="*/ 1649 w 2195"/>
                <a:gd name="T105" fmla="*/ 1854 h 2371"/>
                <a:gd name="T106" fmla="*/ 1649 w 2195"/>
                <a:gd name="T107" fmla="*/ 1981 h 2371"/>
                <a:gd name="T108" fmla="*/ 1698 w 2195"/>
                <a:gd name="T109" fmla="*/ 2157 h 2371"/>
                <a:gd name="T110" fmla="*/ 1532 w 2195"/>
                <a:gd name="T111" fmla="*/ 2322 h 2371"/>
                <a:gd name="T112" fmla="*/ 1405 w 2195"/>
                <a:gd name="T113" fmla="*/ 2342 h 2371"/>
                <a:gd name="T114" fmla="*/ 1181 w 2195"/>
                <a:gd name="T115" fmla="*/ 2332 h 2371"/>
                <a:gd name="T116" fmla="*/ 995 w 2195"/>
                <a:gd name="T117" fmla="*/ 2352 h 23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95"/>
                <a:gd name="T178" fmla="*/ 0 h 2371"/>
                <a:gd name="T179" fmla="*/ 2195 w 2195"/>
                <a:gd name="T180" fmla="*/ 2371 h 23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95" h="2371">
                  <a:moveTo>
                    <a:pt x="937" y="2283"/>
                  </a:moveTo>
                  <a:lnTo>
                    <a:pt x="917" y="2303"/>
                  </a:lnTo>
                  <a:lnTo>
                    <a:pt x="908" y="2293"/>
                  </a:lnTo>
                  <a:lnTo>
                    <a:pt x="917" y="2283"/>
                  </a:lnTo>
                  <a:lnTo>
                    <a:pt x="917" y="2274"/>
                  </a:lnTo>
                  <a:lnTo>
                    <a:pt x="908" y="2274"/>
                  </a:lnTo>
                  <a:lnTo>
                    <a:pt x="908" y="2264"/>
                  </a:lnTo>
                  <a:lnTo>
                    <a:pt x="908" y="2244"/>
                  </a:lnTo>
                  <a:lnTo>
                    <a:pt x="898" y="2225"/>
                  </a:lnTo>
                  <a:lnTo>
                    <a:pt x="888" y="2205"/>
                  </a:lnTo>
                  <a:lnTo>
                    <a:pt x="888" y="2196"/>
                  </a:lnTo>
                  <a:lnTo>
                    <a:pt x="878" y="2186"/>
                  </a:lnTo>
                  <a:lnTo>
                    <a:pt x="859" y="2186"/>
                  </a:lnTo>
                  <a:lnTo>
                    <a:pt x="859" y="2166"/>
                  </a:lnTo>
                  <a:lnTo>
                    <a:pt x="859" y="2147"/>
                  </a:lnTo>
                  <a:lnTo>
                    <a:pt x="859" y="2127"/>
                  </a:lnTo>
                  <a:lnTo>
                    <a:pt x="839" y="2127"/>
                  </a:lnTo>
                  <a:lnTo>
                    <a:pt x="839" y="2108"/>
                  </a:lnTo>
                  <a:lnTo>
                    <a:pt x="830" y="2098"/>
                  </a:lnTo>
                  <a:lnTo>
                    <a:pt x="820" y="2108"/>
                  </a:lnTo>
                  <a:lnTo>
                    <a:pt x="791" y="2088"/>
                  </a:lnTo>
                  <a:lnTo>
                    <a:pt x="791" y="2098"/>
                  </a:lnTo>
                  <a:lnTo>
                    <a:pt x="781" y="2108"/>
                  </a:lnTo>
                  <a:lnTo>
                    <a:pt x="761" y="2098"/>
                  </a:lnTo>
                  <a:lnTo>
                    <a:pt x="761" y="2108"/>
                  </a:lnTo>
                  <a:lnTo>
                    <a:pt x="742" y="2118"/>
                  </a:lnTo>
                  <a:lnTo>
                    <a:pt x="732" y="2098"/>
                  </a:lnTo>
                  <a:lnTo>
                    <a:pt x="732" y="2079"/>
                  </a:lnTo>
                  <a:lnTo>
                    <a:pt x="732" y="2059"/>
                  </a:lnTo>
                  <a:lnTo>
                    <a:pt x="732" y="2049"/>
                  </a:lnTo>
                  <a:lnTo>
                    <a:pt x="703" y="2030"/>
                  </a:lnTo>
                  <a:lnTo>
                    <a:pt x="683" y="2030"/>
                  </a:lnTo>
                  <a:lnTo>
                    <a:pt x="644" y="2020"/>
                  </a:lnTo>
                  <a:lnTo>
                    <a:pt x="615" y="2040"/>
                  </a:lnTo>
                  <a:lnTo>
                    <a:pt x="615" y="2059"/>
                  </a:lnTo>
                  <a:lnTo>
                    <a:pt x="595" y="2079"/>
                  </a:lnTo>
                  <a:lnTo>
                    <a:pt x="586" y="2127"/>
                  </a:lnTo>
                  <a:lnTo>
                    <a:pt x="556" y="2157"/>
                  </a:lnTo>
                  <a:lnTo>
                    <a:pt x="547" y="2166"/>
                  </a:lnTo>
                  <a:lnTo>
                    <a:pt x="547" y="2205"/>
                  </a:lnTo>
                  <a:lnTo>
                    <a:pt x="527" y="2215"/>
                  </a:lnTo>
                  <a:lnTo>
                    <a:pt x="517" y="2225"/>
                  </a:lnTo>
                  <a:lnTo>
                    <a:pt x="508" y="2244"/>
                  </a:lnTo>
                  <a:lnTo>
                    <a:pt x="498" y="2225"/>
                  </a:lnTo>
                  <a:lnTo>
                    <a:pt x="498" y="2215"/>
                  </a:lnTo>
                  <a:lnTo>
                    <a:pt x="498" y="2186"/>
                  </a:lnTo>
                  <a:lnTo>
                    <a:pt x="488" y="2186"/>
                  </a:lnTo>
                  <a:lnTo>
                    <a:pt x="478" y="2166"/>
                  </a:lnTo>
                  <a:lnTo>
                    <a:pt x="459" y="2196"/>
                  </a:lnTo>
                  <a:lnTo>
                    <a:pt x="439" y="2215"/>
                  </a:lnTo>
                  <a:lnTo>
                    <a:pt x="420" y="2225"/>
                  </a:lnTo>
                  <a:lnTo>
                    <a:pt x="400" y="2225"/>
                  </a:lnTo>
                  <a:lnTo>
                    <a:pt x="381" y="2225"/>
                  </a:lnTo>
                  <a:lnTo>
                    <a:pt x="371" y="2244"/>
                  </a:lnTo>
                  <a:lnTo>
                    <a:pt x="361" y="2254"/>
                  </a:lnTo>
                  <a:lnTo>
                    <a:pt x="332" y="2254"/>
                  </a:lnTo>
                  <a:lnTo>
                    <a:pt x="313" y="2235"/>
                  </a:lnTo>
                  <a:lnTo>
                    <a:pt x="303" y="2225"/>
                  </a:lnTo>
                  <a:lnTo>
                    <a:pt x="303" y="2205"/>
                  </a:lnTo>
                  <a:lnTo>
                    <a:pt x="313" y="2176"/>
                  </a:lnTo>
                  <a:lnTo>
                    <a:pt x="313" y="2127"/>
                  </a:lnTo>
                  <a:lnTo>
                    <a:pt x="322" y="2069"/>
                  </a:lnTo>
                  <a:lnTo>
                    <a:pt x="332" y="2069"/>
                  </a:lnTo>
                  <a:lnTo>
                    <a:pt x="332" y="2059"/>
                  </a:lnTo>
                  <a:lnTo>
                    <a:pt x="332" y="2049"/>
                  </a:lnTo>
                  <a:lnTo>
                    <a:pt x="332" y="2040"/>
                  </a:lnTo>
                  <a:lnTo>
                    <a:pt x="342" y="2030"/>
                  </a:lnTo>
                  <a:lnTo>
                    <a:pt x="342" y="2020"/>
                  </a:lnTo>
                  <a:lnTo>
                    <a:pt x="332" y="2010"/>
                  </a:lnTo>
                  <a:lnTo>
                    <a:pt x="303" y="2001"/>
                  </a:lnTo>
                  <a:lnTo>
                    <a:pt x="293" y="1991"/>
                  </a:lnTo>
                  <a:lnTo>
                    <a:pt x="293" y="1971"/>
                  </a:lnTo>
                  <a:lnTo>
                    <a:pt x="293" y="1961"/>
                  </a:lnTo>
                  <a:lnTo>
                    <a:pt x="283" y="1961"/>
                  </a:lnTo>
                  <a:lnTo>
                    <a:pt x="283" y="1952"/>
                  </a:lnTo>
                  <a:lnTo>
                    <a:pt x="283" y="1932"/>
                  </a:lnTo>
                  <a:lnTo>
                    <a:pt x="283" y="1922"/>
                  </a:lnTo>
                  <a:lnTo>
                    <a:pt x="283" y="1874"/>
                  </a:lnTo>
                  <a:lnTo>
                    <a:pt x="274" y="1874"/>
                  </a:lnTo>
                  <a:lnTo>
                    <a:pt x="254" y="1874"/>
                  </a:lnTo>
                  <a:lnTo>
                    <a:pt x="244" y="1854"/>
                  </a:lnTo>
                  <a:lnTo>
                    <a:pt x="254" y="1844"/>
                  </a:lnTo>
                  <a:lnTo>
                    <a:pt x="264" y="1825"/>
                  </a:lnTo>
                  <a:lnTo>
                    <a:pt x="244" y="1786"/>
                  </a:lnTo>
                  <a:lnTo>
                    <a:pt x="225" y="1766"/>
                  </a:lnTo>
                  <a:lnTo>
                    <a:pt x="215" y="1757"/>
                  </a:lnTo>
                  <a:lnTo>
                    <a:pt x="186" y="1757"/>
                  </a:lnTo>
                  <a:lnTo>
                    <a:pt x="166" y="1747"/>
                  </a:lnTo>
                  <a:lnTo>
                    <a:pt x="166" y="1737"/>
                  </a:lnTo>
                  <a:lnTo>
                    <a:pt x="176" y="1727"/>
                  </a:lnTo>
                  <a:lnTo>
                    <a:pt x="186" y="1718"/>
                  </a:lnTo>
                  <a:lnTo>
                    <a:pt x="196" y="1718"/>
                  </a:lnTo>
                  <a:lnTo>
                    <a:pt x="196" y="1708"/>
                  </a:lnTo>
                  <a:lnTo>
                    <a:pt x="186" y="1688"/>
                  </a:lnTo>
                  <a:lnTo>
                    <a:pt x="176" y="1669"/>
                  </a:lnTo>
                  <a:lnTo>
                    <a:pt x="166" y="1669"/>
                  </a:lnTo>
                  <a:lnTo>
                    <a:pt x="166" y="1679"/>
                  </a:lnTo>
                  <a:lnTo>
                    <a:pt x="127" y="1669"/>
                  </a:lnTo>
                  <a:lnTo>
                    <a:pt x="117" y="1679"/>
                  </a:lnTo>
                  <a:lnTo>
                    <a:pt x="88" y="1669"/>
                  </a:lnTo>
                  <a:lnTo>
                    <a:pt x="78" y="1659"/>
                  </a:lnTo>
                  <a:lnTo>
                    <a:pt x="69" y="1659"/>
                  </a:lnTo>
                  <a:lnTo>
                    <a:pt x="69" y="1669"/>
                  </a:lnTo>
                  <a:lnTo>
                    <a:pt x="49" y="1659"/>
                  </a:lnTo>
                  <a:lnTo>
                    <a:pt x="30" y="1659"/>
                  </a:lnTo>
                  <a:lnTo>
                    <a:pt x="30" y="1649"/>
                  </a:lnTo>
                  <a:lnTo>
                    <a:pt x="39" y="1620"/>
                  </a:lnTo>
                  <a:lnTo>
                    <a:pt x="39" y="1591"/>
                  </a:lnTo>
                  <a:lnTo>
                    <a:pt x="59" y="1571"/>
                  </a:lnTo>
                  <a:lnTo>
                    <a:pt x="78" y="1552"/>
                  </a:lnTo>
                  <a:lnTo>
                    <a:pt x="78" y="1542"/>
                  </a:lnTo>
                  <a:lnTo>
                    <a:pt x="69" y="1532"/>
                  </a:lnTo>
                  <a:lnTo>
                    <a:pt x="59" y="1513"/>
                  </a:lnTo>
                  <a:lnTo>
                    <a:pt x="59" y="1483"/>
                  </a:lnTo>
                  <a:lnTo>
                    <a:pt x="49" y="1464"/>
                  </a:lnTo>
                  <a:lnTo>
                    <a:pt x="30" y="1454"/>
                  </a:lnTo>
                  <a:lnTo>
                    <a:pt x="30" y="1435"/>
                  </a:lnTo>
                  <a:lnTo>
                    <a:pt x="39" y="1415"/>
                  </a:lnTo>
                  <a:lnTo>
                    <a:pt x="30" y="1396"/>
                  </a:lnTo>
                  <a:lnTo>
                    <a:pt x="20" y="1386"/>
                  </a:lnTo>
                  <a:lnTo>
                    <a:pt x="0" y="1386"/>
                  </a:lnTo>
                  <a:lnTo>
                    <a:pt x="10" y="1366"/>
                  </a:lnTo>
                  <a:lnTo>
                    <a:pt x="20" y="1357"/>
                  </a:lnTo>
                  <a:lnTo>
                    <a:pt x="30" y="1347"/>
                  </a:lnTo>
                  <a:lnTo>
                    <a:pt x="39" y="1347"/>
                  </a:lnTo>
                  <a:lnTo>
                    <a:pt x="49" y="1327"/>
                  </a:lnTo>
                  <a:lnTo>
                    <a:pt x="39" y="1269"/>
                  </a:lnTo>
                  <a:lnTo>
                    <a:pt x="39" y="1220"/>
                  </a:lnTo>
                  <a:lnTo>
                    <a:pt x="30" y="1152"/>
                  </a:lnTo>
                  <a:lnTo>
                    <a:pt x="20" y="1122"/>
                  </a:lnTo>
                  <a:lnTo>
                    <a:pt x="0" y="1103"/>
                  </a:lnTo>
                  <a:lnTo>
                    <a:pt x="10" y="1083"/>
                  </a:lnTo>
                  <a:lnTo>
                    <a:pt x="30" y="1083"/>
                  </a:lnTo>
                  <a:lnTo>
                    <a:pt x="49" y="1074"/>
                  </a:lnTo>
                  <a:lnTo>
                    <a:pt x="69" y="1054"/>
                  </a:lnTo>
                  <a:lnTo>
                    <a:pt x="78" y="1044"/>
                  </a:lnTo>
                  <a:lnTo>
                    <a:pt x="88" y="1044"/>
                  </a:lnTo>
                  <a:lnTo>
                    <a:pt x="98" y="1044"/>
                  </a:lnTo>
                  <a:lnTo>
                    <a:pt x="117" y="1044"/>
                  </a:lnTo>
                  <a:lnTo>
                    <a:pt x="127" y="1025"/>
                  </a:lnTo>
                  <a:lnTo>
                    <a:pt x="127" y="1015"/>
                  </a:lnTo>
                  <a:lnTo>
                    <a:pt x="127" y="996"/>
                  </a:lnTo>
                  <a:lnTo>
                    <a:pt x="137" y="986"/>
                  </a:lnTo>
                  <a:lnTo>
                    <a:pt x="137" y="966"/>
                  </a:lnTo>
                  <a:lnTo>
                    <a:pt x="157" y="966"/>
                  </a:lnTo>
                  <a:lnTo>
                    <a:pt x="157" y="937"/>
                  </a:lnTo>
                  <a:lnTo>
                    <a:pt x="186" y="908"/>
                  </a:lnTo>
                  <a:lnTo>
                    <a:pt x="205" y="888"/>
                  </a:lnTo>
                  <a:lnTo>
                    <a:pt x="225" y="878"/>
                  </a:lnTo>
                  <a:lnTo>
                    <a:pt x="225" y="869"/>
                  </a:lnTo>
                  <a:lnTo>
                    <a:pt x="225" y="849"/>
                  </a:lnTo>
                  <a:lnTo>
                    <a:pt x="196" y="839"/>
                  </a:lnTo>
                  <a:lnTo>
                    <a:pt x="196" y="820"/>
                  </a:lnTo>
                  <a:lnTo>
                    <a:pt x="196" y="791"/>
                  </a:lnTo>
                  <a:lnTo>
                    <a:pt x="166" y="761"/>
                  </a:lnTo>
                  <a:lnTo>
                    <a:pt x="147" y="742"/>
                  </a:lnTo>
                  <a:lnTo>
                    <a:pt x="137" y="742"/>
                  </a:lnTo>
                  <a:lnTo>
                    <a:pt x="137" y="722"/>
                  </a:lnTo>
                  <a:lnTo>
                    <a:pt x="108" y="703"/>
                  </a:lnTo>
                  <a:lnTo>
                    <a:pt x="117" y="674"/>
                  </a:lnTo>
                  <a:lnTo>
                    <a:pt x="108" y="654"/>
                  </a:lnTo>
                  <a:lnTo>
                    <a:pt x="88" y="635"/>
                  </a:lnTo>
                  <a:lnTo>
                    <a:pt x="98" y="625"/>
                  </a:lnTo>
                  <a:lnTo>
                    <a:pt x="117" y="605"/>
                  </a:lnTo>
                  <a:lnTo>
                    <a:pt x="117" y="596"/>
                  </a:lnTo>
                  <a:lnTo>
                    <a:pt x="117" y="586"/>
                  </a:lnTo>
                  <a:lnTo>
                    <a:pt x="127" y="576"/>
                  </a:lnTo>
                  <a:lnTo>
                    <a:pt x="137" y="586"/>
                  </a:lnTo>
                  <a:lnTo>
                    <a:pt x="166" y="586"/>
                  </a:lnTo>
                  <a:lnTo>
                    <a:pt x="186" y="576"/>
                  </a:lnTo>
                  <a:lnTo>
                    <a:pt x="176" y="566"/>
                  </a:lnTo>
                  <a:lnTo>
                    <a:pt x="176" y="557"/>
                  </a:lnTo>
                  <a:lnTo>
                    <a:pt x="186" y="557"/>
                  </a:lnTo>
                  <a:lnTo>
                    <a:pt x="196" y="566"/>
                  </a:lnTo>
                  <a:lnTo>
                    <a:pt x="205" y="596"/>
                  </a:lnTo>
                  <a:lnTo>
                    <a:pt x="205" y="615"/>
                  </a:lnTo>
                  <a:lnTo>
                    <a:pt x="215" y="625"/>
                  </a:lnTo>
                  <a:lnTo>
                    <a:pt x="215" y="635"/>
                  </a:lnTo>
                  <a:lnTo>
                    <a:pt x="225" y="625"/>
                  </a:lnTo>
                  <a:lnTo>
                    <a:pt x="235" y="615"/>
                  </a:lnTo>
                  <a:lnTo>
                    <a:pt x="225" y="615"/>
                  </a:lnTo>
                  <a:lnTo>
                    <a:pt x="215" y="605"/>
                  </a:lnTo>
                  <a:lnTo>
                    <a:pt x="215" y="596"/>
                  </a:lnTo>
                  <a:lnTo>
                    <a:pt x="235" y="596"/>
                  </a:lnTo>
                  <a:lnTo>
                    <a:pt x="254" y="586"/>
                  </a:lnTo>
                  <a:lnTo>
                    <a:pt x="274" y="566"/>
                  </a:lnTo>
                  <a:lnTo>
                    <a:pt x="303" y="566"/>
                  </a:lnTo>
                  <a:lnTo>
                    <a:pt x="361" y="557"/>
                  </a:lnTo>
                  <a:lnTo>
                    <a:pt x="381" y="557"/>
                  </a:lnTo>
                  <a:lnTo>
                    <a:pt x="400" y="566"/>
                  </a:lnTo>
                  <a:lnTo>
                    <a:pt x="391" y="566"/>
                  </a:lnTo>
                  <a:lnTo>
                    <a:pt x="381" y="566"/>
                  </a:lnTo>
                  <a:lnTo>
                    <a:pt x="381" y="576"/>
                  </a:lnTo>
                  <a:lnTo>
                    <a:pt x="381" y="596"/>
                  </a:lnTo>
                  <a:lnTo>
                    <a:pt x="430" y="605"/>
                  </a:lnTo>
                  <a:lnTo>
                    <a:pt x="449" y="605"/>
                  </a:lnTo>
                  <a:lnTo>
                    <a:pt x="459" y="596"/>
                  </a:lnTo>
                  <a:lnTo>
                    <a:pt x="498" y="596"/>
                  </a:lnTo>
                  <a:lnTo>
                    <a:pt x="517" y="586"/>
                  </a:lnTo>
                  <a:lnTo>
                    <a:pt x="537" y="586"/>
                  </a:lnTo>
                  <a:lnTo>
                    <a:pt x="537" y="576"/>
                  </a:lnTo>
                  <a:lnTo>
                    <a:pt x="547" y="576"/>
                  </a:lnTo>
                  <a:lnTo>
                    <a:pt x="566" y="576"/>
                  </a:lnTo>
                  <a:lnTo>
                    <a:pt x="566" y="566"/>
                  </a:lnTo>
                  <a:lnTo>
                    <a:pt x="566" y="547"/>
                  </a:lnTo>
                  <a:lnTo>
                    <a:pt x="576" y="537"/>
                  </a:lnTo>
                  <a:lnTo>
                    <a:pt x="556" y="537"/>
                  </a:lnTo>
                  <a:lnTo>
                    <a:pt x="547" y="527"/>
                  </a:lnTo>
                  <a:lnTo>
                    <a:pt x="547" y="517"/>
                  </a:lnTo>
                  <a:lnTo>
                    <a:pt x="537" y="508"/>
                  </a:lnTo>
                  <a:lnTo>
                    <a:pt x="547" y="488"/>
                  </a:lnTo>
                  <a:lnTo>
                    <a:pt x="547" y="498"/>
                  </a:lnTo>
                  <a:lnTo>
                    <a:pt x="566" y="498"/>
                  </a:lnTo>
                  <a:lnTo>
                    <a:pt x="556" y="478"/>
                  </a:lnTo>
                  <a:lnTo>
                    <a:pt x="566" y="469"/>
                  </a:lnTo>
                  <a:lnTo>
                    <a:pt x="586" y="478"/>
                  </a:lnTo>
                  <a:lnTo>
                    <a:pt x="595" y="478"/>
                  </a:lnTo>
                  <a:lnTo>
                    <a:pt x="605" y="488"/>
                  </a:lnTo>
                  <a:lnTo>
                    <a:pt x="625" y="488"/>
                  </a:lnTo>
                  <a:lnTo>
                    <a:pt x="634" y="478"/>
                  </a:lnTo>
                  <a:lnTo>
                    <a:pt x="644" y="488"/>
                  </a:lnTo>
                  <a:lnTo>
                    <a:pt x="654" y="478"/>
                  </a:lnTo>
                  <a:lnTo>
                    <a:pt x="664" y="469"/>
                  </a:lnTo>
                  <a:lnTo>
                    <a:pt x="673" y="459"/>
                  </a:lnTo>
                  <a:lnTo>
                    <a:pt x="683" y="459"/>
                  </a:lnTo>
                  <a:lnTo>
                    <a:pt x="693" y="459"/>
                  </a:lnTo>
                  <a:lnTo>
                    <a:pt x="703" y="459"/>
                  </a:lnTo>
                  <a:lnTo>
                    <a:pt x="713" y="459"/>
                  </a:lnTo>
                  <a:lnTo>
                    <a:pt x="722" y="478"/>
                  </a:lnTo>
                  <a:lnTo>
                    <a:pt x="732" y="469"/>
                  </a:lnTo>
                  <a:lnTo>
                    <a:pt x="732" y="478"/>
                  </a:lnTo>
                  <a:lnTo>
                    <a:pt x="742" y="478"/>
                  </a:lnTo>
                  <a:lnTo>
                    <a:pt x="752" y="488"/>
                  </a:lnTo>
                  <a:lnTo>
                    <a:pt x="752" y="498"/>
                  </a:lnTo>
                  <a:lnTo>
                    <a:pt x="761" y="498"/>
                  </a:lnTo>
                  <a:lnTo>
                    <a:pt x="761" y="508"/>
                  </a:lnTo>
                  <a:lnTo>
                    <a:pt x="761" y="517"/>
                  </a:lnTo>
                  <a:lnTo>
                    <a:pt x="771" y="517"/>
                  </a:lnTo>
                  <a:lnTo>
                    <a:pt x="771" y="527"/>
                  </a:lnTo>
                  <a:lnTo>
                    <a:pt x="761" y="527"/>
                  </a:lnTo>
                  <a:lnTo>
                    <a:pt x="761" y="537"/>
                  </a:lnTo>
                  <a:lnTo>
                    <a:pt x="761" y="547"/>
                  </a:lnTo>
                  <a:lnTo>
                    <a:pt x="771" y="547"/>
                  </a:lnTo>
                  <a:lnTo>
                    <a:pt x="781" y="537"/>
                  </a:lnTo>
                  <a:lnTo>
                    <a:pt x="791" y="547"/>
                  </a:lnTo>
                  <a:lnTo>
                    <a:pt x="800" y="557"/>
                  </a:lnTo>
                  <a:lnTo>
                    <a:pt x="791" y="557"/>
                  </a:lnTo>
                  <a:lnTo>
                    <a:pt x="800" y="557"/>
                  </a:lnTo>
                  <a:lnTo>
                    <a:pt x="800" y="566"/>
                  </a:lnTo>
                  <a:lnTo>
                    <a:pt x="810" y="576"/>
                  </a:lnTo>
                  <a:lnTo>
                    <a:pt x="800" y="576"/>
                  </a:lnTo>
                  <a:lnTo>
                    <a:pt x="791" y="586"/>
                  </a:lnTo>
                  <a:lnTo>
                    <a:pt x="781" y="586"/>
                  </a:lnTo>
                  <a:lnTo>
                    <a:pt x="771" y="576"/>
                  </a:lnTo>
                  <a:lnTo>
                    <a:pt x="761" y="576"/>
                  </a:lnTo>
                  <a:lnTo>
                    <a:pt x="752" y="576"/>
                  </a:lnTo>
                  <a:lnTo>
                    <a:pt x="742" y="576"/>
                  </a:lnTo>
                  <a:lnTo>
                    <a:pt x="752" y="586"/>
                  </a:lnTo>
                  <a:lnTo>
                    <a:pt x="771" y="586"/>
                  </a:lnTo>
                  <a:lnTo>
                    <a:pt x="781" y="605"/>
                  </a:lnTo>
                  <a:lnTo>
                    <a:pt x="781" y="615"/>
                  </a:lnTo>
                  <a:lnTo>
                    <a:pt x="791" y="615"/>
                  </a:lnTo>
                  <a:lnTo>
                    <a:pt x="810" y="615"/>
                  </a:lnTo>
                  <a:lnTo>
                    <a:pt x="800" y="596"/>
                  </a:lnTo>
                  <a:lnTo>
                    <a:pt x="810" y="596"/>
                  </a:lnTo>
                  <a:lnTo>
                    <a:pt x="820" y="605"/>
                  </a:lnTo>
                  <a:lnTo>
                    <a:pt x="830" y="605"/>
                  </a:lnTo>
                  <a:lnTo>
                    <a:pt x="830" y="615"/>
                  </a:lnTo>
                  <a:lnTo>
                    <a:pt x="820" y="615"/>
                  </a:lnTo>
                  <a:lnTo>
                    <a:pt x="820" y="625"/>
                  </a:lnTo>
                  <a:lnTo>
                    <a:pt x="820" y="635"/>
                  </a:lnTo>
                  <a:lnTo>
                    <a:pt x="830" y="635"/>
                  </a:lnTo>
                  <a:lnTo>
                    <a:pt x="849" y="654"/>
                  </a:lnTo>
                  <a:lnTo>
                    <a:pt x="859" y="664"/>
                  </a:lnTo>
                  <a:lnTo>
                    <a:pt x="869" y="674"/>
                  </a:lnTo>
                  <a:lnTo>
                    <a:pt x="878" y="674"/>
                  </a:lnTo>
                  <a:lnTo>
                    <a:pt x="888" y="674"/>
                  </a:lnTo>
                  <a:lnTo>
                    <a:pt x="888" y="683"/>
                  </a:lnTo>
                  <a:lnTo>
                    <a:pt x="898" y="683"/>
                  </a:lnTo>
                  <a:lnTo>
                    <a:pt x="908" y="683"/>
                  </a:lnTo>
                  <a:lnTo>
                    <a:pt x="917" y="693"/>
                  </a:lnTo>
                  <a:lnTo>
                    <a:pt x="917" y="674"/>
                  </a:lnTo>
                  <a:lnTo>
                    <a:pt x="927" y="683"/>
                  </a:lnTo>
                  <a:lnTo>
                    <a:pt x="927" y="693"/>
                  </a:lnTo>
                  <a:lnTo>
                    <a:pt x="947" y="693"/>
                  </a:lnTo>
                  <a:lnTo>
                    <a:pt x="947" y="674"/>
                  </a:lnTo>
                  <a:lnTo>
                    <a:pt x="947" y="644"/>
                  </a:lnTo>
                  <a:lnTo>
                    <a:pt x="937" y="625"/>
                  </a:lnTo>
                  <a:lnTo>
                    <a:pt x="937" y="615"/>
                  </a:lnTo>
                  <a:lnTo>
                    <a:pt x="937" y="605"/>
                  </a:lnTo>
                  <a:lnTo>
                    <a:pt x="937" y="576"/>
                  </a:lnTo>
                  <a:lnTo>
                    <a:pt x="927" y="566"/>
                  </a:lnTo>
                  <a:lnTo>
                    <a:pt x="927" y="547"/>
                  </a:lnTo>
                  <a:lnTo>
                    <a:pt x="937" y="547"/>
                  </a:lnTo>
                  <a:lnTo>
                    <a:pt x="947" y="557"/>
                  </a:lnTo>
                  <a:lnTo>
                    <a:pt x="956" y="566"/>
                  </a:lnTo>
                  <a:lnTo>
                    <a:pt x="966" y="566"/>
                  </a:lnTo>
                  <a:lnTo>
                    <a:pt x="995" y="576"/>
                  </a:lnTo>
                  <a:lnTo>
                    <a:pt x="1015" y="566"/>
                  </a:lnTo>
                  <a:lnTo>
                    <a:pt x="1025" y="557"/>
                  </a:lnTo>
                  <a:lnTo>
                    <a:pt x="1025" y="537"/>
                  </a:lnTo>
                  <a:lnTo>
                    <a:pt x="1034" y="537"/>
                  </a:lnTo>
                  <a:lnTo>
                    <a:pt x="1034" y="517"/>
                  </a:lnTo>
                  <a:lnTo>
                    <a:pt x="1054" y="508"/>
                  </a:lnTo>
                  <a:lnTo>
                    <a:pt x="1073" y="508"/>
                  </a:lnTo>
                  <a:lnTo>
                    <a:pt x="1083" y="517"/>
                  </a:lnTo>
                  <a:lnTo>
                    <a:pt x="1093" y="508"/>
                  </a:lnTo>
                  <a:lnTo>
                    <a:pt x="1103" y="517"/>
                  </a:lnTo>
                  <a:lnTo>
                    <a:pt x="1122" y="517"/>
                  </a:lnTo>
                  <a:lnTo>
                    <a:pt x="1132" y="517"/>
                  </a:lnTo>
                  <a:lnTo>
                    <a:pt x="1132" y="527"/>
                  </a:lnTo>
                  <a:lnTo>
                    <a:pt x="1142" y="527"/>
                  </a:lnTo>
                  <a:lnTo>
                    <a:pt x="1151" y="517"/>
                  </a:lnTo>
                  <a:lnTo>
                    <a:pt x="1142" y="517"/>
                  </a:lnTo>
                  <a:lnTo>
                    <a:pt x="1151" y="508"/>
                  </a:lnTo>
                  <a:lnTo>
                    <a:pt x="1171" y="508"/>
                  </a:lnTo>
                  <a:lnTo>
                    <a:pt x="1181" y="517"/>
                  </a:lnTo>
                  <a:lnTo>
                    <a:pt x="1181" y="508"/>
                  </a:lnTo>
                  <a:lnTo>
                    <a:pt x="1181" y="498"/>
                  </a:lnTo>
                  <a:lnTo>
                    <a:pt x="1161" y="498"/>
                  </a:lnTo>
                  <a:lnTo>
                    <a:pt x="1151" y="498"/>
                  </a:lnTo>
                  <a:lnTo>
                    <a:pt x="1132" y="508"/>
                  </a:lnTo>
                  <a:lnTo>
                    <a:pt x="1132" y="498"/>
                  </a:lnTo>
                  <a:lnTo>
                    <a:pt x="1132" y="478"/>
                  </a:lnTo>
                  <a:lnTo>
                    <a:pt x="1132" y="469"/>
                  </a:lnTo>
                  <a:lnTo>
                    <a:pt x="1142" y="469"/>
                  </a:lnTo>
                  <a:lnTo>
                    <a:pt x="1142" y="459"/>
                  </a:lnTo>
                  <a:lnTo>
                    <a:pt x="1151" y="459"/>
                  </a:lnTo>
                  <a:lnTo>
                    <a:pt x="1171" y="469"/>
                  </a:lnTo>
                  <a:lnTo>
                    <a:pt x="1181" y="459"/>
                  </a:lnTo>
                  <a:lnTo>
                    <a:pt x="1190" y="449"/>
                  </a:lnTo>
                  <a:lnTo>
                    <a:pt x="1190" y="439"/>
                  </a:lnTo>
                  <a:lnTo>
                    <a:pt x="1181" y="439"/>
                  </a:lnTo>
                  <a:lnTo>
                    <a:pt x="1161" y="430"/>
                  </a:lnTo>
                  <a:lnTo>
                    <a:pt x="1151" y="420"/>
                  </a:lnTo>
                  <a:lnTo>
                    <a:pt x="1142" y="420"/>
                  </a:lnTo>
                  <a:lnTo>
                    <a:pt x="1142" y="410"/>
                  </a:lnTo>
                  <a:lnTo>
                    <a:pt x="1142" y="400"/>
                  </a:lnTo>
                  <a:lnTo>
                    <a:pt x="1142" y="391"/>
                  </a:lnTo>
                  <a:lnTo>
                    <a:pt x="1151" y="381"/>
                  </a:lnTo>
                  <a:lnTo>
                    <a:pt x="1142" y="381"/>
                  </a:lnTo>
                  <a:lnTo>
                    <a:pt x="1132" y="381"/>
                  </a:lnTo>
                  <a:lnTo>
                    <a:pt x="1132" y="391"/>
                  </a:lnTo>
                  <a:lnTo>
                    <a:pt x="1122" y="400"/>
                  </a:lnTo>
                  <a:lnTo>
                    <a:pt x="1112" y="400"/>
                  </a:lnTo>
                  <a:lnTo>
                    <a:pt x="1112" y="391"/>
                  </a:lnTo>
                  <a:lnTo>
                    <a:pt x="1112" y="371"/>
                  </a:lnTo>
                  <a:lnTo>
                    <a:pt x="1112" y="361"/>
                  </a:lnTo>
                  <a:lnTo>
                    <a:pt x="1112" y="352"/>
                  </a:lnTo>
                  <a:lnTo>
                    <a:pt x="1132" y="352"/>
                  </a:lnTo>
                  <a:lnTo>
                    <a:pt x="1132" y="342"/>
                  </a:lnTo>
                  <a:lnTo>
                    <a:pt x="1151" y="332"/>
                  </a:lnTo>
                  <a:lnTo>
                    <a:pt x="1142" y="322"/>
                  </a:lnTo>
                  <a:lnTo>
                    <a:pt x="1142" y="313"/>
                  </a:lnTo>
                  <a:lnTo>
                    <a:pt x="1132" y="313"/>
                  </a:lnTo>
                  <a:lnTo>
                    <a:pt x="1122" y="303"/>
                  </a:lnTo>
                  <a:lnTo>
                    <a:pt x="1132" y="293"/>
                  </a:lnTo>
                  <a:lnTo>
                    <a:pt x="1142" y="293"/>
                  </a:lnTo>
                  <a:lnTo>
                    <a:pt x="1161" y="293"/>
                  </a:lnTo>
                  <a:lnTo>
                    <a:pt x="1190" y="274"/>
                  </a:lnTo>
                  <a:lnTo>
                    <a:pt x="1229" y="254"/>
                  </a:lnTo>
                  <a:lnTo>
                    <a:pt x="1259" y="244"/>
                  </a:lnTo>
                  <a:lnTo>
                    <a:pt x="1288" y="225"/>
                  </a:lnTo>
                  <a:lnTo>
                    <a:pt x="1317" y="215"/>
                  </a:lnTo>
                  <a:lnTo>
                    <a:pt x="1337" y="215"/>
                  </a:lnTo>
                  <a:lnTo>
                    <a:pt x="1317" y="235"/>
                  </a:lnTo>
                  <a:lnTo>
                    <a:pt x="1298" y="244"/>
                  </a:lnTo>
                  <a:lnTo>
                    <a:pt x="1288" y="254"/>
                  </a:lnTo>
                  <a:lnTo>
                    <a:pt x="1278" y="254"/>
                  </a:lnTo>
                  <a:lnTo>
                    <a:pt x="1269" y="264"/>
                  </a:lnTo>
                  <a:lnTo>
                    <a:pt x="1278" y="274"/>
                  </a:lnTo>
                  <a:lnTo>
                    <a:pt x="1269" y="283"/>
                  </a:lnTo>
                  <a:lnTo>
                    <a:pt x="1278" y="293"/>
                  </a:lnTo>
                  <a:lnTo>
                    <a:pt x="1288" y="283"/>
                  </a:lnTo>
                  <a:lnTo>
                    <a:pt x="1288" y="264"/>
                  </a:lnTo>
                  <a:lnTo>
                    <a:pt x="1308" y="244"/>
                  </a:lnTo>
                  <a:lnTo>
                    <a:pt x="1327" y="235"/>
                  </a:lnTo>
                  <a:lnTo>
                    <a:pt x="1347" y="235"/>
                  </a:lnTo>
                  <a:lnTo>
                    <a:pt x="1347" y="244"/>
                  </a:lnTo>
                  <a:lnTo>
                    <a:pt x="1347" y="264"/>
                  </a:lnTo>
                  <a:lnTo>
                    <a:pt x="1347" y="283"/>
                  </a:lnTo>
                  <a:lnTo>
                    <a:pt x="1337" y="264"/>
                  </a:lnTo>
                  <a:lnTo>
                    <a:pt x="1337" y="254"/>
                  </a:lnTo>
                  <a:lnTo>
                    <a:pt x="1327" y="264"/>
                  </a:lnTo>
                  <a:lnTo>
                    <a:pt x="1317" y="254"/>
                  </a:lnTo>
                  <a:lnTo>
                    <a:pt x="1308" y="254"/>
                  </a:lnTo>
                  <a:lnTo>
                    <a:pt x="1317" y="274"/>
                  </a:lnTo>
                  <a:lnTo>
                    <a:pt x="1337" y="274"/>
                  </a:lnTo>
                  <a:lnTo>
                    <a:pt x="1337" y="283"/>
                  </a:lnTo>
                  <a:lnTo>
                    <a:pt x="1337" y="293"/>
                  </a:lnTo>
                  <a:lnTo>
                    <a:pt x="1317" y="293"/>
                  </a:lnTo>
                  <a:lnTo>
                    <a:pt x="1317" y="303"/>
                  </a:lnTo>
                  <a:lnTo>
                    <a:pt x="1327" y="303"/>
                  </a:lnTo>
                  <a:lnTo>
                    <a:pt x="1337" y="322"/>
                  </a:lnTo>
                  <a:lnTo>
                    <a:pt x="1347" y="313"/>
                  </a:lnTo>
                  <a:lnTo>
                    <a:pt x="1356" y="303"/>
                  </a:lnTo>
                  <a:lnTo>
                    <a:pt x="1356" y="274"/>
                  </a:lnTo>
                  <a:lnTo>
                    <a:pt x="1356" y="244"/>
                  </a:lnTo>
                  <a:lnTo>
                    <a:pt x="1347" y="235"/>
                  </a:lnTo>
                  <a:lnTo>
                    <a:pt x="1347" y="205"/>
                  </a:lnTo>
                  <a:lnTo>
                    <a:pt x="1386" y="186"/>
                  </a:lnTo>
                  <a:lnTo>
                    <a:pt x="1405" y="176"/>
                  </a:lnTo>
                  <a:lnTo>
                    <a:pt x="1444" y="176"/>
                  </a:lnTo>
                  <a:lnTo>
                    <a:pt x="1464" y="176"/>
                  </a:lnTo>
                  <a:lnTo>
                    <a:pt x="1464" y="186"/>
                  </a:lnTo>
                  <a:lnTo>
                    <a:pt x="1464" y="205"/>
                  </a:lnTo>
                  <a:lnTo>
                    <a:pt x="1454" y="205"/>
                  </a:lnTo>
                  <a:lnTo>
                    <a:pt x="1444" y="196"/>
                  </a:lnTo>
                  <a:lnTo>
                    <a:pt x="1444" y="215"/>
                  </a:lnTo>
                  <a:lnTo>
                    <a:pt x="1444" y="225"/>
                  </a:lnTo>
                  <a:lnTo>
                    <a:pt x="1464" y="215"/>
                  </a:lnTo>
                  <a:lnTo>
                    <a:pt x="1483" y="196"/>
                  </a:lnTo>
                  <a:lnTo>
                    <a:pt x="1493" y="205"/>
                  </a:lnTo>
                  <a:lnTo>
                    <a:pt x="1493" y="215"/>
                  </a:lnTo>
                  <a:lnTo>
                    <a:pt x="1503" y="205"/>
                  </a:lnTo>
                  <a:lnTo>
                    <a:pt x="1512" y="196"/>
                  </a:lnTo>
                  <a:lnTo>
                    <a:pt x="1522" y="215"/>
                  </a:lnTo>
                  <a:lnTo>
                    <a:pt x="1532" y="205"/>
                  </a:lnTo>
                  <a:lnTo>
                    <a:pt x="1532" y="196"/>
                  </a:lnTo>
                  <a:lnTo>
                    <a:pt x="1542" y="186"/>
                  </a:lnTo>
                  <a:lnTo>
                    <a:pt x="1571" y="196"/>
                  </a:lnTo>
                  <a:lnTo>
                    <a:pt x="1590" y="205"/>
                  </a:lnTo>
                  <a:lnTo>
                    <a:pt x="1590" y="215"/>
                  </a:lnTo>
                  <a:lnTo>
                    <a:pt x="1600" y="205"/>
                  </a:lnTo>
                  <a:lnTo>
                    <a:pt x="1629" y="196"/>
                  </a:lnTo>
                  <a:lnTo>
                    <a:pt x="1639" y="186"/>
                  </a:lnTo>
                  <a:lnTo>
                    <a:pt x="1639" y="176"/>
                  </a:lnTo>
                  <a:lnTo>
                    <a:pt x="1649" y="166"/>
                  </a:lnTo>
                  <a:lnTo>
                    <a:pt x="1659" y="156"/>
                  </a:lnTo>
                  <a:lnTo>
                    <a:pt x="1668" y="117"/>
                  </a:lnTo>
                  <a:lnTo>
                    <a:pt x="1688" y="98"/>
                  </a:lnTo>
                  <a:lnTo>
                    <a:pt x="1707" y="78"/>
                  </a:lnTo>
                  <a:lnTo>
                    <a:pt x="1727" y="59"/>
                  </a:lnTo>
                  <a:lnTo>
                    <a:pt x="1737" y="49"/>
                  </a:lnTo>
                  <a:lnTo>
                    <a:pt x="1776" y="30"/>
                  </a:lnTo>
                  <a:lnTo>
                    <a:pt x="1805" y="20"/>
                  </a:lnTo>
                  <a:lnTo>
                    <a:pt x="1825" y="20"/>
                  </a:lnTo>
                  <a:lnTo>
                    <a:pt x="1854" y="20"/>
                  </a:lnTo>
                  <a:lnTo>
                    <a:pt x="1854" y="30"/>
                  </a:lnTo>
                  <a:lnTo>
                    <a:pt x="1873" y="30"/>
                  </a:lnTo>
                  <a:lnTo>
                    <a:pt x="1883" y="39"/>
                  </a:lnTo>
                  <a:lnTo>
                    <a:pt x="1883" y="49"/>
                  </a:lnTo>
                  <a:lnTo>
                    <a:pt x="1893" y="59"/>
                  </a:lnTo>
                  <a:lnTo>
                    <a:pt x="1893" y="69"/>
                  </a:lnTo>
                  <a:lnTo>
                    <a:pt x="1903" y="69"/>
                  </a:lnTo>
                  <a:lnTo>
                    <a:pt x="1912" y="69"/>
                  </a:lnTo>
                  <a:lnTo>
                    <a:pt x="1932" y="69"/>
                  </a:lnTo>
                  <a:lnTo>
                    <a:pt x="1951" y="59"/>
                  </a:lnTo>
                  <a:lnTo>
                    <a:pt x="1971" y="69"/>
                  </a:lnTo>
                  <a:lnTo>
                    <a:pt x="1981" y="69"/>
                  </a:lnTo>
                  <a:lnTo>
                    <a:pt x="1981" y="59"/>
                  </a:lnTo>
                  <a:lnTo>
                    <a:pt x="1981" y="49"/>
                  </a:lnTo>
                  <a:lnTo>
                    <a:pt x="1990" y="49"/>
                  </a:lnTo>
                  <a:lnTo>
                    <a:pt x="2000" y="49"/>
                  </a:lnTo>
                  <a:lnTo>
                    <a:pt x="1990" y="30"/>
                  </a:lnTo>
                  <a:lnTo>
                    <a:pt x="1990" y="20"/>
                  </a:lnTo>
                  <a:lnTo>
                    <a:pt x="1990" y="0"/>
                  </a:lnTo>
                  <a:lnTo>
                    <a:pt x="2000" y="10"/>
                  </a:lnTo>
                  <a:lnTo>
                    <a:pt x="2010" y="30"/>
                  </a:lnTo>
                  <a:lnTo>
                    <a:pt x="2020" y="20"/>
                  </a:lnTo>
                  <a:lnTo>
                    <a:pt x="2039" y="30"/>
                  </a:lnTo>
                  <a:lnTo>
                    <a:pt x="2039" y="39"/>
                  </a:lnTo>
                  <a:lnTo>
                    <a:pt x="2068" y="49"/>
                  </a:lnTo>
                  <a:lnTo>
                    <a:pt x="2068" y="59"/>
                  </a:lnTo>
                  <a:lnTo>
                    <a:pt x="2088" y="69"/>
                  </a:lnTo>
                  <a:lnTo>
                    <a:pt x="2107" y="69"/>
                  </a:lnTo>
                  <a:lnTo>
                    <a:pt x="2107" y="88"/>
                  </a:lnTo>
                  <a:lnTo>
                    <a:pt x="2098" y="98"/>
                  </a:lnTo>
                  <a:lnTo>
                    <a:pt x="2078" y="117"/>
                  </a:lnTo>
                  <a:lnTo>
                    <a:pt x="2078" y="137"/>
                  </a:lnTo>
                  <a:lnTo>
                    <a:pt x="2078" y="166"/>
                  </a:lnTo>
                  <a:lnTo>
                    <a:pt x="2059" y="186"/>
                  </a:lnTo>
                  <a:lnTo>
                    <a:pt x="2059" y="196"/>
                  </a:lnTo>
                  <a:lnTo>
                    <a:pt x="2049" y="205"/>
                  </a:lnTo>
                  <a:lnTo>
                    <a:pt x="2029" y="235"/>
                  </a:lnTo>
                  <a:lnTo>
                    <a:pt x="2029" y="244"/>
                  </a:lnTo>
                  <a:lnTo>
                    <a:pt x="2029" y="264"/>
                  </a:lnTo>
                  <a:lnTo>
                    <a:pt x="2049" y="264"/>
                  </a:lnTo>
                  <a:lnTo>
                    <a:pt x="2039" y="293"/>
                  </a:lnTo>
                  <a:lnTo>
                    <a:pt x="2049" y="303"/>
                  </a:lnTo>
                  <a:lnTo>
                    <a:pt x="2078" y="313"/>
                  </a:lnTo>
                  <a:lnTo>
                    <a:pt x="2117" y="303"/>
                  </a:lnTo>
                  <a:lnTo>
                    <a:pt x="2146" y="303"/>
                  </a:lnTo>
                  <a:lnTo>
                    <a:pt x="2156" y="322"/>
                  </a:lnTo>
                  <a:lnTo>
                    <a:pt x="2166" y="352"/>
                  </a:lnTo>
                  <a:lnTo>
                    <a:pt x="2176" y="361"/>
                  </a:lnTo>
                  <a:lnTo>
                    <a:pt x="2185" y="371"/>
                  </a:lnTo>
                  <a:lnTo>
                    <a:pt x="2195" y="381"/>
                  </a:lnTo>
                  <a:lnTo>
                    <a:pt x="2185" y="400"/>
                  </a:lnTo>
                  <a:lnTo>
                    <a:pt x="2185" y="439"/>
                  </a:lnTo>
                  <a:lnTo>
                    <a:pt x="2146" y="439"/>
                  </a:lnTo>
                  <a:lnTo>
                    <a:pt x="2146" y="449"/>
                  </a:lnTo>
                  <a:lnTo>
                    <a:pt x="2146" y="459"/>
                  </a:lnTo>
                  <a:lnTo>
                    <a:pt x="2137" y="469"/>
                  </a:lnTo>
                  <a:lnTo>
                    <a:pt x="2107" y="488"/>
                  </a:lnTo>
                  <a:lnTo>
                    <a:pt x="2098" y="488"/>
                  </a:lnTo>
                  <a:lnTo>
                    <a:pt x="2098" y="508"/>
                  </a:lnTo>
                  <a:lnTo>
                    <a:pt x="2068" y="508"/>
                  </a:lnTo>
                  <a:lnTo>
                    <a:pt x="2068" y="517"/>
                  </a:lnTo>
                  <a:lnTo>
                    <a:pt x="2078" y="527"/>
                  </a:lnTo>
                  <a:lnTo>
                    <a:pt x="2098" y="537"/>
                  </a:lnTo>
                  <a:lnTo>
                    <a:pt x="2098" y="557"/>
                  </a:lnTo>
                  <a:lnTo>
                    <a:pt x="2078" y="566"/>
                  </a:lnTo>
                  <a:lnTo>
                    <a:pt x="2068" y="576"/>
                  </a:lnTo>
                  <a:lnTo>
                    <a:pt x="2107" y="596"/>
                  </a:lnTo>
                  <a:lnTo>
                    <a:pt x="2107" y="615"/>
                  </a:lnTo>
                  <a:lnTo>
                    <a:pt x="2098" y="625"/>
                  </a:lnTo>
                  <a:lnTo>
                    <a:pt x="2088" y="635"/>
                  </a:lnTo>
                  <a:lnTo>
                    <a:pt x="2088" y="654"/>
                  </a:lnTo>
                  <a:lnTo>
                    <a:pt x="2098" y="674"/>
                  </a:lnTo>
                  <a:lnTo>
                    <a:pt x="2127" y="683"/>
                  </a:lnTo>
                  <a:lnTo>
                    <a:pt x="2137" y="693"/>
                  </a:lnTo>
                  <a:lnTo>
                    <a:pt x="2137" y="722"/>
                  </a:lnTo>
                  <a:lnTo>
                    <a:pt x="2146" y="732"/>
                  </a:lnTo>
                  <a:lnTo>
                    <a:pt x="2146" y="742"/>
                  </a:lnTo>
                  <a:lnTo>
                    <a:pt x="2127" y="742"/>
                  </a:lnTo>
                  <a:lnTo>
                    <a:pt x="2117" y="791"/>
                  </a:lnTo>
                  <a:lnTo>
                    <a:pt x="2107" y="791"/>
                  </a:lnTo>
                  <a:lnTo>
                    <a:pt x="2098" y="800"/>
                  </a:lnTo>
                  <a:lnTo>
                    <a:pt x="2098" y="810"/>
                  </a:lnTo>
                  <a:lnTo>
                    <a:pt x="2088" y="830"/>
                  </a:lnTo>
                  <a:lnTo>
                    <a:pt x="2068" y="820"/>
                  </a:lnTo>
                  <a:lnTo>
                    <a:pt x="2068" y="810"/>
                  </a:lnTo>
                  <a:lnTo>
                    <a:pt x="2049" y="810"/>
                  </a:lnTo>
                  <a:lnTo>
                    <a:pt x="2049" y="830"/>
                  </a:lnTo>
                  <a:lnTo>
                    <a:pt x="2039" y="839"/>
                  </a:lnTo>
                  <a:lnTo>
                    <a:pt x="2020" y="839"/>
                  </a:lnTo>
                  <a:lnTo>
                    <a:pt x="2010" y="849"/>
                  </a:lnTo>
                  <a:lnTo>
                    <a:pt x="2000" y="849"/>
                  </a:lnTo>
                  <a:lnTo>
                    <a:pt x="1990" y="849"/>
                  </a:lnTo>
                  <a:lnTo>
                    <a:pt x="1990" y="859"/>
                  </a:lnTo>
                  <a:lnTo>
                    <a:pt x="2000" y="869"/>
                  </a:lnTo>
                  <a:lnTo>
                    <a:pt x="2010" y="869"/>
                  </a:lnTo>
                  <a:lnTo>
                    <a:pt x="2020" y="898"/>
                  </a:lnTo>
                  <a:lnTo>
                    <a:pt x="2020" y="908"/>
                  </a:lnTo>
                  <a:lnTo>
                    <a:pt x="2010" y="918"/>
                  </a:lnTo>
                  <a:lnTo>
                    <a:pt x="2000" y="908"/>
                  </a:lnTo>
                  <a:lnTo>
                    <a:pt x="1981" y="908"/>
                  </a:lnTo>
                  <a:lnTo>
                    <a:pt x="1981" y="927"/>
                  </a:lnTo>
                  <a:lnTo>
                    <a:pt x="1961" y="927"/>
                  </a:lnTo>
                  <a:lnTo>
                    <a:pt x="1951" y="937"/>
                  </a:lnTo>
                  <a:lnTo>
                    <a:pt x="1942" y="947"/>
                  </a:lnTo>
                  <a:lnTo>
                    <a:pt x="1942" y="966"/>
                  </a:lnTo>
                  <a:lnTo>
                    <a:pt x="1951" y="976"/>
                  </a:lnTo>
                  <a:lnTo>
                    <a:pt x="1942" y="996"/>
                  </a:lnTo>
                  <a:lnTo>
                    <a:pt x="1942" y="1005"/>
                  </a:lnTo>
                  <a:lnTo>
                    <a:pt x="1951" y="1025"/>
                  </a:lnTo>
                  <a:lnTo>
                    <a:pt x="1971" y="1064"/>
                  </a:lnTo>
                  <a:lnTo>
                    <a:pt x="1981" y="1083"/>
                  </a:lnTo>
                  <a:lnTo>
                    <a:pt x="2000" y="1093"/>
                  </a:lnTo>
                  <a:lnTo>
                    <a:pt x="2000" y="1103"/>
                  </a:lnTo>
                  <a:lnTo>
                    <a:pt x="2020" y="1122"/>
                  </a:lnTo>
                  <a:lnTo>
                    <a:pt x="2010" y="1132"/>
                  </a:lnTo>
                  <a:lnTo>
                    <a:pt x="2029" y="1152"/>
                  </a:lnTo>
                  <a:lnTo>
                    <a:pt x="2029" y="1181"/>
                  </a:lnTo>
                  <a:lnTo>
                    <a:pt x="2020" y="1191"/>
                  </a:lnTo>
                  <a:lnTo>
                    <a:pt x="2020" y="1210"/>
                  </a:lnTo>
                  <a:lnTo>
                    <a:pt x="2020" y="1230"/>
                  </a:lnTo>
                  <a:lnTo>
                    <a:pt x="2010" y="1230"/>
                  </a:lnTo>
                  <a:lnTo>
                    <a:pt x="2010" y="1220"/>
                  </a:lnTo>
                  <a:lnTo>
                    <a:pt x="2000" y="1210"/>
                  </a:lnTo>
                  <a:lnTo>
                    <a:pt x="1990" y="1220"/>
                  </a:lnTo>
                  <a:lnTo>
                    <a:pt x="1990" y="1230"/>
                  </a:lnTo>
                  <a:lnTo>
                    <a:pt x="1981" y="1239"/>
                  </a:lnTo>
                  <a:lnTo>
                    <a:pt x="1971" y="1220"/>
                  </a:lnTo>
                  <a:lnTo>
                    <a:pt x="1951" y="1239"/>
                  </a:lnTo>
                  <a:lnTo>
                    <a:pt x="1961" y="1259"/>
                  </a:lnTo>
                  <a:lnTo>
                    <a:pt x="1951" y="1269"/>
                  </a:lnTo>
                  <a:lnTo>
                    <a:pt x="1932" y="1279"/>
                  </a:lnTo>
                  <a:lnTo>
                    <a:pt x="1912" y="1269"/>
                  </a:lnTo>
                  <a:lnTo>
                    <a:pt x="1893" y="1279"/>
                  </a:lnTo>
                  <a:lnTo>
                    <a:pt x="1873" y="1269"/>
                  </a:lnTo>
                  <a:lnTo>
                    <a:pt x="1854" y="1269"/>
                  </a:lnTo>
                  <a:lnTo>
                    <a:pt x="1844" y="1279"/>
                  </a:lnTo>
                  <a:lnTo>
                    <a:pt x="1834" y="1279"/>
                  </a:lnTo>
                  <a:lnTo>
                    <a:pt x="1825" y="1269"/>
                  </a:lnTo>
                  <a:lnTo>
                    <a:pt x="1815" y="1279"/>
                  </a:lnTo>
                  <a:lnTo>
                    <a:pt x="1825" y="1288"/>
                  </a:lnTo>
                  <a:lnTo>
                    <a:pt x="1815" y="1308"/>
                  </a:lnTo>
                  <a:lnTo>
                    <a:pt x="1825" y="1347"/>
                  </a:lnTo>
                  <a:lnTo>
                    <a:pt x="1834" y="1357"/>
                  </a:lnTo>
                  <a:lnTo>
                    <a:pt x="1834" y="1386"/>
                  </a:lnTo>
                  <a:lnTo>
                    <a:pt x="1825" y="1405"/>
                  </a:lnTo>
                  <a:lnTo>
                    <a:pt x="1815" y="1425"/>
                  </a:lnTo>
                  <a:lnTo>
                    <a:pt x="1815" y="1444"/>
                  </a:lnTo>
                  <a:lnTo>
                    <a:pt x="1805" y="1454"/>
                  </a:lnTo>
                  <a:lnTo>
                    <a:pt x="1805" y="1483"/>
                  </a:lnTo>
                  <a:lnTo>
                    <a:pt x="1805" y="1513"/>
                  </a:lnTo>
                  <a:lnTo>
                    <a:pt x="1834" y="1532"/>
                  </a:lnTo>
                  <a:lnTo>
                    <a:pt x="1844" y="1571"/>
                  </a:lnTo>
                  <a:lnTo>
                    <a:pt x="1854" y="1581"/>
                  </a:lnTo>
                  <a:lnTo>
                    <a:pt x="1873" y="1591"/>
                  </a:lnTo>
                  <a:lnTo>
                    <a:pt x="1873" y="1610"/>
                  </a:lnTo>
                  <a:lnTo>
                    <a:pt x="1873" y="1620"/>
                  </a:lnTo>
                  <a:lnTo>
                    <a:pt x="1864" y="1630"/>
                  </a:lnTo>
                  <a:lnTo>
                    <a:pt x="1864" y="1659"/>
                  </a:lnTo>
                  <a:lnTo>
                    <a:pt x="1854" y="1679"/>
                  </a:lnTo>
                  <a:lnTo>
                    <a:pt x="1834" y="1698"/>
                  </a:lnTo>
                  <a:lnTo>
                    <a:pt x="1815" y="1698"/>
                  </a:lnTo>
                  <a:lnTo>
                    <a:pt x="1805" y="1708"/>
                  </a:lnTo>
                  <a:lnTo>
                    <a:pt x="1785" y="1708"/>
                  </a:lnTo>
                  <a:lnTo>
                    <a:pt x="1776" y="1708"/>
                  </a:lnTo>
                  <a:lnTo>
                    <a:pt x="1766" y="1727"/>
                  </a:lnTo>
                  <a:lnTo>
                    <a:pt x="1766" y="1747"/>
                  </a:lnTo>
                  <a:lnTo>
                    <a:pt x="1766" y="1757"/>
                  </a:lnTo>
                  <a:lnTo>
                    <a:pt x="1756" y="1766"/>
                  </a:lnTo>
                  <a:lnTo>
                    <a:pt x="1737" y="1776"/>
                  </a:lnTo>
                  <a:lnTo>
                    <a:pt x="1727" y="1776"/>
                  </a:lnTo>
                  <a:lnTo>
                    <a:pt x="1717" y="1796"/>
                  </a:lnTo>
                  <a:lnTo>
                    <a:pt x="1698" y="1786"/>
                  </a:lnTo>
                  <a:lnTo>
                    <a:pt x="1688" y="1796"/>
                  </a:lnTo>
                  <a:lnTo>
                    <a:pt x="1668" y="1796"/>
                  </a:lnTo>
                  <a:lnTo>
                    <a:pt x="1649" y="1805"/>
                  </a:lnTo>
                  <a:lnTo>
                    <a:pt x="1649" y="1835"/>
                  </a:lnTo>
                  <a:lnTo>
                    <a:pt x="1649" y="1854"/>
                  </a:lnTo>
                  <a:lnTo>
                    <a:pt x="1639" y="1864"/>
                  </a:lnTo>
                  <a:lnTo>
                    <a:pt x="1649" y="1913"/>
                  </a:lnTo>
                  <a:lnTo>
                    <a:pt x="1639" y="1913"/>
                  </a:lnTo>
                  <a:lnTo>
                    <a:pt x="1639" y="1922"/>
                  </a:lnTo>
                  <a:lnTo>
                    <a:pt x="1649" y="1932"/>
                  </a:lnTo>
                  <a:lnTo>
                    <a:pt x="1649" y="1942"/>
                  </a:lnTo>
                  <a:lnTo>
                    <a:pt x="1649" y="1952"/>
                  </a:lnTo>
                  <a:lnTo>
                    <a:pt x="1649" y="1961"/>
                  </a:lnTo>
                  <a:lnTo>
                    <a:pt x="1629" y="1961"/>
                  </a:lnTo>
                  <a:lnTo>
                    <a:pt x="1620" y="1961"/>
                  </a:lnTo>
                  <a:lnTo>
                    <a:pt x="1629" y="1971"/>
                  </a:lnTo>
                  <a:lnTo>
                    <a:pt x="1649" y="1981"/>
                  </a:lnTo>
                  <a:lnTo>
                    <a:pt x="1659" y="1991"/>
                  </a:lnTo>
                  <a:lnTo>
                    <a:pt x="1678" y="2001"/>
                  </a:lnTo>
                  <a:lnTo>
                    <a:pt x="1668" y="2020"/>
                  </a:lnTo>
                  <a:lnTo>
                    <a:pt x="1659" y="2049"/>
                  </a:lnTo>
                  <a:lnTo>
                    <a:pt x="1659" y="2069"/>
                  </a:lnTo>
                  <a:lnTo>
                    <a:pt x="1678" y="2069"/>
                  </a:lnTo>
                  <a:lnTo>
                    <a:pt x="1698" y="2088"/>
                  </a:lnTo>
                  <a:lnTo>
                    <a:pt x="1707" y="2098"/>
                  </a:lnTo>
                  <a:lnTo>
                    <a:pt x="1707" y="2108"/>
                  </a:lnTo>
                  <a:lnTo>
                    <a:pt x="1707" y="2127"/>
                  </a:lnTo>
                  <a:lnTo>
                    <a:pt x="1698" y="2137"/>
                  </a:lnTo>
                  <a:lnTo>
                    <a:pt x="1698" y="2157"/>
                  </a:lnTo>
                  <a:lnTo>
                    <a:pt x="1698" y="2166"/>
                  </a:lnTo>
                  <a:lnTo>
                    <a:pt x="1688" y="2186"/>
                  </a:lnTo>
                  <a:lnTo>
                    <a:pt x="1688" y="2205"/>
                  </a:lnTo>
                  <a:lnTo>
                    <a:pt x="1707" y="2225"/>
                  </a:lnTo>
                  <a:lnTo>
                    <a:pt x="1659" y="2244"/>
                  </a:lnTo>
                  <a:lnTo>
                    <a:pt x="1629" y="2254"/>
                  </a:lnTo>
                  <a:lnTo>
                    <a:pt x="1590" y="2274"/>
                  </a:lnTo>
                  <a:lnTo>
                    <a:pt x="1590" y="2293"/>
                  </a:lnTo>
                  <a:lnTo>
                    <a:pt x="1600" y="2303"/>
                  </a:lnTo>
                  <a:lnTo>
                    <a:pt x="1590" y="2313"/>
                  </a:lnTo>
                  <a:lnTo>
                    <a:pt x="1551" y="2322"/>
                  </a:lnTo>
                  <a:lnTo>
                    <a:pt x="1532" y="2322"/>
                  </a:lnTo>
                  <a:lnTo>
                    <a:pt x="1522" y="2322"/>
                  </a:lnTo>
                  <a:lnTo>
                    <a:pt x="1512" y="2322"/>
                  </a:lnTo>
                  <a:lnTo>
                    <a:pt x="1512" y="2342"/>
                  </a:lnTo>
                  <a:lnTo>
                    <a:pt x="1493" y="2342"/>
                  </a:lnTo>
                  <a:lnTo>
                    <a:pt x="1493" y="2332"/>
                  </a:lnTo>
                  <a:lnTo>
                    <a:pt x="1483" y="2342"/>
                  </a:lnTo>
                  <a:lnTo>
                    <a:pt x="1473" y="2342"/>
                  </a:lnTo>
                  <a:lnTo>
                    <a:pt x="1454" y="2342"/>
                  </a:lnTo>
                  <a:lnTo>
                    <a:pt x="1444" y="2362"/>
                  </a:lnTo>
                  <a:lnTo>
                    <a:pt x="1425" y="2362"/>
                  </a:lnTo>
                  <a:lnTo>
                    <a:pt x="1415" y="2352"/>
                  </a:lnTo>
                  <a:lnTo>
                    <a:pt x="1405" y="2342"/>
                  </a:lnTo>
                  <a:lnTo>
                    <a:pt x="1395" y="2352"/>
                  </a:lnTo>
                  <a:lnTo>
                    <a:pt x="1386" y="2352"/>
                  </a:lnTo>
                  <a:lnTo>
                    <a:pt x="1356" y="2352"/>
                  </a:lnTo>
                  <a:lnTo>
                    <a:pt x="1327" y="2362"/>
                  </a:lnTo>
                  <a:lnTo>
                    <a:pt x="1308" y="2371"/>
                  </a:lnTo>
                  <a:lnTo>
                    <a:pt x="1298" y="2362"/>
                  </a:lnTo>
                  <a:lnTo>
                    <a:pt x="1278" y="2342"/>
                  </a:lnTo>
                  <a:lnTo>
                    <a:pt x="1259" y="2332"/>
                  </a:lnTo>
                  <a:lnTo>
                    <a:pt x="1239" y="2332"/>
                  </a:lnTo>
                  <a:lnTo>
                    <a:pt x="1220" y="2332"/>
                  </a:lnTo>
                  <a:lnTo>
                    <a:pt x="1190" y="2332"/>
                  </a:lnTo>
                  <a:lnTo>
                    <a:pt x="1181" y="2332"/>
                  </a:lnTo>
                  <a:lnTo>
                    <a:pt x="1181" y="2352"/>
                  </a:lnTo>
                  <a:lnTo>
                    <a:pt x="1161" y="2352"/>
                  </a:lnTo>
                  <a:lnTo>
                    <a:pt x="1142" y="2342"/>
                  </a:lnTo>
                  <a:lnTo>
                    <a:pt x="1132" y="2322"/>
                  </a:lnTo>
                  <a:lnTo>
                    <a:pt x="1112" y="2342"/>
                  </a:lnTo>
                  <a:lnTo>
                    <a:pt x="1093" y="2332"/>
                  </a:lnTo>
                  <a:lnTo>
                    <a:pt x="1083" y="2322"/>
                  </a:lnTo>
                  <a:lnTo>
                    <a:pt x="1064" y="2322"/>
                  </a:lnTo>
                  <a:lnTo>
                    <a:pt x="1044" y="2322"/>
                  </a:lnTo>
                  <a:lnTo>
                    <a:pt x="1015" y="2332"/>
                  </a:lnTo>
                  <a:lnTo>
                    <a:pt x="1005" y="2342"/>
                  </a:lnTo>
                  <a:lnTo>
                    <a:pt x="995" y="2352"/>
                  </a:lnTo>
                  <a:lnTo>
                    <a:pt x="976" y="2342"/>
                  </a:lnTo>
                  <a:lnTo>
                    <a:pt x="947" y="2303"/>
                  </a:lnTo>
                  <a:lnTo>
                    <a:pt x="947" y="2283"/>
                  </a:lnTo>
                  <a:lnTo>
                    <a:pt x="937" y="2283"/>
                  </a:lnTo>
                  <a:close/>
                </a:path>
              </a:pathLst>
            </a:custGeom>
            <a:solidFill>
              <a:srgbClr val="FEE950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284"/>
            <p:cNvSpPr>
              <a:spLocks/>
            </p:cNvSpPr>
            <p:nvPr/>
          </p:nvSpPr>
          <p:spPr bwMode="auto">
            <a:xfrm>
              <a:off x="7551" y="1220"/>
              <a:ext cx="839" cy="1046"/>
            </a:xfrm>
            <a:custGeom>
              <a:avLst/>
              <a:gdLst>
                <a:gd name="T0" fmla="*/ 214 w 839"/>
                <a:gd name="T1" fmla="*/ 126 h 1044"/>
                <a:gd name="T2" fmla="*/ 156 w 839"/>
                <a:gd name="T3" fmla="*/ 175 h 1044"/>
                <a:gd name="T4" fmla="*/ 156 w 839"/>
                <a:gd name="T5" fmla="*/ 224 h 1044"/>
                <a:gd name="T6" fmla="*/ 175 w 839"/>
                <a:gd name="T7" fmla="*/ 283 h 1044"/>
                <a:gd name="T8" fmla="*/ 166 w 839"/>
                <a:gd name="T9" fmla="*/ 361 h 1044"/>
                <a:gd name="T10" fmla="*/ 214 w 839"/>
                <a:gd name="T11" fmla="*/ 429 h 1044"/>
                <a:gd name="T12" fmla="*/ 166 w 839"/>
                <a:gd name="T13" fmla="*/ 497 h 1044"/>
                <a:gd name="T14" fmla="*/ 107 w 839"/>
                <a:gd name="T15" fmla="*/ 497 h 1044"/>
                <a:gd name="T16" fmla="*/ 58 w 839"/>
                <a:gd name="T17" fmla="*/ 536 h 1044"/>
                <a:gd name="T18" fmla="*/ 88 w 839"/>
                <a:gd name="T19" fmla="*/ 585 h 1044"/>
                <a:gd name="T20" fmla="*/ 49 w 839"/>
                <a:gd name="T21" fmla="*/ 595 h 1044"/>
                <a:gd name="T22" fmla="*/ 10 w 839"/>
                <a:gd name="T23" fmla="*/ 653 h 1044"/>
                <a:gd name="T24" fmla="*/ 39 w 839"/>
                <a:gd name="T25" fmla="*/ 751 h 1044"/>
                <a:gd name="T26" fmla="*/ 78 w 839"/>
                <a:gd name="T27" fmla="*/ 829 h 1044"/>
                <a:gd name="T28" fmla="*/ 205 w 839"/>
                <a:gd name="T29" fmla="*/ 848 h 1044"/>
                <a:gd name="T30" fmla="*/ 263 w 839"/>
                <a:gd name="T31" fmla="*/ 946 h 1044"/>
                <a:gd name="T32" fmla="*/ 263 w 839"/>
                <a:gd name="T33" fmla="*/ 1014 h 1044"/>
                <a:gd name="T34" fmla="*/ 312 w 839"/>
                <a:gd name="T35" fmla="*/ 985 h 1044"/>
                <a:gd name="T36" fmla="*/ 370 w 839"/>
                <a:gd name="T37" fmla="*/ 1005 h 1044"/>
                <a:gd name="T38" fmla="*/ 409 w 839"/>
                <a:gd name="T39" fmla="*/ 1034 h 1044"/>
                <a:gd name="T40" fmla="*/ 439 w 839"/>
                <a:gd name="T41" fmla="*/ 1005 h 1044"/>
                <a:gd name="T42" fmla="*/ 497 w 839"/>
                <a:gd name="T43" fmla="*/ 985 h 1044"/>
                <a:gd name="T44" fmla="*/ 488 w 839"/>
                <a:gd name="T45" fmla="*/ 966 h 1044"/>
                <a:gd name="T46" fmla="*/ 488 w 839"/>
                <a:gd name="T47" fmla="*/ 907 h 1044"/>
                <a:gd name="T48" fmla="*/ 566 w 839"/>
                <a:gd name="T49" fmla="*/ 897 h 1044"/>
                <a:gd name="T50" fmla="*/ 595 w 839"/>
                <a:gd name="T51" fmla="*/ 858 h 1044"/>
                <a:gd name="T52" fmla="*/ 644 w 839"/>
                <a:gd name="T53" fmla="*/ 848 h 1044"/>
                <a:gd name="T54" fmla="*/ 614 w 839"/>
                <a:gd name="T55" fmla="*/ 907 h 1044"/>
                <a:gd name="T56" fmla="*/ 663 w 839"/>
                <a:gd name="T57" fmla="*/ 858 h 1044"/>
                <a:gd name="T58" fmla="*/ 692 w 839"/>
                <a:gd name="T59" fmla="*/ 829 h 1044"/>
                <a:gd name="T60" fmla="*/ 731 w 839"/>
                <a:gd name="T61" fmla="*/ 790 h 1044"/>
                <a:gd name="T62" fmla="*/ 751 w 839"/>
                <a:gd name="T63" fmla="*/ 751 h 1044"/>
                <a:gd name="T64" fmla="*/ 731 w 839"/>
                <a:gd name="T65" fmla="*/ 722 h 1044"/>
                <a:gd name="T66" fmla="*/ 692 w 839"/>
                <a:gd name="T67" fmla="*/ 751 h 1044"/>
                <a:gd name="T68" fmla="*/ 663 w 839"/>
                <a:gd name="T69" fmla="*/ 692 h 1044"/>
                <a:gd name="T70" fmla="*/ 653 w 839"/>
                <a:gd name="T71" fmla="*/ 634 h 1044"/>
                <a:gd name="T72" fmla="*/ 653 w 839"/>
                <a:gd name="T73" fmla="*/ 575 h 1044"/>
                <a:gd name="T74" fmla="*/ 624 w 839"/>
                <a:gd name="T75" fmla="*/ 487 h 1044"/>
                <a:gd name="T76" fmla="*/ 644 w 839"/>
                <a:gd name="T77" fmla="*/ 419 h 1044"/>
                <a:gd name="T78" fmla="*/ 673 w 839"/>
                <a:gd name="T79" fmla="*/ 361 h 1044"/>
                <a:gd name="T80" fmla="*/ 722 w 839"/>
                <a:gd name="T81" fmla="*/ 351 h 1044"/>
                <a:gd name="T82" fmla="*/ 751 w 839"/>
                <a:gd name="T83" fmla="*/ 341 h 1044"/>
                <a:gd name="T84" fmla="*/ 790 w 839"/>
                <a:gd name="T85" fmla="*/ 400 h 1044"/>
                <a:gd name="T86" fmla="*/ 809 w 839"/>
                <a:gd name="T87" fmla="*/ 390 h 1044"/>
                <a:gd name="T88" fmla="*/ 839 w 839"/>
                <a:gd name="T89" fmla="*/ 370 h 1044"/>
                <a:gd name="T90" fmla="*/ 829 w 839"/>
                <a:gd name="T91" fmla="*/ 302 h 1044"/>
                <a:gd name="T92" fmla="*/ 819 w 839"/>
                <a:gd name="T93" fmla="*/ 234 h 1044"/>
                <a:gd name="T94" fmla="*/ 770 w 839"/>
                <a:gd name="T95" fmla="*/ 204 h 1044"/>
                <a:gd name="T96" fmla="*/ 692 w 839"/>
                <a:gd name="T97" fmla="*/ 146 h 1044"/>
                <a:gd name="T98" fmla="*/ 663 w 839"/>
                <a:gd name="T99" fmla="*/ 87 h 1044"/>
                <a:gd name="T100" fmla="*/ 614 w 839"/>
                <a:gd name="T101" fmla="*/ 68 h 1044"/>
                <a:gd name="T102" fmla="*/ 585 w 839"/>
                <a:gd name="T103" fmla="*/ 19 h 1044"/>
                <a:gd name="T104" fmla="*/ 488 w 839"/>
                <a:gd name="T105" fmla="*/ 29 h 1044"/>
                <a:gd name="T106" fmla="*/ 409 w 839"/>
                <a:gd name="T107" fmla="*/ 68 h 1044"/>
                <a:gd name="T108" fmla="*/ 351 w 839"/>
                <a:gd name="T109" fmla="*/ 78 h 10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39"/>
                <a:gd name="T166" fmla="*/ 0 h 1044"/>
                <a:gd name="T167" fmla="*/ 839 w 839"/>
                <a:gd name="T168" fmla="*/ 1044 h 10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39" h="1044">
                  <a:moveTo>
                    <a:pt x="253" y="48"/>
                  </a:moveTo>
                  <a:lnTo>
                    <a:pt x="263" y="68"/>
                  </a:lnTo>
                  <a:lnTo>
                    <a:pt x="253" y="87"/>
                  </a:lnTo>
                  <a:lnTo>
                    <a:pt x="253" y="126"/>
                  </a:lnTo>
                  <a:lnTo>
                    <a:pt x="214" y="126"/>
                  </a:lnTo>
                  <a:lnTo>
                    <a:pt x="205" y="136"/>
                  </a:lnTo>
                  <a:lnTo>
                    <a:pt x="205" y="146"/>
                  </a:lnTo>
                  <a:lnTo>
                    <a:pt x="205" y="156"/>
                  </a:lnTo>
                  <a:lnTo>
                    <a:pt x="175" y="175"/>
                  </a:lnTo>
                  <a:lnTo>
                    <a:pt x="156" y="175"/>
                  </a:lnTo>
                  <a:lnTo>
                    <a:pt x="156" y="195"/>
                  </a:lnTo>
                  <a:lnTo>
                    <a:pt x="136" y="195"/>
                  </a:lnTo>
                  <a:lnTo>
                    <a:pt x="136" y="204"/>
                  </a:lnTo>
                  <a:lnTo>
                    <a:pt x="146" y="214"/>
                  </a:lnTo>
                  <a:lnTo>
                    <a:pt x="156" y="224"/>
                  </a:lnTo>
                  <a:lnTo>
                    <a:pt x="156" y="234"/>
                  </a:lnTo>
                  <a:lnTo>
                    <a:pt x="146" y="244"/>
                  </a:lnTo>
                  <a:lnTo>
                    <a:pt x="136" y="263"/>
                  </a:lnTo>
                  <a:lnTo>
                    <a:pt x="166" y="283"/>
                  </a:lnTo>
                  <a:lnTo>
                    <a:pt x="175" y="283"/>
                  </a:lnTo>
                  <a:lnTo>
                    <a:pt x="175" y="292"/>
                  </a:lnTo>
                  <a:lnTo>
                    <a:pt x="166" y="312"/>
                  </a:lnTo>
                  <a:lnTo>
                    <a:pt x="156" y="322"/>
                  </a:lnTo>
                  <a:lnTo>
                    <a:pt x="156" y="341"/>
                  </a:lnTo>
                  <a:lnTo>
                    <a:pt x="166" y="361"/>
                  </a:lnTo>
                  <a:lnTo>
                    <a:pt x="195" y="370"/>
                  </a:lnTo>
                  <a:lnTo>
                    <a:pt x="205" y="380"/>
                  </a:lnTo>
                  <a:lnTo>
                    <a:pt x="205" y="409"/>
                  </a:lnTo>
                  <a:lnTo>
                    <a:pt x="214" y="419"/>
                  </a:lnTo>
                  <a:lnTo>
                    <a:pt x="214" y="429"/>
                  </a:lnTo>
                  <a:lnTo>
                    <a:pt x="195" y="429"/>
                  </a:lnTo>
                  <a:lnTo>
                    <a:pt x="185" y="478"/>
                  </a:lnTo>
                  <a:lnTo>
                    <a:pt x="175" y="478"/>
                  </a:lnTo>
                  <a:lnTo>
                    <a:pt x="166" y="487"/>
                  </a:lnTo>
                  <a:lnTo>
                    <a:pt x="166" y="497"/>
                  </a:lnTo>
                  <a:lnTo>
                    <a:pt x="156" y="517"/>
                  </a:lnTo>
                  <a:lnTo>
                    <a:pt x="136" y="507"/>
                  </a:lnTo>
                  <a:lnTo>
                    <a:pt x="136" y="487"/>
                  </a:lnTo>
                  <a:lnTo>
                    <a:pt x="117" y="487"/>
                  </a:lnTo>
                  <a:lnTo>
                    <a:pt x="107" y="497"/>
                  </a:lnTo>
                  <a:lnTo>
                    <a:pt x="107" y="517"/>
                  </a:lnTo>
                  <a:lnTo>
                    <a:pt x="97" y="526"/>
                  </a:lnTo>
                  <a:lnTo>
                    <a:pt x="88" y="526"/>
                  </a:lnTo>
                  <a:lnTo>
                    <a:pt x="78" y="536"/>
                  </a:lnTo>
                  <a:lnTo>
                    <a:pt x="58" y="536"/>
                  </a:lnTo>
                  <a:lnTo>
                    <a:pt x="58" y="546"/>
                  </a:lnTo>
                  <a:lnTo>
                    <a:pt x="58" y="556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88" y="595"/>
                  </a:lnTo>
                  <a:lnTo>
                    <a:pt x="78" y="605"/>
                  </a:lnTo>
                  <a:lnTo>
                    <a:pt x="68" y="605"/>
                  </a:lnTo>
                  <a:lnTo>
                    <a:pt x="58" y="595"/>
                  </a:lnTo>
                  <a:lnTo>
                    <a:pt x="49" y="595"/>
                  </a:lnTo>
                  <a:lnTo>
                    <a:pt x="49" y="614"/>
                  </a:lnTo>
                  <a:lnTo>
                    <a:pt x="29" y="614"/>
                  </a:lnTo>
                  <a:lnTo>
                    <a:pt x="10" y="624"/>
                  </a:lnTo>
                  <a:lnTo>
                    <a:pt x="0" y="634"/>
                  </a:lnTo>
                  <a:lnTo>
                    <a:pt x="10" y="653"/>
                  </a:lnTo>
                  <a:lnTo>
                    <a:pt x="19" y="663"/>
                  </a:lnTo>
                  <a:lnTo>
                    <a:pt x="10" y="683"/>
                  </a:lnTo>
                  <a:lnTo>
                    <a:pt x="0" y="692"/>
                  </a:lnTo>
                  <a:lnTo>
                    <a:pt x="19" y="712"/>
                  </a:lnTo>
                  <a:lnTo>
                    <a:pt x="39" y="751"/>
                  </a:lnTo>
                  <a:lnTo>
                    <a:pt x="49" y="770"/>
                  </a:lnTo>
                  <a:lnTo>
                    <a:pt x="58" y="780"/>
                  </a:lnTo>
                  <a:lnTo>
                    <a:pt x="58" y="790"/>
                  </a:lnTo>
                  <a:lnTo>
                    <a:pt x="88" y="809"/>
                  </a:lnTo>
                  <a:lnTo>
                    <a:pt x="78" y="829"/>
                  </a:lnTo>
                  <a:lnTo>
                    <a:pt x="97" y="839"/>
                  </a:lnTo>
                  <a:lnTo>
                    <a:pt x="97" y="868"/>
                  </a:lnTo>
                  <a:lnTo>
                    <a:pt x="136" y="848"/>
                  </a:lnTo>
                  <a:lnTo>
                    <a:pt x="146" y="839"/>
                  </a:lnTo>
                  <a:lnTo>
                    <a:pt x="205" y="848"/>
                  </a:lnTo>
                  <a:lnTo>
                    <a:pt x="234" y="878"/>
                  </a:lnTo>
                  <a:lnTo>
                    <a:pt x="263" y="897"/>
                  </a:lnTo>
                  <a:lnTo>
                    <a:pt x="253" y="917"/>
                  </a:lnTo>
                  <a:lnTo>
                    <a:pt x="263" y="926"/>
                  </a:lnTo>
                  <a:lnTo>
                    <a:pt x="263" y="946"/>
                  </a:lnTo>
                  <a:lnTo>
                    <a:pt x="244" y="956"/>
                  </a:lnTo>
                  <a:lnTo>
                    <a:pt x="244" y="985"/>
                  </a:lnTo>
                  <a:lnTo>
                    <a:pt x="253" y="995"/>
                  </a:lnTo>
                  <a:lnTo>
                    <a:pt x="263" y="995"/>
                  </a:lnTo>
                  <a:lnTo>
                    <a:pt x="263" y="1014"/>
                  </a:lnTo>
                  <a:lnTo>
                    <a:pt x="273" y="1014"/>
                  </a:lnTo>
                  <a:lnTo>
                    <a:pt x="292" y="1005"/>
                  </a:lnTo>
                  <a:lnTo>
                    <a:pt x="302" y="1005"/>
                  </a:lnTo>
                  <a:lnTo>
                    <a:pt x="302" y="985"/>
                  </a:lnTo>
                  <a:lnTo>
                    <a:pt x="312" y="985"/>
                  </a:lnTo>
                  <a:lnTo>
                    <a:pt x="322" y="995"/>
                  </a:lnTo>
                  <a:lnTo>
                    <a:pt x="331" y="995"/>
                  </a:lnTo>
                  <a:lnTo>
                    <a:pt x="351" y="995"/>
                  </a:lnTo>
                  <a:lnTo>
                    <a:pt x="361" y="985"/>
                  </a:lnTo>
                  <a:lnTo>
                    <a:pt x="370" y="1005"/>
                  </a:lnTo>
                  <a:lnTo>
                    <a:pt x="380" y="1014"/>
                  </a:lnTo>
                  <a:lnTo>
                    <a:pt x="390" y="1024"/>
                  </a:lnTo>
                  <a:lnTo>
                    <a:pt x="390" y="1044"/>
                  </a:lnTo>
                  <a:lnTo>
                    <a:pt x="409" y="1034"/>
                  </a:lnTo>
                  <a:lnTo>
                    <a:pt x="419" y="1034"/>
                  </a:lnTo>
                  <a:lnTo>
                    <a:pt x="439" y="1034"/>
                  </a:lnTo>
                  <a:lnTo>
                    <a:pt x="439" y="1024"/>
                  </a:lnTo>
                  <a:lnTo>
                    <a:pt x="439" y="1014"/>
                  </a:lnTo>
                  <a:lnTo>
                    <a:pt x="439" y="1005"/>
                  </a:lnTo>
                  <a:lnTo>
                    <a:pt x="448" y="995"/>
                  </a:lnTo>
                  <a:lnTo>
                    <a:pt x="458" y="985"/>
                  </a:lnTo>
                  <a:lnTo>
                    <a:pt x="468" y="995"/>
                  </a:lnTo>
                  <a:lnTo>
                    <a:pt x="497" y="985"/>
                  </a:lnTo>
                  <a:lnTo>
                    <a:pt x="497" y="975"/>
                  </a:lnTo>
                  <a:lnTo>
                    <a:pt x="488" y="966"/>
                  </a:lnTo>
                  <a:lnTo>
                    <a:pt x="478" y="966"/>
                  </a:lnTo>
                  <a:lnTo>
                    <a:pt x="478" y="956"/>
                  </a:lnTo>
                  <a:lnTo>
                    <a:pt x="488" y="966"/>
                  </a:lnTo>
                  <a:lnTo>
                    <a:pt x="488" y="946"/>
                  </a:lnTo>
                  <a:lnTo>
                    <a:pt x="478" y="946"/>
                  </a:lnTo>
                  <a:lnTo>
                    <a:pt x="478" y="917"/>
                  </a:lnTo>
                  <a:lnTo>
                    <a:pt x="488" y="907"/>
                  </a:lnTo>
                  <a:lnTo>
                    <a:pt x="497" y="907"/>
                  </a:lnTo>
                  <a:lnTo>
                    <a:pt x="517" y="897"/>
                  </a:lnTo>
                  <a:lnTo>
                    <a:pt x="527" y="887"/>
                  </a:lnTo>
                  <a:lnTo>
                    <a:pt x="536" y="887"/>
                  </a:lnTo>
                  <a:lnTo>
                    <a:pt x="566" y="897"/>
                  </a:lnTo>
                  <a:lnTo>
                    <a:pt x="575" y="878"/>
                  </a:lnTo>
                  <a:lnTo>
                    <a:pt x="566" y="878"/>
                  </a:lnTo>
                  <a:lnTo>
                    <a:pt x="566" y="868"/>
                  </a:lnTo>
                  <a:lnTo>
                    <a:pt x="585" y="848"/>
                  </a:lnTo>
                  <a:lnTo>
                    <a:pt x="595" y="858"/>
                  </a:lnTo>
                  <a:lnTo>
                    <a:pt x="614" y="868"/>
                  </a:lnTo>
                  <a:lnTo>
                    <a:pt x="624" y="858"/>
                  </a:lnTo>
                  <a:lnTo>
                    <a:pt x="644" y="848"/>
                  </a:lnTo>
                  <a:lnTo>
                    <a:pt x="653" y="848"/>
                  </a:lnTo>
                  <a:lnTo>
                    <a:pt x="644" y="848"/>
                  </a:lnTo>
                  <a:lnTo>
                    <a:pt x="644" y="868"/>
                  </a:lnTo>
                  <a:lnTo>
                    <a:pt x="614" y="878"/>
                  </a:lnTo>
                  <a:lnTo>
                    <a:pt x="614" y="887"/>
                  </a:lnTo>
                  <a:lnTo>
                    <a:pt x="605" y="907"/>
                  </a:lnTo>
                  <a:lnTo>
                    <a:pt x="614" y="907"/>
                  </a:lnTo>
                  <a:lnTo>
                    <a:pt x="644" y="917"/>
                  </a:lnTo>
                  <a:lnTo>
                    <a:pt x="653" y="907"/>
                  </a:lnTo>
                  <a:lnTo>
                    <a:pt x="663" y="897"/>
                  </a:lnTo>
                  <a:lnTo>
                    <a:pt x="663" y="887"/>
                  </a:lnTo>
                  <a:lnTo>
                    <a:pt x="663" y="858"/>
                  </a:lnTo>
                  <a:lnTo>
                    <a:pt x="673" y="858"/>
                  </a:lnTo>
                  <a:lnTo>
                    <a:pt x="683" y="858"/>
                  </a:lnTo>
                  <a:lnTo>
                    <a:pt x="702" y="848"/>
                  </a:lnTo>
                  <a:lnTo>
                    <a:pt x="692" y="829"/>
                  </a:lnTo>
                  <a:lnTo>
                    <a:pt x="702" y="819"/>
                  </a:lnTo>
                  <a:lnTo>
                    <a:pt x="692" y="809"/>
                  </a:lnTo>
                  <a:lnTo>
                    <a:pt x="702" y="790"/>
                  </a:lnTo>
                  <a:lnTo>
                    <a:pt x="722" y="790"/>
                  </a:lnTo>
                  <a:lnTo>
                    <a:pt x="731" y="790"/>
                  </a:lnTo>
                  <a:lnTo>
                    <a:pt x="731" y="780"/>
                  </a:lnTo>
                  <a:lnTo>
                    <a:pt x="741" y="770"/>
                  </a:lnTo>
                  <a:lnTo>
                    <a:pt x="741" y="761"/>
                  </a:lnTo>
                  <a:lnTo>
                    <a:pt x="751" y="761"/>
                  </a:lnTo>
                  <a:lnTo>
                    <a:pt x="751" y="751"/>
                  </a:lnTo>
                  <a:lnTo>
                    <a:pt x="770" y="741"/>
                  </a:lnTo>
                  <a:lnTo>
                    <a:pt x="770" y="731"/>
                  </a:lnTo>
                  <a:lnTo>
                    <a:pt x="751" y="712"/>
                  </a:lnTo>
                  <a:lnTo>
                    <a:pt x="731" y="712"/>
                  </a:lnTo>
                  <a:lnTo>
                    <a:pt x="731" y="722"/>
                  </a:lnTo>
                  <a:lnTo>
                    <a:pt x="722" y="722"/>
                  </a:lnTo>
                  <a:lnTo>
                    <a:pt x="712" y="731"/>
                  </a:lnTo>
                  <a:lnTo>
                    <a:pt x="712" y="741"/>
                  </a:lnTo>
                  <a:lnTo>
                    <a:pt x="702" y="751"/>
                  </a:lnTo>
                  <a:lnTo>
                    <a:pt x="692" y="751"/>
                  </a:lnTo>
                  <a:lnTo>
                    <a:pt x="692" y="731"/>
                  </a:lnTo>
                  <a:lnTo>
                    <a:pt x="683" y="731"/>
                  </a:lnTo>
                  <a:lnTo>
                    <a:pt x="673" y="712"/>
                  </a:lnTo>
                  <a:lnTo>
                    <a:pt x="663" y="692"/>
                  </a:lnTo>
                  <a:lnTo>
                    <a:pt x="673" y="683"/>
                  </a:lnTo>
                  <a:lnTo>
                    <a:pt x="663" y="683"/>
                  </a:lnTo>
                  <a:lnTo>
                    <a:pt x="663" y="663"/>
                  </a:lnTo>
                  <a:lnTo>
                    <a:pt x="663" y="644"/>
                  </a:lnTo>
                  <a:lnTo>
                    <a:pt x="653" y="634"/>
                  </a:lnTo>
                  <a:lnTo>
                    <a:pt x="663" y="614"/>
                  </a:lnTo>
                  <a:lnTo>
                    <a:pt x="663" y="595"/>
                  </a:lnTo>
                  <a:lnTo>
                    <a:pt x="663" y="575"/>
                  </a:lnTo>
                  <a:lnTo>
                    <a:pt x="653" y="575"/>
                  </a:lnTo>
                  <a:lnTo>
                    <a:pt x="644" y="556"/>
                  </a:lnTo>
                  <a:lnTo>
                    <a:pt x="644" y="536"/>
                  </a:lnTo>
                  <a:lnTo>
                    <a:pt x="644" y="517"/>
                  </a:lnTo>
                  <a:lnTo>
                    <a:pt x="634" y="497"/>
                  </a:lnTo>
                  <a:lnTo>
                    <a:pt x="624" y="487"/>
                  </a:lnTo>
                  <a:lnTo>
                    <a:pt x="634" y="478"/>
                  </a:lnTo>
                  <a:lnTo>
                    <a:pt x="634" y="458"/>
                  </a:lnTo>
                  <a:lnTo>
                    <a:pt x="634" y="429"/>
                  </a:lnTo>
                  <a:lnTo>
                    <a:pt x="644" y="429"/>
                  </a:lnTo>
                  <a:lnTo>
                    <a:pt x="644" y="419"/>
                  </a:lnTo>
                  <a:lnTo>
                    <a:pt x="663" y="419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73" y="370"/>
                  </a:lnTo>
                  <a:lnTo>
                    <a:pt x="673" y="361"/>
                  </a:lnTo>
                  <a:lnTo>
                    <a:pt x="683" y="351"/>
                  </a:lnTo>
                  <a:lnTo>
                    <a:pt x="692" y="361"/>
                  </a:lnTo>
                  <a:lnTo>
                    <a:pt x="702" y="351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22" y="331"/>
                  </a:lnTo>
                  <a:lnTo>
                    <a:pt x="722" y="312"/>
                  </a:lnTo>
                  <a:lnTo>
                    <a:pt x="731" y="312"/>
                  </a:lnTo>
                  <a:lnTo>
                    <a:pt x="731" y="322"/>
                  </a:lnTo>
                  <a:lnTo>
                    <a:pt x="751" y="341"/>
                  </a:lnTo>
                  <a:lnTo>
                    <a:pt x="761" y="361"/>
                  </a:lnTo>
                  <a:lnTo>
                    <a:pt x="761" y="380"/>
                  </a:lnTo>
                  <a:lnTo>
                    <a:pt x="770" y="380"/>
                  </a:lnTo>
                  <a:lnTo>
                    <a:pt x="790" y="380"/>
                  </a:lnTo>
                  <a:lnTo>
                    <a:pt x="790" y="400"/>
                  </a:lnTo>
                  <a:lnTo>
                    <a:pt x="790" y="380"/>
                  </a:lnTo>
                  <a:lnTo>
                    <a:pt x="800" y="370"/>
                  </a:lnTo>
                  <a:lnTo>
                    <a:pt x="809" y="380"/>
                  </a:lnTo>
                  <a:lnTo>
                    <a:pt x="809" y="390"/>
                  </a:lnTo>
                  <a:lnTo>
                    <a:pt x="829" y="409"/>
                  </a:lnTo>
                  <a:lnTo>
                    <a:pt x="839" y="400"/>
                  </a:lnTo>
                  <a:lnTo>
                    <a:pt x="829" y="390"/>
                  </a:lnTo>
                  <a:lnTo>
                    <a:pt x="839" y="380"/>
                  </a:lnTo>
                  <a:lnTo>
                    <a:pt x="839" y="370"/>
                  </a:lnTo>
                  <a:lnTo>
                    <a:pt x="839" y="361"/>
                  </a:lnTo>
                  <a:lnTo>
                    <a:pt x="829" y="341"/>
                  </a:lnTo>
                  <a:lnTo>
                    <a:pt x="829" y="322"/>
                  </a:lnTo>
                  <a:lnTo>
                    <a:pt x="829" y="302"/>
                  </a:lnTo>
                  <a:lnTo>
                    <a:pt x="829" y="283"/>
                  </a:lnTo>
                  <a:lnTo>
                    <a:pt x="819" y="273"/>
                  </a:lnTo>
                  <a:lnTo>
                    <a:pt x="819" y="263"/>
                  </a:lnTo>
                  <a:lnTo>
                    <a:pt x="819" y="244"/>
                  </a:lnTo>
                  <a:lnTo>
                    <a:pt x="819" y="234"/>
                  </a:lnTo>
                  <a:lnTo>
                    <a:pt x="790" y="224"/>
                  </a:lnTo>
                  <a:lnTo>
                    <a:pt x="790" y="204"/>
                  </a:lnTo>
                  <a:lnTo>
                    <a:pt x="770" y="204"/>
                  </a:lnTo>
                  <a:lnTo>
                    <a:pt x="770" y="195"/>
                  </a:lnTo>
                  <a:lnTo>
                    <a:pt x="761" y="175"/>
                  </a:lnTo>
                  <a:lnTo>
                    <a:pt x="741" y="165"/>
                  </a:lnTo>
                  <a:lnTo>
                    <a:pt x="731" y="146"/>
                  </a:lnTo>
                  <a:lnTo>
                    <a:pt x="692" y="146"/>
                  </a:lnTo>
                  <a:lnTo>
                    <a:pt x="683" y="146"/>
                  </a:lnTo>
                  <a:lnTo>
                    <a:pt x="683" y="117"/>
                  </a:lnTo>
                  <a:lnTo>
                    <a:pt x="663" y="117"/>
                  </a:lnTo>
                  <a:lnTo>
                    <a:pt x="663" y="107"/>
                  </a:lnTo>
                  <a:lnTo>
                    <a:pt x="663" y="87"/>
                  </a:lnTo>
                  <a:lnTo>
                    <a:pt x="653" y="78"/>
                  </a:lnTo>
                  <a:lnTo>
                    <a:pt x="644" y="68"/>
                  </a:lnTo>
                  <a:lnTo>
                    <a:pt x="634" y="78"/>
                  </a:lnTo>
                  <a:lnTo>
                    <a:pt x="614" y="78"/>
                  </a:lnTo>
                  <a:lnTo>
                    <a:pt x="614" y="68"/>
                  </a:lnTo>
                  <a:lnTo>
                    <a:pt x="614" y="58"/>
                  </a:lnTo>
                  <a:lnTo>
                    <a:pt x="595" y="48"/>
                  </a:lnTo>
                  <a:lnTo>
                    <a:pt x="585" y="39"/>
                  </a:lnTo>
                  <a:lnTo>
                    <a:pt x="585" y="29"/>
                  </a:lnTo>
                  <a:lnTo>
                    <a:pt x="585" y="19"/>
                  </a:lnTo>
                  <a:lnTo>
                    <a:pt x="566" y="19"/>
                  </a:lnTo>
                  <a:lnTo>
                    <a:pt x="556" y="0"/>
                  </a:lnTo>
                  <a:lnTo>
                    <a:pt x="527" y="0"/>
                  </a:lnTo>
                  <a:lnTo>
                    <a:pt x="507" y="9"/>
                  </a:lnTo>
                  <a:lnTo>
                    <a:pt x="488" y="29"/>
                  </a:lnTo>
                  <a:lnTo>
                    <a:pt x="468" y="29"/>
                  </a:lnTo>
                  <a:lnTo>
                    <a:pt x="439" y="39"/>
                  </a:lnTo>
                  <a:lnTo>
                    <a:pt x="439" y="48"/>
                  </a:lnTo>
                  <a:lnTo>
                    <a:pt x="429" y="68"/>
                  </a:lnTo>
                  <a:lnTo>
                    <a:pt x="409" y="68"/>
                  </a:lnTo>
                  <a:lnTo>
                    <a:pt x="400" y="68"/>
                  </a:lnTo>
                  <a:lnTo>
                    <a:pt x="390" y="68"/>
                  </a:lnTo>
                  <a:lnTo>
                    <a:pt x="370" y="68"/>
                  </a:lnTo>
                  <a:lnTo>
                    <a:pt x="351" y="68"/>
                  </a:lnTo>
                  <a:lnTo>
                    <a:pt x="351" y="78"/>
                  </a:lnTo>
                  <a:lnTo>
                    <a:pt x="322" y="78"/>
                  </a:lnTo>
                  <a:lnTo>
                    <a:pt x="302" y="68"/>
                  </a:lnTo>
                  <a:lnTo>
                    <a:pt x="292" y="48"/>
                  </a:lnTo>
                  <a:lnTo>
                    <a:pt x="253" y="4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01" name="Group 281"/>
            <p:cNvGrpSpPr>
              <a:grpSpLocks/>
            </p:cNvGrpSpPr>
            <p:nvPr/>
          </p:nvGrpSpPr>
          <p:grpSpPr bwMode="auto">
            <a:xfrm>
              <a:off x="7549" y="1220"/>
              <a:ext cx="839" cy="1044"/>
              <a:chOff x="7550" y="1220"/>
              <a:chExt cx="839" cy="1044"/>
            </a:xfrm>
          </p:grpSpPr>
          <p:sp>
            <p:nvSpPr>
              <p:cNvPr id="360" name="Freeform 283"/>
              <p:cNvSpPr>
                <a:spLocks/>
              </p:cNvSpPr>
              <p:nvPr/>
            </p:nvSpPr>
            <p:spPr bwMode="auto">
              <a:xfrm>
                <a:off x="7550" y="1220"/>
                <a:ext cx="839" cy="1048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  <a:lnTo>
                      <a:pt x="253" y="48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1" name="Freeform 282"/>
              <p:cNvSpPr>
                <a:spLocks/>
              </p:cNvSpPr>
              <p:nvPr/>
            </p:nvSpPr>
            <p:spPr bwMode="auto">
              <a:xfrm>
                <a:off x="7550" y="1220"/>
                <a:ext cx="839" cy="1048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02" name="Freeform 280"/>
            <p:cNvSpPr>
              <a:spLocks/>
            </p:cNvSpPr>
            <p:nvPr/>
          </p:nvSpPr>
          <p:spPr bwMode="auto">
            <a:xfrm>
              <a:off x="8136" y="2139"/>
              <a:ext cx="7" cy="16"/>
            </a:xfrm>
            <a:custGeom>
              <a:avLst/>
              <a:gdLst>
                <a:gd name="T0" fmla="*/ 0 w 10"/>
                <a:gd name="T1" fmla="*/ 0 h 19"/>
                <a:gd name="T2" fmla="*/ 10 w 10"/>
                <a:gd name="T3" fmla="*/ 0 h 19"/>
                <a:gd name="T4" fmla="*/ 10 w 10"/>
                <a:gd name="T5" fmla="*/ 9 h 19"/>
                <a:gd name="T6" fmla="*/ 10 w 10"/>
                <a:gd name="T7" fmla="*/ 19 h 19"/>
                <a:gd name="T8" fmla="*/ 0 w 10"/>
                <a:gd name="T9" fmla="*/ 19 h 19"/>
                <a:gd name="T10" fmla="*/ 0 w 10"/>
                <a:gd name="T11" fmla="*/ 9 h 19"/>
                <a:gd name="T12" fmla="*/ 0 w 10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9"/>
                <a:gd name="T23" fmla="*/ 10 w 10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9">
                  <a:moveTo>
                    <a:pt x="0" y="0"/>
                  </a:moveTo>
                  <a:lnTo>
                    <a:pt x="1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03" name="Group 277"/>
            <p:cNvGrpSpPr>
              <a:grpSpLocks/>
            </p:cNvGrpSpPr>
            <p:nvPr/>
          </p:nvGrpSpPr>
          <p:grpSpPr bwMode="auto">
            <a:xfrm>
              <a:off x="8134" y="2137"/>
              <a:ext cx="10" cy="19"/>
              <a:chOff x="8135" y="2137"/>
              <a:chExt cx="10" cy="19"/>
            </a:xfrm>
          </p:grpSpPr>
          <p:sp>
            <p:nvSpPr>
              <p:cNvPr id="358" name="Freeform 279"/>
              <p:cNvSpPr>
                <a:spLocks/>
              </p:cNvSpPr>
              <p:nvPr/>
            </p:nvSpPr>
            <p:spPr bwMode="auto">
              <a:xfrm>
                <a:off x="8135" y="2137"/>
                <a:ext cx="10" cy="19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9" name="Freeform 278"/>
              <p:cNvSpPr>
                <a:spLocks/>
              </p:cNvSpPr>
              <p:nvPr/>
            </p:nvSpPr>
            <p:spPr bwMode="auto">
              <a:xfrm>
                <a:off x="8135" y="2137"/>
                <a:ext cx="10" cy="19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04" name="Freeform 276"/>
            <p:cNvSpPr>
              <a:spLocks/>
            </p:cNvSpPr>
            <p:nvPr/>
          </p:nvSpPr>
          <p:spPr bwMode="auto">
            <a:xfrm>
              <a:off x="8632" y="1737"/>
              <a:ext cx="489" cy="771"/>
            </a:xfrm>
            <a:custGeom>
              <a:avLst/>
              <a:gdLst>
                <a:gd name="T0" fmla="*/ 29 w 487"/>
                <a:gd name="T1" fmla="*/ 449 h 770"/>
                <a:gd name="T2" fmla="*/ 58 w 487"/>
                <a:gd name="T3" fmla="*/ 409 h 770"/>
                <a:gd name="T4" fmla="*/ 87 w 487"/>
                <a:gd name="T5" fmla="*/ 370 h 770"/>
                <a:gd name="T6" fmla="*/ 87 w 487"/>
                <a:gd name="T7" fmla="*/ 292 h 770"/>
                <a:gd name="T8" fmla="*/ 48 w 487"/>
                <a:gd name="T9" fmla="*/ 312 h 770"/>
                <a:gd name="T10" fmla="*/ 39 w 487"/>
                <a:gd name="T11" fmla="*/ 253 h 770"/>
                <a:gd name="T12" fmla="*/ 78 w 487"/>
                <a:gd name="T13" fmla="*/ 244 h 770"/>
                <a:gd name="T14" fmla="*/ 87 w 487"/>
                <a:gd name="T15" fmla="*/ 156 h 770"/>
                <a:gd name="T16" fmla="*/ 58 w 487"/>
                <a:gd name="T17" fmla="*/ 107 h 770"/>
                <a:gd name="T18" fmla="*/ 78 w 487"/>
                <a:gd name="T19" fmla="*/ 68 h 770"/>
                <a:gd name="T20" fmla="*/ 126 w 487"/>
                <a:gd name="T21" fmla="*/ 39 h 770"/>
                <a:gd name="T22" fmla="*/ 175 w 487"/>
                <a:gd name="T23" fmla="*/ 9 h 770"/>
                <a:gd name="T24" fmla="*/ 204 w 487"/>
                <a:gd name="T25" fmla="*/ 29 h 770"/>
                <a:gd name="T26" fmla="*/ 234 w 487"/>
                <a:gd name="T27" fmla="*/ 19 h 770"/>
                <a:gd name="T28" fmla="*/ 253 w 487"/>
                <a:gd name="T29" fmla="*/ 29 h 770"/>
                <a:gd name="T30" fmla="*/ 292 w 487"/>
                <a:gd name="T31" fmla="*/ 39 h 770"/>
                <a:gd name="T32" fmla="*/ 292 w 487"/>
                <a:gd name="T33" fmla="*/ 78 h 770"/>
                <a:gd name="T34" fmla="*/ 253 w 487"/>
                <a:gd name="T35" fmla="*/ 68 h 770"/>
                <a:gd name="T36" fmla="*/ 243 w 487"/>
                <a:gd name="T37" fmla="*/ 39 h 770"/>
                <a:gd name="T38" fmla="*/ 243 w 487"/>
                <a:gd name="T39" fmla="*/ 78 h 770"/>
                <a:gd name="T40" fmla="*/ 253 w 487"/>
                <a:gd name="T41" fmla="*/ 117 h 770"/>
                <a:gd name="T42" fmla="*/ 282 w 487"/>
                <a:gd name="T43" fmla="*/ 166 h 770"/>
                <a:gd name="T44" fmla="*/ 321 w 487"/>
                <a:gd name="T45" fmla="*/ 195 h 770"/>
                <a:gd name="T46" fmla="*/ 380 w 487"/>
                <a:gd name="T47" fmla="*/ 214 h 770"/>
                <a:gd name="T48" fmla="*/ 380 w 487"/>
                <a:gd name="T49" fmla="*/ 253 h 770"/>
                <a:gd name="T50" fmla="*/ 351 w 487"/>
                <a:gd name="T51" fmla="*/ 273 h 770"/>
                <a:gd name="T52" fmla="*/ 341 w 487"/>
                <a:gd name="T53" fmla="*/ 312 h 770"/>
                <a:gd name="T54" fmla="*/ 351 w 487"/>
                <a:gd name="T55" fmla="*/ 341 h 770"/>
                <a:gd name="T56" fmla="*/ 360 w 487"/>
                <a:gd name="T57" fmla="*/ 380 h 770"/>
                <a:gd name="T58" fmla="*/ 370 w 487"/>
                <a:gd name="T59" fmla="*/ 400 h 770"/>
                <a:gd name="T60" fmla="*/ 390 w 487"/>
                <a:gd name="T61" fmla="*/ 400 h 770"/>
                <a:gd name="T62" fmla="*/ 438 w 487"/>
                <a:gd name="T63" fmla="*/ 429 h 770"/>
                <a:gd name="T64" fmla="*/ 429 w 487"/>
                <a:gd name="T65" fmla="*/ 439 h 770"/>
                <a:gd name="T66" fmla="*/ 409 w 487"/>
                <a:gd name="T67" fmla="*/ 468 h 770"/>
                <a:gd name="T68" fmla="*/ 409 w 487"/>
                <a:gd name="T69" fmla="*/ 497 h 770"/>
                <a:gd name="T70" fmla="*/ 380 w 487"/>
                <a:gd name="T71" fmla="*/ 517 h 770"/>
                <a:gd name="T72" fmla="*/ 390 w 487"/>
                <a:gd name="T73" fmla="*/ 527 h 770"/>
                <a:gd name="T74" fmla="*/ 419 w 487"/>
                <a:gd name="T75" fmla="*/ 546 h 770"/>
                <a:gd name="T76" fmla="*/ 429 w 487"/>
                <a:gd name="T77" fmla="*/ 556 h 770"/>
                <a:gd name="T78" fmla="*/ 448 w 487"/>
                <a:gd name="T79" fmla="*/ 575 h 770"/>
                <a:gd name="T80" fmla="*/ 458 w 487"/>
                <a:gd name="T81" fmla="*/ 595 h 770"/>
                <a:gd name="T82" fmla="*/ 468 w 487"/>
                <a:gd name="T83" fmla="*/ 614 h 770"/>
                <a:gd name="T84" fmla="*/ 477 w 487"/>
                <a:gd name="T85" fmla="*/ 644 h 770"/>
                <a:gd name="T86" fmla="*/ 477 w 487"/>
                <a:gd name="T87" fmla="*/ 673 h 770"/>
                <a:gd name="T88" fmla="*/ 487 w 487"/>
                <a:gd name="T89" fmla="*/ 702 h 770"/>
                <a:gd name="T90" fmla="*/ 487 w 487"/>
                <a:gd name="T91" fmla="*/ 751 h 770"/>
                <a:gd name="T92" fmla="*/ 487 w 487"/>
                <a:gd name="T93" fmla="*/ 770 h 770"/>
                <a:gd name="T94" fmla="*/ 458 w 487"/>
                <a:gd name="T95" fmla="*/ 751 h 770"/>
                <a:gd name="T96" fmla="*/ 419 w 487"/>
                <a:gd name="T97" fmla="*/ 741 h 770"/>
                <a:gd name="T98" fmla="*/ 380 w 487"/>
                <a:gd name="T99" fmla="*/ 702 h 770"/>
                <a:gd name="T100" fmla="*/ 331 w 487"/>
                <a:gd name="T101" fmla="*/ 663 h 770"/>
                <a:gd name="T102" fmla="*/ 263 w 487"/>
                <a:gd name="T103" fmla="*/ 634 h 770"/>
                <a:gd name="T104" fmla="*/ 126 w 487"/>
                <a:gd name="T105" fmla="*/ 556 h 770"/>
                <a:gd name="T106" fmla="*/ 58 w 487"/>
                <a:gd name="T107" fmla="*/ 507 h 770"/>
                <a:gd name="T108" fmla="*/ 0 w 487"/>
                <a:gd name="T109" fmla="*/ 458 h 77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87"/>
                <a:gd name="T166" fmla="*/ 0 h 770"/>
                <a:gd name="T167" fmla="*/ 487 w 487"/>
                <a:gd name="T168" fmla="*/ 770 h 77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87" h="770">
                  <a:moveTo>
                    <a:pt x="0" y="458"/>
                  </a:moveTo>
                  <a:lnTo>
                    <a:pt x="9" y="44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8" y="429"/>
                  </a:lnTo>
                  <a:lnTo>
                    <a:pt x="58" y="409"/>
                  </a:lnTo>
                  <a:lnTo>
                    <a:pt x="58" y="390"/>
                  </a:lnTo>
                  <a:lnTo>
                    <a:pt x="78" y="390"/>
                  </a:lnTo>
                  <a:lnTo>
                    <a:pt x="87" y="370"/>
                  </a:lnTo>
                  <a:lnTo>
                    <a:pt x="97" y="361"/>
                  </a:lnTo>
                  <a:lnTo>
                    <a:pt x="97" y="292"/>
                  </a:lnTo>
                  <a:lnTo>
                    <a:pt x="87" y="292"/>
                  </a:lnTo>
                  <a:lnTo>
                    <a:pt x="68" y="302"/>
                  </a:lnTo>
                  <a:lnTo>
                    <a:pt x="58" y="312"/>
                  </a:lnTo>
                  <a:lnTo>
                    <a:pt x="48" y="312"/>
                  </a:lnTo>
                  <a:lnTo>
                    <a:pt x="39" y="302"/>
                  </a:lnTo>
                  <a:lnTo>
                    <a:pt x="29" y="292"/>
                  </a:lnTo>
                  <a:lnTo>
                    <a:pt x="39" y="253"/>
                  </a:lnTo>
                  <a:lnTo>
                    <a:pt x="68" y="244"/>
                  </a:lnTo>
                  <a:lnTo>
                    <a:pt x="78" y="244"/>
                  </a:lnTo>
                  <a:lnTo>
                    <a:pt x="97" y="185"/>
                  </a:lnTo>
                  <a:lnTo>
                    <a:pt x="97" y="175"/>
                  </a:lnTo>
                  <a:lnTo>
                    <a:pt x="87" y="156"/>
                  </a:lnTo>
                  <a:lnTo>
                    <a:pt x="78" y="146"/>
                  </a:lnTo>
                  <a:lnTo>
                    <a:pt x="78" y="127"/>
                  </a:lnTo>
                  <a:lnTo>
                    <a:pt x="58" y="107"/>
                  </a:lnTo>
                  <a:lnTo>
                    <a:pt x="58" y="97"/>
                  </a:lnTo>
                  <a:lnTo>
                    <a:pt x="58" y="88"/>
                  </a:lnTo>
                  <a:lnTo>
                    <a:pt x="78" y="68"/>
                  </a:lnTo>
                  <a:lnTo>
                    <a:pt x="107" y="58"/>
                  </a:lnTo>
                  <a:lnTo>
                    <a:pt x="117" y="58"/>
                  </a:lnTo>
                  <a:lnTo>
                    <a:pt x="126" y="39"/>
                  </a:lnTo>
                  <a:lnTo>
                    <a:pt x="146" y="19"/>
                  </a:lnTo>
                  <a:lnTo>
                    <a:pt x="156" y="0"/>
                  </a:lnTo>
                  <a:lnTo>
                    <a:pt x="175" y="9"/>
                  </a:lnTo>
                  <a:lnTo>
                    <a:pt x="185" y="19"/>
                  </a:lnTo>
                  <a:lnTo>
                    <a:pt x="195" y="19"/>
                  </a:lnTo>
                  <a:lnTo>
                    <a:pt x="204" y="29"/>
                  </a:lnTo>
                  <a:lnTo>
                    <a:pt x="214" y="39"/>
                  </a:lnTo>
                  <a:lnTo>
                    <a:pt x="224" y="39"/>
                  </a:lnTo>
                  <a:lnTo>
                    <a:pt x="234" y="19"/>
                  </a:lnTo>
                  <a:lnTo>
                    <a:pt x="243" y="19"/>
                  </a:lnTo>
                  <a:lnTo>
                    <a:pt x="253" y="29"/>
                  </a:lnTo>
                  <a:lnTo>
                    <a:pt x="263" y="39"/>
                  </a:lnTo>
                  <a:lnTo>
                    <a:pt x="273" y="39"/>
                  </a:lnTo>
                  <a:lnTo>
                    <a:pt x="292" y="39"/>
                  </a:lnTo>
                  <a:lnTo>
                    <a:pt x="292" y="58"/>
                  </a:lnTo>
                  <a:lnTo>
                    <a:pt x="292" y="78"/>
                  </a:lnTo>
                  <a:lnTo>
                    <a:pt x="273" y="78"/>
                  </a:lnTo>
                  <a:lnTo>
                    <a:pt x="263" y="78"/>
                  </a:lnTo>
                  <a:lnTo>
                    <a:pt x="253" y="68"/>
                  </a:lnTo>
                  <a:lnTo>
                    <a:pt x="253" y="58"/>
                  </a:lnTo>
                  <a:lnTo>
                    <a:pt x="253" y="39"/>
                  </a:lnTo>
                  <a:lnTo>
                    <a:pt x="243" y="39"/>
                  </a:lnTo>
                  <a:lnTo>
                    <a:pt x="243" y="58"/>
                  </a:lnTo>
                  <a:lnTo>
                    <a:pt x="243" y="68"/>
                  </a:lnTo>
                  <a:lnTo>
                    <a:pt x="243" y="78"/>
                  </a:lnTo>
                  <a:lnTo>
                    <a:pt x="253" y="88"/>
                  </a:lnTo>
                  <a:lnTo>
                    <a:pt x="253" y="97"/>
                  </a:lnTo>
                  <a:lnTo>
                    <a:pt x="253" y="117"/>
                  </a:lnTo>
                  <a:lnTo>
                    <a:pt x="253" y="127"/>
                  </a:lnTo>
                  <a:lnTo>
                    <a:pt x="263" y="136"/>
                  </a:lnTo>
                  <a:lnTo>
                    <a:pt x="282" y="166"/>
                  </a:lnTo>
                  <a:lnTo>
                    <a:pt x="292" y="175"/>
                  </a:lnTo>
                  <a:lnTo>
                    <a:pt x="302" y="185"/>
                  </a:lnTo>
                  <a:lnTo>
                    <a:pt x="321" y="195"/>
                  </a:lnTo>
                  <a:lnTo>
                    <a:pt x="341" y="195"/>
                  </a:lnTo>
                  <a:lnTo>
                    <a:pt x="360" y="205"/>
                  </a:lnTo>
                  <a:lnTo>
                    <a:pt x="380" y="214"/>
                  </a:lnTo>
                  <a:lnTo>
                    <a:pt x="380" y="224"/>
                  </a:lnTo>
                  <a:lnTo>
                    <a:pt x="380" y="234"/>
                  </a:lnTo>
                  <a:lnTo>
                    <a:pt x="380" y="253"/>
                  </a:lnTo>
                  <a:lnTo>
                    <a:pt x="380" y="263"/>
                  </a:lnTo>
                  <a:lnTo>
                    <a:pt x="370" y="273"/>
                  </a:lnTo>
                  <a:lnTo>
                    <a:pt x="351" y="273"/>
                  </a:lnTo>
                  <a:lnTo>
                    <a:pt x="351" y="283"/>
                  </a:lnTo>
                  <a:lnTo>
                    <a:pt x="351" y="302"/>
                  </a:lnTo>
                  <a:lnTo>
                    <a:pt x="341" y="312"/>
                  </a:lnTo>
                  <a:lnTo>
                    <a:pt x="341" y="322"/>
                  </a:lnTo>
                  <a:lnTo>
                    <a:pt x="351" y="341"/>
                  </a:lnTo>
                  <a:lnTo>
                    <a:pt x="351" y="351"/>
                  </a:lnTo>
                  <a:lnTo>
                    <a:pt x="351" y="361"/>
                  </a:lnTo>
                  <a:lnTo>
                    <a:pt x="360" y="380"/>
                  </a:lnTo>
                  <a:lnTo>
                    <a:pt x="370" y="390"/>
                  </a:lnTo>
                  <a:lnTo>
                    <a:pt x="370" y="400"/>
                  </a:lnTo>
                  <a:lnTo>
                    <a:pt x="380" y="400"/>
                  </a:lnTo>
                  <a:lnTo>
                    <a:pt x="380" y="409"/>
                  </a:lnTo>
                  <a:lnTo>
                    <a:pt x="390" y="400"/>
                  </a:lnTo>
                  <a:lnTo>
                    <a:pt x="399" y="409"/>
                  </a:lnTo>
                  <a:lnTo>
                    <a:pt x="419" y="429"/>
                  </a:lnTo>
                  <a:lnTo>
                    <a:pt x="438" y="429"/>
                  </a:lnTo>
                  <a:lnTo>
                    <a:pt x="448" y="429"/>
                  </a:lnTo>
                  <a:lnTo>
                    <a:pt x="438" y="439"/>
                  </a:lnTo>
                  <a:lnTo>
                    <a:pt x="429" y="439"/>
                  </a:lnTo>
                  <a:lnTo>
                    <a:pt x="419" y="439"/>
                  </a:lnTo>
                  <a:lnTo>
                    <a:pt x="409" y="449"/>
                  </a:lnTo>
                  <a:lnTo>
                    <a:pt x="409" y="468"/>
                  </a:lnTo>
                  <a:lnTo>
                    <a:pt x="399" y="468"/>
                  </a:lnTo>
                  <a:lnTo>
                    <a:pt x="399" y="488"/>
                  </a:lnTo>
                  <a:lnTo>
                    <a:pt x="409" y="497"/>
                  </a:lnTo>
                  <a:lnTo>
                    <a:pt x="399" y="507"/>
                  </a:lnTo>
                  <a:lnTo>
                    <a:pt x="399" y="517"/>
                  </a:lnTo>
                  <a:lnTo>
                    <a:pt x="380" y="517"/>
                  </a:lnTo>
                  <a:lnTo>
                    <a:pt x="380" y="527"/>
                  </a:lnTo>
                  <a:lnTo>
                    <a:pt x="390" y="527"/>
                  </a:lnTo>
                  <a:lnTo>
                    <a:pt x="399" y="527"/>
                  </a:lnTo>
                  <a:lnTo>
                    <a:pt x="409" y="536"/>
                  </a:lnTo>
                  <a:lnTo>
                    <a:pt x="419" y="546"/>
                  </a:lnTo>
                  <a:lnTo>
                    <a:pt x="419" y="556"/>
                  </a:lnTo>
                  <a:lnTo>
                    <a:pt x="429" y="556"/>
                  </a:lnTo>
                  <a:lnTo>
                    <a:pt x="438" y="566"/>
                  </a:lnTo>
                  <a:lnTo>
                    <a:pt x="448" y="566"/>
                  </a:lnTo>
                  <a:lnTo>
                    <a:pt x="448" y="575"/>
                  </a:lnTo>
                  <a:lnTo>
                    <a:pt x="448" y="585"/>
                  </a:lnTo>
                  <a:lnTo>
                    <a:pt x="448" y="595"/>
                  </a:lnTo>
                  <a:lnTo>
                    <a:pt x="458" y="595"/>
                  </a:lnTo>
                  <a:lnTo>
                    <a:pt x="458" y="605"/>
                  </a:lnTo>
                  <a:lnTo>
                    <a:pt x="468" y="614"/>
                  </a:lnTo>
                  <a:lnTo>
                    <a:pt x="468" y="624"/>
                  </a:lnTo>
                  <a:lnTo>
                    <a:pt x="477" y="634"/>
                  </a:lnTo>
                  <a:lnTo>
                    <a:pt x="477" y="644"/>
                  </a:lnTo>
                  <a:lnTo>
                    <a:pt x="487" y="653"/>
                  </a:lnTo>
                  <a:lnTo>
                    <a:pt x="487" y="663"/>
                  </a:lnTo>
                  <a:lnTo>
                    <a:pt x="477" y="673"/>
                  </a:lnTo>
                  <a:lnTo>
                    <a:pt x="477" y="692"/>
                  </a:lnTo>
                  <a:lnTo>
                    <a:pt x="487" y="692"/>
                  </a:lnTo>
                  <a:lnTo>
                    <a:pt x="487" y="702"/>
                  </a:lnTo>
                  <a:lnTo>
                    <a:pt x="487" y="722"/>
                  </a:lnTo>
                  <a:lnTo>
                    <a:pt x="487" y="741"/>
                  </a:lnTo>
                  <a:lnTo>
                    <a:pt x="487" y="751"/>
                  </a:lnTo>
                  <a:lnTo>
                    <a:pt x="487" y="761"/>
                  </a:lnTo>
                  <a:lnTo>
                    <a:pt x="487" y="770"/>
                  </a:lnTo>
                  <a:lnTo>
                    <a:pt x="477" y="761"/>
                  </a:lnTo>
                  <a:lnTo>
                    <a:pt x="468" y="761"/>
                  </a:lnTo>
                  <a:lnTo>
                    <a:pt x="458" y="751"/>
                  </a:lnTo>
                  <a:lnTo>
                    <a:pt x="448" y="751"/>
                  </a:lnTo>
                  <a:lnTo>
                    <a:pt x="429" y="751"/>
                  </a:lnTo>
                  <a:lnTo>
                    <a:pt x="419" y="741"/>
                  </a:lnTo>
                  <a:lnTo>
                    <a:pt x="399" y="731"/>
                  </a:lnTo>
                  <a:lnTo>
                    <a:pt x="390" y="712"/>
                  </a:lnTo>
                  <a:lnTo>
                    <a:pt x="380" y="702"/>
                  </a:lnTo>
                  <a:lnTo>
                    <a:pt x="351" y="683"/>
                  </a:lnTo>
                  <a:lnTo>
                    <a:pt x="331" y="673"/>
                  </a:lnTo>
                  <a:lnTo>
                    <a:pt x="331" y="663"/>
                  </a:lnTo>
                  <a:lnTo>
                    <a:pt x="312" y="673"/>
                  </a:lnTo>
                  <a:lnTo>
                    <a:pt x="292" y="663"/>
                  </a:lnTo>
                  <a:lnTo>
                    <a:pt x="263" y="634"/>
                  </a:lnTo>
                  <a:lnTo>
                    <a:pt x="234" y="614"/>
                  </a:lnTo>
                  <a:lnTo>
                    <a:pt x="195" y="585"/>
                  </a:lnTo>
                  <a:lnTo>
                    <a:pt x="126" y="556"/>
                  </a:lnTo>
                  <a:lnTo>
                    <a:pt x="107" y="536"/>
                  </a:lnTo>
                  <a:lnTo>
                    <a:pt x="78" y="527"/>
                  </a:lnTo>
                  <a:lnTo>
                    <a:pt x="58" y="507"/>
                  </a:lnTo>
                  <a:lnTo>
                    <a:pt x="39" y="488"/>
                  </a:lnTo>
                  <a:lnTo>
                    <a:pt x="19" y="468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05" name="Group 273"/>
            <p:cNvGrpSpPr>
              <a:grpSpLocks/>
            </p:cNvGrpSpPr>
            <p:nvPr/>
          </p:nvGrpSpPr>
          <p:grpSpPr bwMode="auto">
            <a:xfrm>
              <a:off x="8632" y="1737"/>
              <a:ext cx="487" cy="770"/>
              <a:chOff x="8633" y="1737"/>
              <a:chExt cx="487" cy="770"/>
            </a:xfrm>
          </p:grpSpPr>
          <p:sp>
            <p:nvSpPr>
              <p:cNvPr id="356" name="Freeform 275"/>
              <p:cNvSpPr>
                <a:spLocks/>
              </p:cNvSpPr>
              <p:nvPr/>
            </p:nvSpPr>
            <p:spPr bwMode="auto">
              <a:xfrm>
                <a:off x="8633" y="1737"/>
                <a:ext cx="486" cy="771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7" name="Freeform 274"/>
              <p:cNvSpPr>
                <a:spLocks/>
              </p:cNvSpPr>
              <p:nvPr/>
            </p:nvSpPr>
            <p:spPr bwMode="auto">
              <a:xfrm>
                <a:off x="8633" y="1737"/>
                <a:ext cx="486" cy="771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06" name="Freeform 272"/>
            <p:cNvSpPr>
              <a:spLocks/>
            </p:cNvSpPr>
            <p:nvPr/>
          </p:nvSpPr>
          <p:spPr bwMode="auto">
            <a:xfrm>
              <a:off x="2995" y="1171"/>
              <a:ext cx="948" cy="635"/>
            </a:xfrm>
            <a:custGeom>
              <a:avLst/>
              <a:gdLst>
                <a:gd name="T0" fmla="*/ 282 w 946"/>
                <a:gd name="T1" fmla="*/ 390 h 634"/>
                <a:gd name="T2" fmla="*/ 370 w 946"/>
                <a:gd name="T3" fmla="*/ 429 h 634"/>
                <a:gd name="T4" fmla="*/ 497 w 946"/>
                <a:gd name="T5" fmla="*/ 527 h 634"/>
                <a:gd name="T6" fmla="*/ 663 w 946"/>
                <a:gd name="T7" fmla="*/ 634 h 634"/>
                <a:gd name="T8" fmla="*/ 741 w 946"/>
                <a:gd name="T9" fmla="*/ 614 h 634"/>
                <a:gd name="T10" fmla="*/ 790 w 946"/>
                <a:gd name="T11" fmla="*/ 595 h 634"/>
                <a:gd name="T12" fmla="*/ 838 w 946"/>
                <a:gd name="T13" fmla="*/ 585 h 634"/>
                <a:gd name="T14" fmla="*/ 897 w 946"/>
                <a:gd name="T15" fmla="*/ 585 h 634"/>
                <a:gd name="T16" fmla="*/ 907 w 946"/>
                <a:gd name="T17" fmla="*/ 517 h 634"/>
                <a:gd name="T18" fmla="*/ 946 w 946"/>
                <a:gd name="T19" fmla="*/ 517 h 634"/>
                <a:gd name="T20" fmla="*/ 946 w 946"/>
                <a:gd name="T21" fmla="*/ 497 h 634"/>
                <a:gd name="T22" fmla="*/ 916 w 946"/>
                <a:gd name="T23" fmla="*/ 439 h 634"/>
                <a:gd name="T24" fmla="*/ 829 w 946"/>
                <a:gd name="T25" fmla="*/ 361 h 634"/>
                <a:gd name="T26" fmla="*/ 780 w 946"/>
                <a:gd name="T27" fmla="*/ 371 h 634"/>
                <a:gd name="T28" fmla="*/ 770 w 946"/>
                <a:gd name="T29" fmla="*/ 419 h 634"/>
                <a:gd name="T30" fmla="*/ 731 w 946"/>
                <a:gd name="T31" fmla="*/ 458 h 634"/>
                <a:gd name="T32" fmla="*/ 702 w 946"/>
                <a:gd name="T33" fmla="*/ 458 h 634"/>
                <a:gd name="T34" fmla="*/ 673 w 946"/>
                <a:gd name="T35" fmla="*/ 458 h 634"/>
                <a:gd name="T36" fmla="*/ 702 w 946"/>
                <a:gd name="T37" fmla="*/ 429 h 634"/>
                <a:gd name="T38" fmla="*/ 712 w 946"/>
                <a:gd name="T39" fmla="*/ 400 h 634"/>
                <a:gd name="T40" fmla="*/ 673 w 946"/>
                <a:gd name="T41" fmla="*/ 400 h 634"/>
                <a:gd name="T42" fmla="*/ 653 w 946"/>
                <a:gd name="T43" fmla="*/ 390 h 634"/>
                <a:gd name="T44" fmla="*/ 624 w 946"/>
                <a:gd name="T45" fmla="*/ 400 h 634"/>
                <a:gd name="T46" fmla="*/ 585 w 946"/>
                <a:gd name="T47" fmla="*/ 361 h 634"/>
                <a:gd name="T48" fmla="*/ 526 w 946"/>
                <a:gd name="T49" fmla="*/ 341 h 634"/>
                <a:gd name="T50" fmla="*/ 497 w 946"/>
                <a:gd name="T51" fmla="*/ 341 h 634"/>
                <a:gd name="T52" fmla="*/ 458 w 946"/>
                <a:gd name="T53" fmla="*/ 312 h 634"/>
                <a:gd name="T54" fmla="*/ 497 w 946"/>
                <a:gd name="T55" fmla="*/ 312 h 634"/>
                <a:gd name="T56" fmla="*/ 517 w 946"/>
                <a:gd name="T57" fmla="*/ 273 h 634"/>
                <a:gd name="T58" fmla="*/ 507 w 946"/>
                <a:gd name="T59" fmla="*/ 253 h 634"/>
                <a:gd name="T60" fmla="*/ 448 w 946"/>
                <a:gd name="T61" fmla="*/ 263 h 634"/>
                <a:gd name="T62" fmla="*/ 419 w 946"/>
                <a:gd name="T63" fmla="*/ 283 h 634"/>
                <a:gd name="T64" fmla="*/ 409 w 946"/>
                <a:gd name="T65" fmla="*/ 244 h 634"/>
                <a:gd name="T66" fmla="*/ 321 w 946"/>
                <a:gd name="T67" fmla="*/ 234 h 634"/>
                <a:gd name="T68" fmla="*/ 263 w 946"/>
                <a:gd name="T69" fmla="*/ 224 h 634"/>
                <a:gd name="T70" fmla="*/ 214 w 946"/>
                <a:gd name="T71" fmla="*/ 214 h 634"/>
                <a:gd name="T72" fmla="*/ 156 w 946"/>
                <a:gd name="T73" fmla="*/ 253 h 634"/>
                <a:gd name="T74" fmla="*/ 87 w 946"/>
                <a:gd name="T75" fmla="*/ 205 h 634"/>
                <a:gd name="T76" fmla="*/ 107 w 946"/>
                <a:gd name="T77" fmla="*/ 156 h 634"/>
                <a:gd name="T78" fmla="*/ 136 w 946"/>
                <a:gd name="T79" fmla="*/ 136 h 634"/>
                <a:gd name="T80" fmla="*/ 185 w 946"/>
                <a:gd name="T81" fmla="*/ 146 h 634"/>
                <a:gd name="T82" fmla="*/ 224 w 946"/>
                <a:gd name="T83" fmla="*/ 117 h 634"/>
                <a:gd name="T84" fmla="*/ 224 w 946"/>
                <a:gd name="T85" fmla="*/ 58 h 634"/>
                <a:gd name="T86" fmla="*/ 185 w 946"/>
                <a:gd name="T87" fmla="*/ 0 h 634"/>
                <a:gd name="T88" fmla="*/ 165 w 946"/>
                <a:gd name="T89" fmla="*/ 29 h 634"/>
                <a:gd name="T90" fmla="*/ 126 w 946"/>
                <a:gd name="T91" fmla="*/ 68 h 634"/>
                <a:gd name="T92" fmla="*/ 97 w 946"/>
                <a:gd name="T93" fmla="*/ 88 h 634"/>
                <a:gd name="T94" fmla="*/ 58 w 946"/>
                <a:gd name="T95" fmla="*/ 117 h 634"/>
                <a:gd name="T96" fmla="*/ 48 w 946"/>
                <a:gd name="T97" fmla="*/ 166 h 634"/>
                <a:gd name="T98" fmla="*/ 0 w 946"/>
                <a:gd name="T99" fmla="*/ 185 h 634"/>
                <a:gd name="T100" fmla="*/ 29 w 946"/>
                <a:gd name="T101" fmla="*/ 302 h 634"/>
                <a:gd name="T102" fmla="*/ 97 w 946"/>
                <a:gd name="T103" fmla="*/ 332 h 63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6"/>
                <a:gd name="T157" fmla="*/ 0 h 634"/>
                <a:gd name="T158" fmla="*/ 946 w 946"/>
                <a:gd name="T159" fmla="*/ 634 h 63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6" h="634">
                  <a:moveTo>
                    <a:pt x="136" y="361"/>
                  </a:moveTo>
                  <a:lnTo>
                    <a:pt x="185" y="371"/>
                  </a:lnTo>
                  <a:lnTo>
                    <a:pt x="253" y="380"/>
                  </a:lnTo>
                  <a:lnTo>
                    <a:pt x="282" y="390"/>
                  </a:lnTo>
                  <a:lnTo>
                    <a:pt x="302" y="380"/>
                  </a:lnTo>
                  <a:lnTo>
                    <a:pt x="331" y="390"/>
                  </a:lnTo>
                  <a:lnTo>
                    <a:pt x="351" y="410"/>
                  </a:lnTo>
                  <a:lnTo>
                    <a:pt x="370" y="429"/>
                  </a:lnTo>
                  <a:lnTo>
                    <a:pt x="409" y="458"/>
                  </a:lnTo>
                  <a:lnTo>
                    <a:pt x="419" y="478"/>
                  </a:lnTo>
                  <a:lnTo>
                    <a:pt x="438" y="488"/>
                  </a:lnTo>
                  <a:lnTo>
                    <a:pt x="497" y="527"/>
                  </a:lnTo>
                  <a:lnTo>
                    <a:pt x="546" y="556"/>
                  </a:lnTo>
                  <a:lnTo>
                    <a:pt x="595" y="595"/>
                  </a:lnTo>
                  <a:lnTo>
                    <a:pt x="643" y="634"/>
                  </a:lnTo>
                  <a:lnTo>
                    <a:pt x="663" y="634"/>
                  </a:lnTo>
                  <a:lnTo>
                    <a:pt x="682" y="634"/>
                  </a:lnTo>
                  <a:lnTo>
                    <a:pt x="702" y="634"/>
                  </a:lnTo>
                  <a:lnTo>
                    <a:pt x="721" y="624"/>
                  </a:lnTo>
                  <a:lnTo>
                    <a:pt x="741" y="614"/>
                  </a:lnTo>
                  <a:lnTo>
                    <a:pt x="751" y="614"/>
                  </a:lnTo>
                  <a:lnTo>
                    <a:pt x="760" y="595"/>
                  </a:lnTo>
                  <a:lnTo>
                    <a:pt x="770" y="595"/>
                  </a:lnTo>
                  <a:lnTo>
                    <a:pt x="790" y="595"/>
                  </a:lnTo>
                  <a:lnTo>
                    <a:pt x="799" y="605"/>
                  </a:lnTo>
                  <a:lnTo>
                    <a:pt x="819" y="605"/>
                  </a:lnTo>
                  <a:lnTo>
                    <a:pt x="819" y="595"/>
                  </a:lnTo>
                  <a:lnTo>
                    <a:pt x="838" y="585"/>
                  </a:lnTo>
                  <a:lnTo>
                    <a:pt x="848" y="575"/>
                  </a:lnTo>
                  <a:lnTo>
                    <a:pt x="858" y="575"/>
                  </a:lnTo>
                  <a:lnTo>
                    <a:pt x="887" y="575"/>
                  </a:lnTo>
                  <a:lnTo>
                    <a:pt x="897" y="585"/>
                  </a:lnTo>
                  <a:lnTo>
                    <a:pt x="907" y="575"/>
                  </a:lnTo>
                  <a:lnTo>
                    <a:pt x="916" y="556"/>
                  </a:lnTo>
                  <a:lnTo>
                    <a:pt x="916" y="536"/>
                  </a:lnTo>
                  <a:lnTo>
                    <a:pt x="907" y="517"/>
                  </a:lnTo>
                  <a:lnTo>
                    <a:pt x="916" y="507"/>
                  </a:lnTo>
                  <a:lnTo>
                    <a:pt x="936" y="517"/>
                  </a:lnTo>
                  <a:lnTo>
                    <a:pt x="946" y="517"/>
                  </a:lnTo>
                  <a:lnTo>
                    <a:pt x="946" y="507"/>
                  </a:lnTo>
                  <a:lnTo>
                    <a:pt x="926" y="497"/>
                  </a:lnTo>
                  <a:lnTo>
                    <a:pt x="946" y="497"/>
                  </a:lnTo>
                  <a:lnTo>
                    <a:pt x="926" y="478"/>
                  </a:lnTo>
                  <a:lnTo>
                    <a:pt x="926" y="458"/>
                  </a:lnTo>
                  <a:lnTo>
                    <a:pt x="916" y="458"/>
                  </a:lnTo>
                  <a:lnTo>
                    <a:pt x="916" y="439"/>
                  </a:lnTo>
                  <a:lnTo>
                    <a:pt x="877" y="410"/>
                  </a:lnTo>
                  <a:lnTo>
                    <a:pt x="848" y="380"/>
                  </a:lnTo>
                  <a:lnTo>
                    <a:pt x="848" y="371"/>
                  </a:lnTo>
                  <a:lnTo>
                    <a:pt x="829" y="361"/>
                  </a:lnTo>
                  <a:lnTo>
                    <a:pt x="819" y="361"/>
                  </a:lnTo>
                  <a:lnTo>
                    <a:pt x="809" y="371"/>
                  </a:lnTo>
                  <a:lnTo>
                    <a:pt x="799" y="361"/>
                  </a:lnTo>
                  <a:lnTo>
                    <a:pt x="780" y="371"/>
                  </a:lnTo>
                  <a:lnTo>
                    <a:pt x="780" y="390"/>
                  </a:lnTo>
                  <a:lnTo>
                    <a:pt x="780" y="400"/>
                  </a:lnTo>
                  <a:lnTo>
                    <a:pt x="770" y="410"/>
                  </a:lnTo>
                  <a:lnTo>
                    <a:pt x="770" y="419"/>
                  </a:lnTo>
                  <a:lnTo>
                    <a:pt x="780" y="429"/>
                  </a:lnTo>
                  <a:lnTo>
                    <a:pt x="770" y="439"/>
                  </a:lnTo>
                  <a:lnTo>
                    <a:pt x="770" y="449"/>
                  </a:lnTo>
                  <a:lnTo>
                    <a:pt x="731" y="458"/>
                  </a:lnTo>
                  <a:lnTo>
                    <a:pt x="721" y="439"/>
                  </a:lnTo>
                  <a:lnTo>
                    <a:pt x="712" y="439"/>
                  </a:lnTo>
                  <a:lnTo>
                    <a:pt x="702" y="449"/>
                  </a:lnTo>
                  <a:lnTo>
                    <a:pt x="702" y="458"/>
                  </a:lnTo>
                  <a:lnTo>
                    <a:pt x="702" y="468"/>
                  </a:lnTo>
                  <a:lnTo>
                    <a:pt x="682" y="468"/>
                  </a:lnTo>
                  <a:lnTo>
                    <a:pt x="673" y="458"/>
                  </a:lnTo>
                  <a:lnTo>
                    <a:pt x="673" y="449"/>
                  </a:lnTo>
                  <a:lnTo>
                    <a:pt x="673" y="429"/>
                  </a:lnTo>
                  <a:lnTo>
                    <a:pt x="692" y="429"/>
                  </a:lnTo>
                  <a:lnTo>
                    <a:pt x="702" y="429"/>
                  </a:lnTo>
                  <a:lnTo>
                    <a:pt x="702" y="419"/>
                  </a:lnTo>
                  <a:lnTo>
                    <a:pt x="702" y="400"/>
                  </a:lnTo>
                  <a:lnTo>
                    <a:pt x="712" y="400"/>
                  </a:lnTo>
                  <a:lnTo>
                    <a:pt x="702" y="390"/>
                  </a:lnTo>
                  <a:lnTo>
                    <a:pt x="682" y="380"/>
                  </a:lnTo>
                  <a:lnTo>
                    <a:pt x="673" y="380"/>
                  </a:lnTo>
                  <a:lnTo>
                    <a:pt x="673" y="400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53" y="390"/>
                  </a:lnTo>
                  <a:lnTo>
                    <a:pt x="643" y="400"/>
                  </a:lnTo>
                  <a:lnTo>
                    <a:pt x="643" y="390"/>
                  </a:lnTo>
                  <a:lnTo>
                    <a:pt x="634" y="390"/>
                  </a:lnTo>
                  <a:lnTo>
                    <a:pt x="624" y="400"/>
                  </a:lnTo>
                  <a:lnTo>
                    <a:pt x="614" y="390"/>
                  </a:lnTo>
                  <a:lnTo>
                    <a:pt x="604" y="380"/>
                  </a:lnTo>
                  <a:lnTo>
                    <a:pt x="595" y="371"/>
                  </a:lnTo>
                  <a:lnTo>
                    <a:pt x="585" y="361"/>
                  </a:lnTo>
                  <a:lnTo>
                    <a:pt x="575" y="351"/>
                  </a:lnTo>
                  <a:lnTo>
                    <a:pt x="565" y="351"/>
                  </a:lnTo>
                  <a:lnTo>
                    <a:pt x="546" y="341"/>
                  </a:lnTo>
                  <a:lnTo>
                    <a:pt x="526" y="341"/>
                  </a:lnTo>
                  <a:lnTo>
                    <a:pt x="517" y="351"/>
                  </a:lnTo>
                  <a:lnTo>
                    <a:pt x="507" y="361"/>
                  </a:lnTo>
                  <a:lnTo>
                    <a:pt x="497" y="361"/>
                  </a:lnTo>
                  <a:lnTo>
                    <a:pt x="497" y="341"/>
                  </a:lnTo>
                  <a:lnTo>
                    <a:pt x="478" y="341"/>
                  </a:lnTo>
                  <a:lnTo>
                    <a:pt x="468" y="332"/>
                  </a:lnTo>
                  <a:lnTo>
                    <a:pt x="458" y="312"/>
                  </a:lnTo>
                  <a:lnTo>
                    <a:pt x="468" y="312"/>
                  </a:lnTo>
                  <a:lnTo>
                    <a:pt x="478" y="312"/>
                  </a:lnTo>
                  <a:lnTo>
                    <a:pt x="487" y="322"/>
                  </a:lnTo>
                  <a:lnTo>
                    <a:pt x="497" y="312"/>
                  </a:lnTo>
                  <a:lnTo>
                    <a:pt x="497" y="302"/>
                  </a:lnTo>
                  <a:lnTo>
                    <a:pt x="517" y="283"/>
                  </a:lnTo>
                  <a:lnTo>
                    <a:pt x="517" y="273"/>
                  </a:lnTo>
                  <a:lnTo>
                    <a:pt x="536" y="283"/>
                  </a:lnTo>
                  <a:lnTo>
                    <a:pt x="546" y="283"/>
                  </a:lnTo>
                  <a:lnTo>
                    <a:pt x="526" y="263"/>
                  </a:lnTo>
                  <a:lnTo>
                    <a:pt x="507" y="253"/>
                  </a:lnTo>
                  <a:lnTo>
                    <a:pt x="458" y="253"/>
                  </a:lnTo>
                  <a:lnTo>
                    <a:pt x="448" y="253"/>
                  </a:lnTo>
                  <a:lnTo>
                    <a:pt x="458" y="263"/>
                  </a:lnTo>
                  <a:lnTo>
                    <a:pt x="448" y="263"/>
                  </a:lnTo>
                  <a:lnTo>
                    <a:pt x="458" y="283"/>
                  </a:lnTo>
                  <a:lnTo>
                    <a:pt x="448" y="283"/>
                  </a:lnTo>
                  <a:lnTo>
                    <a:pt x="438" y="283"/>
                  </a:lnTo>
                  <a:lnTo>
                    <a:pt x="419" y="283"/>
                  </a:lnTo>
                  <a:lnTo>
                    <a:pt x="438" y="273"/>
                  </a:lnTo>
                  <a:lnTo>
                    <a:pt x="438" y="253"/>
                  </a:lnTo>
                  <a:lnTo>
                    <a:pt x="419" y="253"/>
                  </a:lnTo>
                  <a:lnTo>
                    <a:pt x="409" y="244"/>
                  </a:lnTo>
                  <a:lnTo>
                    <a:pt x="390" y="244"/>
                  </a:lnTo>
                  <a:lnTo>
                    <a:pt x="380" y="234"/>
                  </a:lnTo>
                  <a:lnTo>
                    <a:pt x="360" y="234"/>
                  </a:lnTo>
                  <a:lnTo>
                    <a:pt x="321" y="234"/>
                  </a:lnTo>
                  <a:lnTo>
                    <a:pt x="292" y="234"/>
                  </a:lnTo>
                  <a:lnTo>
                    <a:pt x="273" y="224"/>
                  </a:lnTo>
                  <a:lnTo>
                    <a:pt x="273" y="214"/>
                  </a:lnTo>
                  <a:lnTo>
                    <a:pt x="263" y="224"/>
                  </a:lnTo>
                  <a:lnTo>
                    <a:pt x="263" y="234"/>
                  </a:lnTo>
                  <a:lnTo>
                    <a:pt x="243" y="224"/>
                  </a:lnTo>
                  <a:lnTo>
                    <a:pt x="234" y="214"/>
                  </a:lnTo>
                  <a:lnTo>
                    <a:pt x="214" y="214"/>
                  </a:lnTo>
                  <a:lnTo>
                    <a:pt x="214" y="224"/>
                  </a:lnTo>
                  <a:lnTo>
                    <a:pt x="175" y="234"/>
                  </a:lnTo>
                  <a:lnTo>
                    <a:pt x="175" y="253"/>
                  </a:lnTo>
                  <a:lnTo>
                    <a:pt x="156" y="253"/>
                  </a:lnTo>
                  <a:lnTo>
                    <a:pt x="146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87" y="205"/>
                  </a:lnTo>
                  <a:lnTo>
                    <a:pt x="97" y="195"/>
                  </a:lnTo>
                  <a:lnTo>
                    <a:pt x="97" y="185"/>
                  </a:lnTo>
                  <a:lnTo>
                    <a:pt x="107" y="175"/>
                  </a:lnTo>
                  <a:lnTo>
                    <a:pt x="107" y="156"/>
                  </a:lnTo>
                  <a:lnTo>
                    <a:pt x="107" y="146"/>
                  </a:lnTo>
                  <a:lnTo>
                    <a:pt x="117" y="136"/>
                  </a:lnTo>
                  <a:lnTo>
                    <a:pt x="136" y="136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75" y="136"/>
                  </a:lnTo>
                  <a:lnTo>
                    <a:pt x="185" y="146"/>
                  </a:lnTo>
                  <a:lnTo>
                    <a:pt x="195" y="166"/>
                  </a:lnTo>
                  <a:lnTo>
                    <a:pt x="204" y="146"/>
                  </a:lnTo>
                  <a:lnTo>
                    <a:pt x="21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24" y="88"/>
                  </a:lnTo>
                  <a:lnTo>
                    <a:pt x="224" y="7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195" y="29"/>
                  </a:lnTo>
                  <a:lnTo>
                    <a:pt x="185" y="19"/>
                  </a:lnTo>
                  <a:lnTo>
                    <a:pt x="185" y="0"/>
                  </a:lnTo>
                  <a:lnTo>
                    <a:pt x="175" y="0"/>
                  </a:lnTo>
                  <a:lnTo>
                    <a:pt x="165" y="10"/>
                  </a:lnTo>
                  <a:lnTo>
                    <a:pt x="165" y="29"/>
                  </a:lnTo>
                  <a:lnTo>
                    <a:pt x="165" y="49"/>
                  </a:lnTo>
                  <a:lnTo>
                    <a:pt x="156" y="58"/>
                  </a:lnTo>
                  <a:lnTo>
                    <a:pt x="136" y="58"/>
                  </a:lnTo>
                  <a:lnTo>
                    <a:pt x="126" y="68"/>
                  </a:lnTo>
                  <a:lnTo>
                    <a:pt x="136" y="78"/>
                  </a:lnTo>
                  <a:lnTo>
                    <a:pt x="117" y="78"/>
                  </a:lnTo>
                  <a:lnTo>
                    <a:pt x="107" y="88"/>
                  </a:lnTo>
                  <a:lnTo>
                    <a:pt x="97" y="88"/>
                  </a:lnTo>
                  <a:lnTo>
                    <a:pt x="78" y="97"/>
                  </a:lnTo>
                  <a:lnTo>
                    <a:pt x="68" y="107"/>
                  </a:lnTo>
                  <a:lnTo>
                    <a:pt x="58" y="107"/>
                  </a:lnTo>
                  <a:lnTo>
                    <a:pt x="58" y="117"/>
                  </a:lnTo>
                  <a:lnTo>
                    <a:pt x="68" y="127"/>
                  </a:lnTo>
                  <a:lnTo>
                    <a:pt x="58" y="136"/>
                  </a:lnTo>
                  <a:lnTo>
                    <a:pt x="58" y="156"/>
                  </a:lnTo>
                  <a:lnTo>
                    <a:pt x="48" y="166"/>
                  </a:lnTo>
                  <a:lnTo>
                    <a:pt x="39" y="166"/>
                  </a:lnTo>
                  <a:lnTo>
                    <a:pt x="29" y="175"/>
                  </a:lnTo>
                  <a:lnTo>
                    <a:pt x="19" y="185"/>
                  </a:lnTo>
                  <a:lnTo>
                    <a:pt x="0" y="185"/>
                  </a:lnTo>
                  <a:lnTo>
                    <a:pt x="9" y="214"/>
                  </a:lnTo>
                  <a:lnTo>
                    <a:pt x="19" y="253"/>
                  </a:lnTo>
                  <a:lnTo>
                    <a:pt x="29" y="273"/>
                  </a:lnTo>
                  <a:lnTo>
                    <a:pt x="29" y="302"/>
                  </a:lnTo>
                  <a:lnTo>
                    <a:pt x="39" y="322"/>
                  </a:lnTo>
                  <a:lnTo>
                    <a:pt x="48" y="322"/>
                  </a:lnTo>
                  <a:lnTo>
                    <a:pt x="68" y="341"/>
                  </a:lnTo>
                  <a:lnTo>
                    <a:pt x="97" y="332"/>
                  </a:lnTo>
                  <a:lnTo>
                    <a:pt x="117" y="351"/>
                  </a:lnTo>
                  <a:lnTo>
                    <a:pt x="136" y="361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271"/>
            <p:cNvSpPr>
              <a:spLocks/>
            </p:cNvSpPr>
            <p:nvPr/>
          </p:nvSpPr>
          <p:spPr bwMode="auto">
            <a:xfrm>
              <a:off x="772" y="2870"/>
              <a:ext cx="174" cy="134"/>
            </a:xfrm>
            <a:custGeom>
              <a:avLst/>
              <a:gdLst>
                <a:gd name="T0" fmla="*/ 68 w 175"/>
                <a:gd name="T1" fmla="*/ 137 h 137"/>
                <a:gd name="T2" fmla="*/ 97 w 175"/>
                <a:gd name="T3" fmla="*/ 127 h 137"/>
                <a:gd name="T4" fmla="*/ 107 w 175"/>
                <a:gd name="T5" fmla="*/ 127 h 137"/>
                <a:gd name="T6" fmla="*/ 146 w 175"/>
                <a:gd name="T7" fmla="*/ 127 h 137"/>
                <a:gd name="T8" fmla="*/ 146 w 175"/>
                <a:gd name="T9" fmla="*/ 108 h 137"/>
                <a:gd name="T10" fmla="*/ 146 w 175"/>
                <a:gd name="T11" fmla="*/ 98 h 137"/>
                <a:gd name="T12" fmla="*/ 136 w 175"/>
                <a:gd name="T13" fmla="*/ 88 h 137"/>
                <a:gd name="T14" fmla="*/ 136 w 175"/>
                <a:gd name="T15" fmla="*/ 79 h 137"/>
                <a:gd name="T16" fmla="*/ 136 w 175"/>
                <a:gd name="T17" fmla="*/ 79 h 137"/>
                <a:gd name="T18" fmla="*/ 156 w 175"/>
                <a:gd name="T19" fmla="*/ 79 h 137"/>
                <a:gd name="T20" fmla="*/ 175 w 175"/>
                <a:gd name="T21" fmla="*/ 79 h 137"/>
                <a:gd name="T22" fmla="*/ 175 w 175"/>
                <a:gd name="T23" fmla="*/ 59 h 137"/>
                <a:gd name="T24" fmla="*/ 165 w 175"/>
                <a:gd name="T25" fmla="*/ 49 h 137"/>
                <a:gd name="T26" fmla="*/ 156 w 175"/>
                <a:gd name="T27" fmla="*/ 49 h 137"/>
                <a:gd name="T28" fmla="*/ 146 w 175"/>
                <a:gd name="T29" fmla="*/ 30 h 137"/>
                <a:gd name="T30" fmla="*/ 146 w 175"/>
                <a:gd name="T31" fmla="*/ 10 h 137"/>
                <a:gd name="T32" fmla="*/ 126 w 175"/>
                <a:gd name="T33" fmla="*/ 10 h 137"/>
                <a:gd name="T34" fmla="*/ 126 w 175"/>
                <a:gd name="T35" fmla="*/ 30 h 137"/>
                <a:gd name="T36" fmla="*/ 97 w 175"/>
                <a:gd name="T37" fmla="*/ 30 h 137"/>
                <a:gd name="T38" fmla="*/ 87 w 175"/>
                <a:gd name="T39" fmla="*/ 40 h 137"/>
                <a:gd name="T40" fmla="*/ 78 w 175"/>
                <a:gd name="T41" fmla="*/ 30 h 137"/>
                <a:gd name="T42" fmla="*/ 87 w 175"/>
                <a:gd name="T43" fmla="*/ 10 h 137"/>
                <a:gd name="T44" fmla="*/ 68 w 175"/>
                <a:gd name="T45" fmla="*/ 0 h 137"/>
                <a:gd name="T46" fmla="*/ 48 w 175"/>
                <a:gd name="T47" fmla="*/ 0 h 137"/>
                <a:gd name="T48" fmla="*/ 29 w 175"/>
                <a:gd name="T49" fmla="*/ 0 h 137"/>
                <a:gd name="T50" fmla="*/ 0 w 175"/>
                <a:gd name="T51" fmla="*/ 20 h 137"/>
                <a:gd name="T52" fmla="*/ 9 w 175"/>
                <a:gd name="T53" fmla="*/ 40 h 137"/>
                <a:gd name="T54" fmla="*/ 19 w 175"/>
                <a:gd name="T55" fmla="*/ 59 h 137"/>
                <a:gd name="T56" fmla="*/ 29 w 175"/>
                <a:gd name="T57" fmla="*/ 79 h 137"/>
                <a:gd name="T58" fmla="*/ 29 w 175"/>
                <a:gd name="T59" fmla="*/ 98 h 137"/>
                <a:gd name="T60" fmla="*/ 39 w 175"/>
                <a:gd name="T61" fmla="*/ 108 h 137"/>
                <a:gd name="T62" fmla="*/ 48 w 175"/>
                <a:gd name="T63" fmla="*/ 108 h 137"/>
                <a:gd name="T64" fmla="*/ 58 w 175"/>
                <a:gd name="T65" fmla="*/ 118 h 137"/>
                <a:gd name="T66" fmla="*/ 68 w 175"/>
                <a:gd name="T67" fmla="*/ 137 h 13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5"/>
                <a:gd name="T103" fmla="*/ 0 h 137"/>
                <a:gd name="T104" fmla="*/ 175 w 175"/>
                <a:gd name="T105" fmla="*/ 137 h 13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5" h="137">
                  <a:moveTo>
                    <a:pt x="68" y="137"/>
                  </a:moveTo>
                  <a:lnTo>
                    <a:pt x="97" y="127"/>
                  </a:lnTo>
                  <a:lnTo>
                    <a:pt x="107" y="127"/>
                  </a:lnTo>
                  <a:lnTo>
                    <a:pt x="146" y="127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36" y="88"/>
                  </a:lnTo>
                  <a:lnTo>
                    <a:pt x="136" y="79"/>
                  </a:lnTo>
                  <a:lnTo>
                    <a:pt x="156" y="79"/>
                  </a:lnTo>
                  <a:lnTo>
                    <a:pt x="175" y="79"/>
                  </a:lnTo>
                  <a:lnTo>
                    <a:pt x="175" y="59"/>
                  </a:lnTo>
                  <a:lnTo>
                    <a:pt x="165" y="49"/>
                  </a:lnTo>
                  <a:lnTo>
                    <a:pt x="156" y="49"/>
                  </a:lnTo>
                  <a:lnTo>
                    <a:pt x="146" y="30"/>
                  </a:lnTo>
                  <a:lnTo>
                    <a:pt x="146" y="10"/>
                  </a:lnTo>
                  <a:lnTo>
                    <a:pt x="126" y="10"/>
                  </a:lnTo>
                  <a:lnTo>
                    <a:pt x="126" y="30"/>
                  </a:lnTo>
                  <a:lnTo>
                    <a:pt x="97" y="30"/>
                  </a:lnTo>
                  <a:lnTo>
                    <a:pt x="87" y="40"/>
                  </a:lnTo>
                  <a:lnTo>
                    <a:pt x="78" y="3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48" y="0"/>
                  </a:lnTo>
                  <a:lnTo>
                    <a:pt x="29" y="0"/>
                  </a:lnTo>
                  <a:lnTo>
                    <a:pt x="0" y="20"/>
                  </a:lnTo>
                  <a:lnTo>
                    <a:pt x="9" y="40"/>
                  </a:lnTo>
                  <a:lnTo>
                    <a:pt x="19" y="59"/>
                  </a:lnTo>
                  <a:lnTo>
                    <a:pt x="29" y="79"/>
                  </a:lnTo>
                  <a:lnTo>
                    <a:pt x="29" y="98"/>
                  </a:lnTo>
                  <a:lnTo>
                    <a:pt x="39" y="108"/>
                  </a:lnTo>
                  <a:lnTo>
                    <a:pt x="48" y="108"/>
                  </a:lnTo>
                  <a:lnTo>
                    <a:pt x="58" y="118"/>
                  </a:lnTo>
                  <a:lnTo>
                    <a:pt x="68" y="137"/>
                  </a:lnTo>
                  <a:close/>
                </a:path>
              </a:pathLst>
            </a:custGeom>
            <a:solidFill>
              <a:srgbClr val="99C7B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Freeform 270"/>
            <p:cNvSpPr>
              <a:spLocks/>
            </p:cNvSpPr>
            <p:nvPr/>
          </p:nvSpPr>
          <p:spPr bwMode="auto">
            <a:xfrm>
              <a:off x="2741" y="2069"/>
              <a:ext cx="215" cy="322"/>
            </a:xfrm>
            <a:custGeom>
              <a:avLst/>
              <a:gdLst>
                <a:gd name="T0" fmla="*/ 58 w 215"/>
                <a:gd name="T1" fmla="*/ 157 h 322"/>
                <a:gd name="T2" fmla="*/ 68 w 215"/>
                <a:gd name="T3" fmla="*/ 157 h 322"/>
                <a:gd name="T4" fmla="*/ 88 w 215"/>
                <a:gd name="T5" fmla="*/ 137 h 322"/>
                <a:gd name="T6" fmla="*/ 97 w 215"/>
                <a:gd name="T7" fmla="*/ 127 h 322"/>
                <a:gd name="T8" fmla="*/ 97 w 215"/>
                <a:gd name="T9" fmla="*/ 108 h 322"/>
                <a:gd name="T10" fmla="*/ 78 w 215"/>
                <a:gd name="T11" fmla="*/ 108 h 322"/>
                <a:gd name="T12" fmla="*/ 58 w 215"/>
                <a:gd name="T13" fmla="*/ 78 h 322"/>
                <a:gd name="T14" fmla="*/ 49 w 215"/>
                <a:gd name="T15" fmla="*/ 69 h 322"/>
                <a:gd name="T16" fmla="*/ 68 w 215"/>
                <a:gd name="T17" fmla="*/ 59 h 322"/>
                <a:gd name="T18" fmla="*/ 68 w 215"/>
                <a:gd name="T19" fmla="*/ 20 h 322"/>
                <a:gd name="T20" fmla="*/ 78 w 215"/>
                <a:gd name="T21" fmla="*/ 0 h 322"/>
                <a:gd name="T22" fmla="*/ 97 w 215"/>
                <a:gd name="T23" fmla="*/ 10 h 322"/>
                <a:gd name="T24" fmla="*/ 107 w 215"/>
                <a:gd name="T25" fmla="*/ 10 h 322"/>
                <a:gd name="T26" fmla="*/ 117 w 215"/>
                <a:gd name="T27" fmla="*/ 20 h 322"/>
                <a:gd name="T28" fmla="*/ 136 w 215"/>
                <a:gd name="T29" fmla="*/ 10 h 322"/>
                <a:gd name="T30" fmla="*/ 166 w 215"/>
                <a:gd name="T31" fmla="*/ 30 h 322"/>
                <a:gd name="T32" fmla="*/ 156 w 215"/>
                <a:gd name="T33" fmla="*/ 49 h 322"/>
                <a:gd name="T34" fmla="*/ 166 w 215"/>
                <a:gd name="T35" fmla="*/ 69 h 322"/>
                <a:gd name="T36" fmla="*/ 185 w 215"/>
                <a:gd name="T37" fmla="*/ 59 h 322"/>
                <a:gd name="T38" fmla="*/ 215 w 215"/>
                <a:gd name="T39" fmla="*/ 108 h 322"/>
                <a:gd name="T40" fmla="*/ 215 w 215"/>
                <a:gd name="T41" fmla="*/ 127 h 322"/>
                <a:gd name="T42" fmla="*/ 205 w 215"/>
                <a:gd name="T43" fmla="*/ 127 h 322"/>
                <a:gd name="T44" fmla="*/ 195 w 215"/>
                <a:gd name="T45" fmla="*/ 137 h 322"/>
                <a:gd name="T46" fmla="*/ 185 w 215"/>
                <a:gd name="T47" fmla="*/ 147 h 322"/>
                <a:gd name="T48" fmla="*/ 195 w 215"/>
                <a:gd name="T49" fmla="*/ 157 h 322"/>
                <a:gd name="T50" fmla="*/ 185 w 215"/>
                <a:gd name="T51" fmla="*/ 176 h 322"/>
                <a:gd name="T52" fmla="*/ 185 w 215"/>
                <a:gd name="T53" fmla="*/ 186 h 322"/>
                <a:gd name="T54" fmla="*/ 185 w 215"/>
                <a:gd name="T55" fmla="*/ 196 h 322"/>
                <a:gd name="T56" fmla="*/ 176 w 215"/>
                <a:gd name="T57" fmla="*/ 205 h 322"/>
                <a:gd name="T58" fmla="*/ 166 w 215"/>
                <a:gd name="T59" fmla="*/ 196 h 322"/>
                <a:gd name="T60" fmla="*/ 166 w 215"/>
                <a:gd name="T61" fmla="*/ 205 h 322"/>
                <a:gd name="T62" fmla="*/ 156 w 215"/>
                <a:gd name="T63" fmla="*/ 215 h 322"/>
                <a:gd name="T64" fmla="*/ 156 w 215"/>
                <a:gd name="T65" fmla="*/ 225 h 322"/>
                <a:gd name="T66" fmla="*/ 146 w 215"/>
                <a:gd name="T67" fmla="*/ 235 h 322"/>
                <a:gd name="T68" fmla="*/ 136 w 215"/>
                <a:gd name="T69" fmla="*/ 235 h 322"/>
                <a:gd name="T70" fmla="*/ 136 w 215"/>
                <a:gd name="T71" fmla="*/ 244 h 322"/>
                <a:gd name="T72" fmla="*/ 136 w 215"/>
                <a:gd name="T73" fmla="*/ 254 h 322"/>
                <a:gd name="T74" fmla="*/ 127 w 215"/>
                <a:gd name="T75" fmla="*/ 264 h 322"/>
                <a:gd name="T76" fmla="*/ 127 w 215"/>
                <a:gd name="T77" fmla="*/ 274 h 322"/>
                <a:gd name="T78" fmla="*/ 146 w 215"/>
                <a:gd name="T79" fmla="*/ 293 h 322"/>
                <a:gd name="T80" fmla="*/ 146 w 215"/>
                <a:gd name="T81" fmla="*/ 303 h 322"/>
                <a:gd name="T82" fmla="*/ 146 w 215"/>
                <a:gd name="T83" fmla="*/ 313 h 322"/>
                <a:gd name="T84" fmla="*/ 136 w 215"/>
                <a:gd name="T85" fmla="*/ 322 h 322"/>
                <a:gd name="T86" fmla="*/ 127 w 215"/>
                <a:gd name="T87" fmla="*/ 313 h 322"/>
                <a:gd name="T88" fmla="*/ 107 w 215"/>
                <a:gd name="T89" fmla="*/ 313 h 322"/>
                <a:gd name="T90" fmla="*/ 78 w 215"/>
                <a:gd name="T91" fmla="*/ 313 h 322"/>
                <a:gd name="T92" fmla="*/ 58 w 215"/>
                <a:gd name="T93" fmla="*/ 283 h 322"/>
                <a:gd name="T94" fmla="*/ 49 w 215"/>
                <a:gd name="T95" fmla="*/ 293 h 322"/>
                <a:gd name="T96" fmla="*/ 49 w 215"/>
                <a:gd name="T97" fmla="*/ 303 h 322"/>
                <a:gd name="T98" fmla="*/ 19 w 215"/>
                <a:gd name="T99" fmla="*/ 303 h 322"/>
                <a:gd name="T100" fmla="*/ 10 w 215"/>
                <a:gd name="T101" fmla="*/ 293 h 322"/>
                <a:gd name="T102" fmla="*/ 0 w 215"/>
                <a:gd name="T103" fmla="*/ 264 h 322"/>
                <a:gd name="T104" fmla="*/ 0 w 215"/>
                <a:gd name="T105" fmla="*/ 244 h 322"/>
                <a:gd name="T106" fmla="*/ 10 w 215"/>
                <a:gd name="T107" fmla="*/ 225 h 322"/>
                <a:gd name="T108" fmla="*/ 19 w 215"/>
                <a:gd name="T109" fmla="*/ 215 h 322"/>
                <a:gd name="T110" fmla="*/ 10 w 215"/>
                <a:gd name="T111" fmla="*/ 205 h 322"/>
                <a:gd name="T112" fmla="*/ 10 w 215"/>
                <a:gd name="T113" fmla="*/ 196 h 322"/>
                <a:gd name="T114" fmla="*/ 19 w 215"/>
                <a:gd name="T115" fmla="*/ 186 h 322"/>
                <a:gd name="T116" fmla="*/ 58 w 215"/>
                <a:gd name="T117" fmla="*/ 157 h 3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5"/>
                <a:gd name="T178" fmla="*/ 0 h 322"/>
                <a:gd name="T179" fmla="*/ 215 w 215"/>
                <a:gd name="T180" fmla="*/ 322 h 3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5" h="322">
                  <a:moveTo>
                    <a:pt x="58" y="157"/>
                  </a:moveTo>
                  <a:lnTo>
                    <a:pt x="68" y="157"/>
                  </a:lnTo>
                  <a:lnTo>
                    <a:pt x="88" y="137"/>
                  </a:lnTo>
                  <a:lnTo>
                    <a:pt x="97" y="127"/>
                  </a:lnTo>
                  <a:lnTo>
                    <a:pt x="97" y="108"/>
                  </a:lnTo>
                  <a:lnTo>
                    <a:pt x="78" y="108"/>
                  </a:lnTo>
                  <a:lnTo>
                    <a:pt x="58" y="78"/>
                  </a:lnTo>
                  <a:lnTo>
                    <a:pt x="49" y="69"/>
                  </a:lnTo>
                  <a:lnTo>
                    <a:pt x="68" y="59"/>
                  </a:lnTo>
                  <a:lnTo>
                    <a:pt x="68" y="2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10"/>
                  </a:lnTo>
                  <a:lnTo>
                    <a:pt x="117" y="20"/>
                  </a:lnTo>
                  <a:lnTo>
                    <a:pt x="136" y="10"/>
                  </a:lnTo>
                  <a:lnTo>
                    <a:pt x="166" y="30"/>
                  </a:lnTo>
                  <a:lnTo>
                    <a:pt x="156" y="49"/>
                  </a:lnTo>
                  <a:lnTo>
                    <a:pt x="166" y="69"/>
                  </a:lnTo>
                  <a:lnTo>
                    <a:pt x="185" y="59"/>
                  </a:lnTo>
                  <a:lnTo>
                    <a:pt x="215" y="108"/>
                  </a:lnTo>
                  <a:lnTo>
                    <a:pt x="215" y="127"/>
                  </a:lnTo>
                  <a:lnTo>
                    <a:pt x="205" y="127"/>
                  </a:lnTo>
                  <a:lnTo>
                    <a:pt x="195" y="137"/>
                  </a:lnTo>
                  <a:lnTo>
                    <a:pt x="185" y="147"/>
                  </a:lnTo>
                  <a:lnTo>
                    <a:pt x="195" y="157"/>
                  </a:lnTo>
                  <a:lnTo>
                    <a:pt x="185" y="176"/>
                  </a:lnTo>
                  <a:lnTo>
                    <a:pt x="185" y="186"/>
                  </a:lnTo>
                  <a:lnTo>
                    <a:pt x="185" y="196"/>
                  </a:lnTo>
                  <a:lnTo>
                    <a:pt x="176" y="205"/>
                  </a:lnTo>
                  <a:lnTo>
                    <a:pt x="166" y="196"/>
                  </a:lnTo>
                  <a:lnTo>
                    <a:pt x="166" y="205"/>
                  </a:lnTo>
                  <a:lnTo>
                    <a:pt x="156" y="215"/>
                  </a:lnTo>
                  <a:lnTo>
                    <a:pt x="156" y="225"/>
                  </a:lnTo>
                  <a:lnTo>
                    <a:pt x="146" y="235"/>
                  </a:lnTo>
                  <a:lnTo>
                    <a:pt x="136" y="235"/>
                  </a:lnTo>
                  <a:lnTo>
                    <a:pt x="136" y="244"/>
                  </a:lnTo>
                  <a:lnTo>
                    <a:pt x="136" y="254"/>
                  </a:lnTo>
                  <a:lnTo>
                    <a:pt x="127" y="264"/>
                  </a:lnTo>
                  <a:lnTo>
                    <a:pt x="127" y="274"/>
                  </a:lnTo>
                  <a:lnTo>
                    <a:pt x="146" y="293"/>
                  </a:lnTo>
                  <a:lnTo>
                    <a:pt x="146" y="303"/>
                  </a:lnTo>
                  <a:lnTo>
                    <a:pt x="146" y="313"/>
                  </a:lnTo>
                  <a:lnTo>
                    <a:pt x="136" y="322"/>
                  </a:lnTo>
                  <a:lnTo>
                    <a:pt x="127" y="313"/>
                  </a:lnTo>
                  <a:lnTo>
                    <a:pt x="107" y="313"/>
                  </a:lnTo>
                  <a:lnTo>
                    <a:pt x="78" y="313"/>
                  </a:lnTo>
                  <a:lnTo>
                    <a:pt x="58" y="283"/>
                  </a:lnTo>
                  <a:lnTo>
                    <a:pt x="49" y="293"/>
                  </a:lnTo>
                  <a:lnTo>
                    <a:pt x="49" y="303"/>
                  </a:lnTo>
                  <a:lnTo>
                    <a:pt x="19" y="303"/>
                  </a:lnTo>
                  <a:lnTo>
                    <a:pt x="10" y="293"/>
                  </a:lnTo>
                  <a:lnTo>
                    <a:pt x="0" y="264"/>
                  </a:lnTo>
                  <a:lnTo>
                    <a:pt x="0" y="244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10" y="205"/>
                  </a:lnTo>
                  <a:lnTo>
                    <a:pt x="10" y="196"/>
                  </a:lnTo>
                  <a:lnTo>
                    <a:pt x="19" y="186"/>
                  </a:lnTo>
                  <a:lnTo>
                    <a:pt x="58" y="157"/>
                  </a:lnTo>
                  <a:close/>
                </a:path>
              </a:pathLst>
            </a:custGeom>
            <a:solidFill>
              <a:srgbClr val="DEC2B3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Freeform 269"/>
            <p:cNvSpPr>
              <a:spLocks/>
            </p:cNvSpPr>
            <p:nvPr/>
          </p:nvSpPr>
          <p:spPr bwMode="auto">
            <a:xfrm>
              <a:off x="4156" y="3845"/>
              <a:ext cx="428" cy="388"/>
            </a:xfrm>
            <a:custGeom>
              <a:avLst/>
              <a:gdLst>
                <a:gd name="T0" fmla="*/ 293 w 429"/>
                <a:gd name="T1" fmla="*/ 29 h 390"/>
                <a:gd name="T2" fmla="*/ 322 w 429"/>
                <a:gd name="T3" fmla="*/ 20 h 390"/>
                <a:gd name="T4" fmla="*/ 351 w 429"/>
                <a:gd name="T5" fmla="*/ 49 h 390"/>
                <a:gd name="T6" fmla="*/ 332 w 429"/>
                <a:gd name="T7" fmla="*/ 68 h 390"/>
                <a:gd name="T8" fmla="*/ 312 w 429"/>
                <a:gd name="T9" fmla="*/ 78 h 390"/>
                <a:gd name="T10" fmla="*/ 312 w 429"/>
                <a:gd name="T11" fmla="*/ 98 h 390"/>
                <a:gd name="T12" fmla="*/ 312 w 429"/>
                <a:gd name="T13" fmla="*/ 117 h 390"/>
                <a:gd name="T14" fmla="*/ 332 w 429"/>
                <a:gd name="T15" fmla="*/ 147 h 390"/>
                <a:gd name="T16" fmla="*/ 371 w 429"/>
                <a:gd name="T17" fmla="*/ 147 h 390"/>
                <a:gd name="T18" fmla="*/ 371 w 429"/>
                <a:gd name="T19" fmla="*/ 166 h 390"/>
                <a:gd name="T20" fmla="*/ 371 w 429"/>
                <a:gd name="T21" fmla="*/ 205 h 390"/>
                <a:gd name="T22" fmla="*/ 400 w 429"/>
                <a:gd name="T23" fmla="*/ 234 h 390"/>
                <a:gd name="T24" fmla="*/ 429 w 429"/>
                <a:gd name="T25" fmla="*/ 283 h 390"/>
                <a:gd name="T26" fmla="*/ 410 w 429"/>
                <a:gd name="T27" fmla="*/ 273 h 390"/>
                <a:gd name="T28" fmla="*/ 400 w 429"/>
                <a:gd name="T29" fmla="*/ 283 h 390"/>
                <a:gd name="T30" fmla="*/ 371 w 429"/>
                <a:gd name="T31" fmla="*/ 293 h 390"/>
                <a:gd name="T32" fmla="*/ 390 w 429"/>
                <a:gd name="T33" fmla="*/ 303 h 390"/>
                <a:gd name="T34" fmla="*/ 400 w 429"/>
                <a:gd name="T35" fmla="*/ 322 h 390"/>
                <a:gd name="T36" fmla="*/ 400 w 429"/>
                <a:gd name="T37" fmla="*/ 332 h 390"/>
                <a:gd name="T38" fmla="*/ 410 w 429"/>
                <a:gd name="T39" fmla="*/ 342 h 390"/>
                <a:gd name="T40" fmla="*/ 400 w 429"/>
                <a:gd name="T41" fmla="*/ 361 h 390"/>
                <a:gd name="T42" fmla="*/ 351 w 429"/>
                <a:gd name="T43" fmla="*/ 371 h 390"/>
                <a:gd name="T44" fmla="*/ 293 w 429"/>
                <a:gd name="T45" fmla="*/ 371 h 390"/>
                <a:gd name="T46" fmla="*/ 273 w 429"/>
                <a:gd name="T47" fmla="*/ 390 h 390"/>
                <a:gd name="T48" fmla="*/ 234 w 429"/>
                <a:gd name="T49" fmla="*/ 390 h 390"/>
                <a:gd name="T50" fmla="*/ 205 w 429"/>
                <a:gd name="T51" fmla="*/ 390 h 390"/>
                <a:gd name="T52" fmla="*/ 186 w 429"/>
                <a:gd name="T53" fmla="*/ 371 h 390"/>
                <a:gd name="T54" fmla="*/ 176 w 429"/>
                <a:gd name="T55" fmla="*/ 332 h 390"/>
                <a:gd name="T56" fmla="*/ 176 w 429"/>
                <a:gd name="T57" fmla="*/ 322 h 390"/>
                <a:gd name="T58" fmla="*/ 176 w 429"/>
                <a:gd name="T59" fmla="*/ 312 h 390"/>
                <a:gd name="T60" fmla="*/ 147 w 429"/>
                <a:gd name="T61" fmla="*/ 322 h 390"/>
                <a:gd name="T62" fmla="*/ 108 w 429"/>
                <a:gd name="T63" fmla="*/ 322 h 390"/>
                <a:gd name="T64" fmla="*/ 78 w 429"/>
                <a:gd name="T65" fmla="*/ 312 h 390"/>
                <a:gd name="T66" fmla="*/ 59 w 429"/>
                <a:gd name="T67" fmla="*/ 303 h 390"/>
                <a:gd name="T68" fmla="*/ 49 w 429"/>
                <a:gd name="T69" fmla="*/ 273 h 390"/>
                <a:gd name="T70" fmla="*/ 49 w 429"/>
                <a:gd name="T71" fmla="*/ 254 h 390"/>
                <a:gd name="T72" fmla="*/ 30 w 429"/>
                <a:gd name="T73" fmla="*/ 225 h 390"/>
                <a:gd name="T74" fmla="*/ 10 w 429"/>
                <a:gd name="T75" fmla="*/ 215 h 390"/>
                <a:gd name="T76" fmla="*/ 10 w 429"/>
                <a:gd name="T77" fmla="*/ 176 h 390"/>
                <a:gd name="T78" fmla="*/ 10 w 429"/>
                <a:gd name="T79" fmla="*/ 166 h 390"/>
                <a:gd name="T80" fmla="*/ 30 w 429"/>
                <a:gd name="T81" fmla="*/ 156 h 390"/>
                <a:gd name="T82" fmla="*/ 30 w 429"/>
                <a:gd name="T83" fmla="*/ 137 h 390"/>
                <a:gd name="T84" fmla="*/ 10 w 429"/>
                <a:gd name="T85" fmla="*/ 107 h 390"/>
                <a:gd name="T86" fmla="*/ 39 w 429"/>
                <a:gd name="T87" fmla="*/ 107 h 390"/>
                <a:gd name="T88" fmla="*/ 98 w 429"/>
                <a:gd name="T89" fmla="*/ 88 h 390"/>
                <a:gd name="T90" fmla="*/ 147 w 429"/>
                <a:gd name="T91" fmla="*/ 78 h 390"/>
                <a:gd name="T92" fmla="*/ 166 w 429"/>
                <a:gd name="T93" fmla="*/ 49 h 390"/>
                <a:gd name="T94" fmla="*/ 195 w 429"/>
                <a:gd name="T95" fmla="*/ 39 h 390"/>
                <a:gd name="T96" fmla="*/ 215 w 429"/>
                <a:gd name="T97" fmla="*/ 29 h 390"/>
                <a:gd name="T98" fmla="*/ 234 w 429"/>
                <a:gd name="T99" fmla="*/ 20 h 390"/>
                <a:gd name="T100" fmla="*/ 254 w 429"/>
                <a:gd name="T101" fmla="*/ 0 h 390"/>
                <a:gd name="T102" fmla="*/ 273 w 429"/>
                <a:gd name="T103" fmla="*/ 10 h 39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29"/>
                <a:gd name="T157" fmla="*/ 0 h 390"/>
                <a:gd name="T158" fmla="*/ 429 w 429"/>
                <a:gd name="T159" fmla="*/ 390 h 39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29" h="390">
                  <a:moveTo>
                    <a:pt x="273" y="10"/>
                  </a:moveTo>
                  <a:lnTo>
                    <a:pt x="293" y="29"/>
                  </a:lnTo>
                  <a:lnTo>
                    <a:pt x="312" y="20"/>
                  </a:lnTo>
                  <a:lnTo>
                    <a:pt x="322" y="20"/>
                  </a:lnTo>
                  <a:lnTo>
                    <a:pt x="342" y="39"/>
                  </a:lnTo>
                  <a:lnTo>
                    <a:pt x="351" y="49"/>
                  </a:lnTo>
                  <a:lnTo>
                    <a:pt x="342" y="68"/>
                  </a:lnTo>
                  <a:lnTo>
                    <a:pt x="332" y="68"/>
                  </a:lnTo>
                  <a:lnTo>
                    <a:pt x="322" y="68"/>
                  </a:lnTo>
                  <a:lnTo>
                    <a:pt x="312" y="78"/>
                  </a:lnTo>
                  <a:lnTo>
                    <a:pt x="303" y="88"/>
                  </a:lnTo>
                  <a:lnTo>
                    <a:pt x="312" y="98"/>
                  </a:lnTo>
                  <a:lnTo>
                    <a:pt x="322" y="107"/>
                  </a:lnTo>
                  <a:lnTo>
                    <a:pt x="312" y="117"/>
                  </a:lnTo>
                  <a:lnTo>
                    <a:pt x="312" y="127"/>
                  </a:lnTo>
                  <a:lnTo>
                    <a:pt x="332" y="147"/>
                  </a:lnTo>
                  <a:lnTo>
                    <a:pt x="351" y="137"/>
                  </a:lnTo>
                  <a:lnTo>
                    <a:pt x="371" y="147"/>
                  </a:lnTo>
                  <a:lnTo>
                    <a:pt x="371" y="156"/>
                  </a:lnTo>
                  <a:lnTo>
                    <a:pt x="371" y="166"/>
                  </a:lnTo>
                  <a:lnTo>
                    <a:pt x="361" y="186"/>
                  </a:lnTo>
                  <a:lnTo>
                    <a:pt x="371" y="205"/>
                  </a:lnTo>
                  <a:lnTo>
                    <a:pt x="381" y="215"/>
                  </a:lnTo>
                  <a:lnTo>
                    <a:pt x="400" y="234"/>
                  </a:lnTo>
                  <a:lnTo>
                    <a:pt x="420" y="264"/>
                  </a:lnTo>
                  <a:lnTo>
                    <a:pt x="429" y="283"/>
                  </a:lnTo>
                  <a:lnTo>
                    <a:pt x="420" y="283"/>
                  </a:lnTo>
                  <a:lnTo>
                    <a:pt x="410" y="273"/>
                  </a:lnTo>
                  <a:lnTo>
                    <a:pt x="400" y="273"/>
                  </a:lnTo>
                  <a:lnTo>
                    <a:pt x="400" y="283"/>
                  </a:lnTo>
                  <a:lnTo>
                    <a:pt x="390" y="283"/>
                  </a:lnTo>
                  <a:lnTo>
                    <a:pt x="371" y="293"/>
                  </a:lnTo>
                  <a:lnTo>
                    <a:pt x="371" y="303"/>
                  </a:lnTo>
                  <a:lnTo>
                    <a:pt x="390" y="303"/>
                  </a:lnTo>
                  <a:lnTo>
                    <a:pt x="400" y="312"/>
                  </a:lnTo>
                  <a:lnTo>
                    <a:pt x="400" y="322"/>
                  </a:lnTo>
                  <a:lnTo>
                    <a:pt x="400" y="332"/>
                  </a:lnTo>
                  <a:lnTo>
                    <a:pt x="410" y="342"/>
                  </a:lnTo>
                  <a:lnTo>
                    <a:pt x="410" y="351"/>
                  </a:lnTo>
                  <a:lnTo>
                    <a:pt x="400" y="361"/>
                  </a:lnTo>
                  <a:lnTo>
                    <a:pt x="381" y="361"/>
                  </a:lnTo>
                  <a:lnTo>
                    <a:pt x="351" y="371"/>
                  </a:lnTo>
                  <a:lnTo>
                    <a:pt x="312" y="371"/>
                  </a:lnTo>
                  <a:lnTo>
                    <a:pt x="293" y="371"/>
                  </a:lnTo>
                  <a:lnTo>
                    <a:pt x="283" y="371"/>
                  </a:lnTo>
                  <a:lnTo>
                    <a:pt x="273" y="390"/>
                  </a:lnTo>
                  <a:lnTo>
                    <a:pt x="254" y="390"/>
                  </a:lnTo>
                  <a:lnTo>
                    <a:pt x="234" y="390"/>
                  </a:lnTo>
                  <a:lnTo>
                    <a:pt x="205" y="390"/>
                  </a:lnTo>
                  <a:lnTo>
                    <a:pt x="195" y="371"/>
                  </a:lnTo>
                  <a:lnTo>
                    <a:pt x="186" y="371"/>
                  </a:lnTo>
                  <a:lnTo>
                    <a:pt x="186" y="351"/>
                  </a:lnTo>
                  <a:lnTo>
                    <a:pt x="176" y="332"/>
                  </a:lnTo>
                  <a:lnTo>
                    <a:pt x="166" y="332"/>
                  </a:lnTo>
                  <a:lnTo>
                    <a:pt x="176" y="322"/>
                  </a:lnTo>
                  <a:lnTo>
                    <a:pt x="186" y="312"/>
                  </a:lnTo>
                  <a:lnTo>
                    <a:pt x="176" y="312"/>
                  </a:lnTo>
                  <a:lnTo>
                    <a:pt x="156" y="322"/>
                  </a:lnTo>
                  <a:lnTo>
                    <a:pt x="147" y="322"/>
                  </a:lnTo>
                  <a:lnTo>
                    <a:pt x="127" y="332"/>
                  </a:lnTo>
                  <a:lnTo>
                    <a:pt x="108" y="322"/>
                  </a:lnTo>
                  <a:lnTo>
                    <a:pt x="98" y="312"/>
                  </a:lnTo>
                  <a:lnTo>
                    <a:pt x="78" y="312"/>
                  </a:lnTo>
                  <a:lnTo>
                    <a:pt x="69" y="312"/>
                  </a:lnTo>
                  <a:lnTo>
                    <a:pt x="59" y="303"/>
                  </a:lnTo>
                  <a:lnTo>
                    <a:pt x="59" y="283"/>
                  </a:lnTo>
                  <a:lnTo>
                    <a:pt x="49" y="273"/>
                  </a:lnTo>
                  <a:lnTo>
                    <a:pt x="49" y="264"/>
                  </a:lnTo>
                  <a:lnTo>
                    <a:pt x="49" y="254"/>
                  </a:lnTo>
                  <a:lnTo>
                    <a:pt x="39" y="244"/>
                  </a:lnTo>
                  <a:lnTo>
                    <a:pt x="30" y="225"/>
                  </a:lnTo>
                  <a:lnTo>
                    <a:pt x="10" y="225"/>
                  </a:lnTo>
                  <a:lnTo>
                    <a:pt x="10" y="215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166"/>
                  </a:lnTo>
                  <a:lnTo>
                    <a:pt x="10" y="166"/>
                  </a:lnTo>
                  <a:lnTo>
                    <a:pt x="20" y="156"/>
                  </a:lnTo>
                  <a:lnTo>
                    <a:pt x="30" y="156"/>
                  </a:lnTo>
                  <a:lnTo>
                    <a:pt x="30" y="137"/>
                  </a:lnTo>
                  <a:lnTo>
                    <a:pt x="10" y="127"/>
                  </a:lnTo>
                  <a:lnTo>
                    <a:pt x="10" y="107"/>
                  </a:lnTo>
                  <a:lnTo>
                    <a:pt x="39" y="107"/>
                  </a:lnTo>
                  <a:lnTo>
                    <a:pt x="69" y="98"/>
                  </a:lnTo>
                  <a:lnTo>
                    <a:pt x="98" y="88"/>
                  </a:lnTo>
                  <a:lnTo>
                    <a:pt x="117" y="78"/>
                  </a:lnTo>
                  <a:lnTo>
                    <a:pt x="147" y="78"/>
                  </a:lnTo>
                  <a:lnTo>
                    <a:pt x="166" y="59"/>
                  </a:lnTo>
                  <a:lnTo>
                    <a:pt x="166" y="49"/>
                  </a:lnTo>
                  <a:lnTo>
                    <a:pt x="176" y="39"/>
                  </a:lnTo>
                  <a:lnTo>
                    <a:pt x="195" y="39"/>
                  </a:lnTo>
                  <a:lnTo>
                    <a:pt x="205" y="39"/>
                  </a:lnTo>
                  <a:lnTo>
                    <a:pt x="215" y="29"/>
                  </a:lnTo>
                  <a:lnTo>
                    <a:pt x="234" y="29"/>
                  </a:lnTo>
                  <a:lnTo>
                    <a:pt x="234" y="20"/>
                  </a:lnTo>
                  <a:lnTo>
                    <a:pt x="234" y="0"/>
                  </a:lnTo>
                  <a:lnTo>
                    <a:pt x="254" y="0"/>
                  </a:lnTo>
                  <a:lnTo>
                    <a:pt x="273" y="10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Freeform 268"/>
            <p:cNvSpPr>
              <a:spLocks/>
            </p:cNvSpPr>
            <p:nvPr/>
          </p:nvSpPr>
          <p:spPr bwMode="auto">
            <a:xfrm>
              <a:off x="3239" y="1944"/>
              <a:ext cx="1318" cy="1020"/>
            </a:xfrm>
            <a:custGeom>
              <a:avLst/>
              <a:gdLst>
                <a:gd name="T0" fmla="*/ 673 w 1317"/>
                <a:gd name="T1" fmla="*/ 985 h 1024"/>
                <a:gd name="T2" fmla="*/ 732 w 1317"/>
                <a:gd name="T3" fmla="*/ 946 h 1024"/>
                <a:gd name="T4" fmla="*/ 771 w 1317"/>
                <a:gd name="T5" fmla="*/ 907 h 1024"/>
                <a:gd name="T6" fmla="*/ 810 w 1317"/>
                <a:gd name="T7" fmla="*/ 858 h 1024"/>
                <a:gd name="T8" fmla="*/ 849 w 1317"/>
                <a:gd name="T9" fmla="*/ 839 h 1024"/>
                <a:gd name="T10" fmla="*/ 888 w 1317"/>
                <a:gd name="T11" fmla="*/ 858 h 1024"/>
                <a:gd name="T12" fmla="*/ 976 w 1317"/>
                <a:gd name="T13" fmla="*/ 907 h 1024"/>
                <a:gd name="T14" fmla="*/ 1025 w 1317"/>
                <a:gd name="T15" fmla="*/ 897 h 1024"/>
                <a:gd name="T16" fmla="*/ 1064 w 1317"/>
                <a:gd name="T17" fmla="*/ 936 h 1024"/>
                <a:gd name="T18" fmla="*/ 1103 w 1317"/>
                <a:gd name="T19" fmla="*/ 936 h 1024"/>
                <a:gd name="T20" fmla="*/ 1181 w 1317"/>
                <a:gd name="T21" fmla="*/ 926 h 1024"/>
                <a:gd name="T22" fmla="*/ 1249 w 1317"/>
                <a:gd name="T23" fmla="*/ 936 h 1024"/>
                <a:gd name="T24" fmla="*/ 1317 w 1317"/>
                <a:gd name="T25" fmla="*/ 878 h 1024"/>
                <a:gd name="T26" fmla="*/ 1259 w 1317"/>
                <a:gd name="T27" fmla="*/ 829 h 1024"/>
                <a:gd name="T28" fmla="*/ 1249 w 1317"/>
                <a:gd name="T29" fmla="*/ 751 h 1024"/>
                <a:gd name="T30" fmla="*/ 1190 w 1317"/>
                <a:gd name="T31" fmla="*/ 722 h 1024"/>
                <a:gd name="T32" fmla="*/ 1142 w 1317"/>
                <a:gd name="T33" fmla="*/ 712 h 1024"/>
                <a:gd name="T34" fmla="*/ 1103 w 1317"/>
                <a:gd name="T35" fmla="*/ 653 h 1024"/>
                <a:gd name="T36" fmla="*/ 1054 w 1317"/>
                <a:gd name="T37" fmla="*/ 673 h 1024"/>
                <a:gd name="T38" fmla="*/ 1005 w 1317"/>
                <a:gd name="T39" fmla="*/ 683 h 1024"/>
                <a:gd name="T40" fmla="*/ 927 w 1317"/>
                <a:gd name="T41" fmla="*/ 663 h 1024"/>
                <a:gd name="T42" fmla="*/ 898 w 1317"/>
                <a:gd name="T43" fmla="*/ 595 h 1024"/>
                <a:gd name="T44" fmla="*/ 820 w 1317"/>
                <a:gd name="T45" fmla="*/ 556 h 1024"/>
                <a:gd name="T46" fmla="*/ 742 w 1317"/>
                <a:gd name="T47" fmla="*/ 517 h 1024"/>
                <a:gd name="T48" fmla="*/ 703 w 1317"/>
                <a:gd name="T49" fmla="*/ 487 h 1024"/>
                <a:gd name="T50" fmla="*/ 654 w 1317"/>
                <a:gd name="T51" fmla="*/ 468 h 1024"/>
                <a:gd name="T52" fmla="*/ 654 w 1317"/>
                <a:gd name="T53" fmla="*/ 429 h 1024"/>
                <a:gd name="T54" fmla="*/ 664 w 1317"/>
                <a:gd name="T55" fmla="*/ 351 h 1024"/>
                <a:gd name="T56" fmla="*/ 634 w 1317"/>
                <a:gd name="T57" fmla="*/ 331 h 1024"/>
                <a:gd name="T58" fmla="*/ 586 w 1317"/>
                <a:gd name="T59" fmla="*/ 292 h 1024"/>
                <a:gd name="T60" fmla="*/ 547 w 1317"/>
                <a:gd name="T61" fmla="*/ 292 h 1024"/>
                <a:gd name="T62" fmla="*/ 478 w 1317"/>
                <a:gd name="T63" fmla="*/ 263 h 1024"/>
                <a:gd name="T64" fmla="*/ 478 w 1317"/>
                <a:gd name="T65" fmla="*/ 224 h 1024"/>
                <a:gd name="T66" fmla="*/ 400 w 1317"/>
                <a:gd name="T67" fmla="*/ 185 h 1024"/>
                <a:gd name="T68" fmla="*/ 342 w 1317"/>
                <a:gd name="T69" fmla="*/ 165 h 1024"/>
                <a:gd name="T70" fmla="*/ 303 w 1317"/>
                <a:gd name="T71" fmla="*/ 126 h 1024"/>
                <a:gd name="T72" fmla="*/ 361 w 1317"/>
                <a:gd name="T73" fmla="*/ 58 h 1024"/>
                <a:gd name="T74" fmla="*/ 371 w 1317"/>
                <a:gd name="T75" fmla="*/ 0 h 1024"/>
                <a:gd name="T76" fmla="*/ 283 w 1317"/>
                <a:gd name="T77" fmla="*/ 29 h 1024"/>
                <a:gd name="T78" fmla="*/ 215 w 1317"/>
                <a:gd name="T79" fmla="*/ 9 h 1024"/>
                <a:gd name="T80" fmla="*/ 186 w 1317"/>
                <a:gd name="T81" fmla="*/ 58 h 1024"/>
                <a:gd name="T82" fmla="*/ 137 w 1317"/>
                <a:gd name="T83" fmla="*/ 126 h 1024"/>
                <a:gd name="T84" fmla="*/ 49 w 1317"/>
                <a:gd name="T85" fmla="*/ 224 h 1024"/>
                <a:gd name="T86" fmla="*/ 0 w 1317"/>
                <a:gd name="T87" fmla="*/ 292 h 1024"/>
                <a:gd name="T88" fmla="*/ 10 w 1317"/>
                <a:gd name="T89" fmla="*/ 331 h 1024"/>
                <a:gd name="T90" fmla="*/ 108 w 1317"/>
                <a:gd name="T91" fmla="*/ 458 h 1024"/>
                <a:gd name="T92" fmla="*/ 78 w 1317"/>
                <a:gd name="T93" fmla="*/ 556 h 1024"/>
                <a:gd name="T94" fmla="*/ 78 w 1317"/>
                <a:gd name="T95" fmla="*/ 683 h 1024"/>
                <a:gd name="T96" fmla="*/ 108 w 1317"/>
                <a:gd name="T97" fmla="*/ 790 h 1024"/>
                <a:gd name="T98" fmla="*/ 186 w 1317"/>
                <a:gd name="T99" fmla="*/ 790 h 1024"/>
                <a:gd name="T100" fmla="*/ 254 w 1317"/>
                <a:gd name="T101" fmla="*/ 800 h 1024"/>
                <a:gd name="T102" fmla="*/ 313 w 1317"/>
                <a:gd name="T103" fmla="*/ 790 h 1024"/>
                <a:gd name="T104" fmla="*/ 361 w 1317"/>
                <a:gd name="T105" fmla="*/ 751 h 1024"/>
                <a:gd name="T106" fmla="*/ 410 w 1317"/>
                <a:gd name="T107" fmla="*/ 780 h 1024"/>
                <a:gd name="T108" fmla="*/ 498 w 1317"/>
                <a:gd name="T109" fmla="*/ 868 h 1024"/>
                <a:gd name="T110" fmla="*/ 517 w 1317"/>
                <a:gd name="T111" fmla="*/ 926 h 1024"/>
                <a:gd name="T112" fmla="*/ 537 w 1317"/>
                <a:gd name="T113" fmla="*/ 975 h 10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17"/>
                <a:gd name="T172" fmla="*/ 0 h 1024"/>
                <a:gd name="T173" fmla="*/ 1317 w 1317"/>
                <a:gd name="T174" fmla="*/ 1024 h 10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17" h="1024">
                  <a:moveTo>
                    <a:pt x="625" y="1024"/>
                  </a:moveTo>
                  <a:lnTo>
                    <a:pt x="654" y="1014"/>
                  </a:lnTo>
                  <a:lnTo>
                    <a:pt x="673" y="1005"/>
                  </a:lnTo>
                  <a:lnTo>
                    <a:pt x="673" y="985"/>
                  </a:lnTo>
                  <a:lnTo>
                    <a:pt x="683" y="975"/>
                  </a:lnTo>
                  <a:lnTo>
                    <a:pt x="703" y="966"/>
                  </a:lnTo>
                  <a:lnTo>
                    <a:pt x="703" y="956"/>
                  </a:lnTo>
                  <a:lnTo>
                    <a:pt x="732" y="946"/>
                  </a:lnTo>
                  <a:lnTo>
                    <a:pt x="751" y="946"/>
                  </a:lnTo>
                  <a:lnTo>
                    <a:pt x="761" y="946"/>
                  </a:lnTo>
                  <a:lnTo>
                    <a:pt x="771" y="936"/>
                  </a:lnTo>
                  <a:lnTo>
                    <a:pt x="771" y="907"/>
                  </a:lnTo>
                  <a:lnTo>
                    <a:pt x="790" y="887"/>
                  </a:lnTo>
                  <a:lnTo>
                    <a:pt x="790" y="868"/>
                  </a:lnTo>
                  <a:lnTo>
                    <a:pt x="800" y="858"/>
                  </a:lnTo>
                  <a:lnTo>
                    <a:pt x="810" y="858"/>
                  </a:lnTo>
                  <a:lnTo>
                    <a:pt x="810" y="839"/>
                  </a:lnTo>
                  <a:lnTo>
                    <a:pt x="830" y="829"/>
                  </a:lnTo>
                  <a:lnTo>
                    <a:pt x="830" y="839"/>
                  </a:lnTo>
                  <a:lnTo>
                    <a:pt x="849" y="839"/>
                  </a:lnTo>
                  <a:lnTo>
                    <a:pt x="859" y="848"/>
                  </a:lnTo>
                  <a:lnTo>
                    <a:pt x="859" y="858"/>
                  </a:lnTo>
                  <a:lnTo>
                    <a:pt x="869" y="848"/>
                  </a:lnTo>
                  <a:lnTo>
                    <a:pt x="888" y="858"/>
                  </a:lnTo>
                  <a:lnTo>
                    <a:pt x="917" y="868"/>
                  </a:lnTo>
                  <a:lnTo>
                    <a:pt x="927" y="887"/>
                  </a:lnTo>
                  <a:lnTo>
                    <a:pt x="956" y="907"/>
                  </a:lnTo>
                  <a:lnTo>
                    <a:pt x="976" y="907"/>
                  </a:lnTo>
                  <a:lnTo>
                    <a:pt x="986" y="907"/>
                  </a:lnTo>
                  <a:lnTo>
                    <a:pt x="1005" y="897"/>
                  </a:lnTo>
                  <a:lnTo>
                    <a:pt x="1015" y="897"/>
                  </a:lnTo>
                  <a:lnTo>
                    <a:pt x="1025" y="897"/>
                  </a:lnTo>
                  <a:lnTo>
                    <a:pt x="1025" y="926"/>
                  </a:lnTo>
                  <a:lnTo>
                    <a:pt x="1034" y="926"/>
                  </a:lnTo>
                  <a:lnTo>
                    <a:pt x="1054" y="926"/>
                  </a:lnTo>
                  <a:lnTo>
                    <a:pt x="1064" y="936"/>
                  </a:lnTo>
                  <a:lnTo>
                    <a:pt x="1073" y="946"/>
                  </a:lnTo>
                  <a:lnTo>
                    <a:pt x="1093" y="946"/>
                  </a:lnTo>
                  <a:lnTo>
                    <a:pt x="1103" y="946"/>
                  </a:lnTo>
                  <a:lnTo>
                    <a:pt x="1103" y="936"/>
                  </a:lnTo>
                  <a:lnTo>
                    <a:pt x="1122" y="926"/>
                  </a:lnTo>
                  <a:lnTo>
                    <a:pt x="1142" y="926"/>
                  </a:lnTo>
                  <a:lnTo>
                    <a:pt x="1161" y="926"/>
                  </a:lnTo>
                  <a:lnTo>
                    <a:pt x="1181" y="926"/>
                  </a:lnTo>
                  <a:lnTo>
                    <a:pt x="1190" y="936"/>
                  </a:lnTo>
                  <a:lnTo>
                    <a:pt x="1210" y="946"/>
                  </a:lnTo>
                  <a:lnTo>
                    <a:pt x="1249" y="936"/>
                  </a:lnTo>
                  <a:lnTo>
                    <a:pt x="1307" y="926"/>
                  </a:lnTo>
                  <a:lnTo>
                    <a:pt x="1307" y="907"/>
                  </a:lnTo>
                  <a:lnTo>
                    <a:pt x="1317" y="897"/>
                  </a:lnTo>
                  <a:lnTo>
                    <a:pt x="1317" y="878"/>
                  </a:lnTo>
                  <a:lnTo>
                    <a:pt x="1307" y="878"/>
                  </a:lnTo>
                  <a:lnTo>
                    <a:pt x="1288" y="868"/>
                  </a:lnTo>
                  <a:lnTo>
                    <a:pt x="1268" y="848"/>
                  </a:lnTo>
                  <a:lnTo>
                    <a:pt x="1259" y="829"/>
                  </a:lnTo>
                  <a:lnTo>
                    <a:pt x="1288" y="790"/>
                  </a:lnTo>
                  <a:lnTo>
                    <a:pt x="1278" y="780"/>
                  </a:lnTo>
                  <a:lnTo>
                    <a:pt x="1259" y="761"/>
                  </a:lnTo>
                  <a:lnTo>
                    <a:pt x="1249" y="751"/>
                  </a:lnTo>
                  <a:lnTo>
                    <a:pt x="1239" y="761"/>
                  </a:lnTo>
                  <a:lnTo>
                    <a:pt x="1220" y="751"/>
                  </a:lnTo>
                  <a:lnTo>
                    <a:pt x="1200" y="731"/>
                  </a:lnTo>
                  <a:lnTo>
                    <a:pt x="1190" y="722"/>
                  </a:lnTo>
                  <a:lnTo>
                    <a:pt x="1181" y="722"/>
                  </a:lnTo>
                  <a:lnTo>
                    <a:pt x="1171" y="712"/>
                  </a:lnTo>
                  <a:lnTo>
                    <a:pt x="1161" y="712"/>
                  </a:lnTo>
                  <a:lnTo>
                    <a:pt x="1142" y="712"/>
                  </a:lnTo>
                  <a:lnTo>
                    <a:pt x="1132" y="702"/>
                  </a:lnTo>
                  <a:lnTo>
                    <a:pt x="1122" y="692"/>
                  </a:lnTo>
                  <a:lnTo>
                    <a:pt x="1112" y="673"/>
                  </a:lnTo>
                  <a:lnTo>
                    <a:pt x="1103" y="653"/>
                  </a:lnTo>
                  <a:lnTo>
                    <a:pt x="1083" y="663"/>
                  </a:lnTo>
                  <a:lnTo>
                    <a:pt x="1064" y="663"/>
                  </a:lnTo>
                  <a:lnTo>
                    <a:pt x="1054" y="673"/>
                  </a:lnTo>
                  <a:lnTo>
                    <a:pt x="1044" y="683"/>
                  </a:lnTo>
                  <a:lnTo>
                    <a:pt x="1034" y="692"/>
                  </a:lnTo>
                  <a:lnTo>
                    <a:pt x="1025" y="692"/>
                  </a:lnTo>
                  <a:lnTo>
                    <a:pt x="1005" y="683"/>
                  </a:lnTo>
                  <a:lnTo>
                    <a:pt x="995" y="673"/>
                  </a:lnTo>
                  <a:lnTo>
                    <a:pt x="976" y="673"/>
                  </a:lnTo>
                  <a:lnTo>
                    <a:pt x="947" y="673"/>
                  </a:lnTo>
                  <a:lnTo>
                    <a:pt x="927" y="663"/>
                  </a:lnTo>
                  <a:lnTo>
                    <a:pt x="908" y="644"/>
                  </a:lnTo>
                  <a:lnTo>
                    <a:pt x="908" y="634"/>
                  </a:lnTo>
                  <a:lnTo>
                    <a:pt x="898" y="605"/>
                  </a:lnTo>
                  <a:lnTo>
                    <a:pt x="898" y="595"/>
                  </a:lnTo>
                  <a:lnTo>
                    <a:pt x="869" y="585"/>
                  </a:lnTo>
                  <a:lnTo>
                    <a:pt x="859" y="565"/>
                  </a:lnTo>
                  <a:lnTo>
                    <a:pt x="849" y="556"/>
                  </a:lnTo>
                  <a:lnTo>
                    <a:pt x="820" y="556"/>
                  </a:lnTo>
                  <a:lnTo>
                    <a:pt x="800" y="546"/>
                  </a:lnTo>
                  <a:lnTo>
                    <a:pt x="781" y="536"/>
                  </a:lnTo>
                  <a:lnTo>
                    <a:pt x="771" y="517"/>
                  </a:lnTo>
                  <a:lnTo>
                    <a:pt x="742" y="517"/>
                  </a:lnTo>
                  <a:lnTo>
                    <a:pt x="732" y="507"/>
                  </a:lnTo>
                  <a:lnTo>
                    <a:pt x="732" y="487"/>
                  </a:lnTo>
                  <a:lnTo>
                    <a:pt x="722" y="478"/>
                  </a:lnTo>
                  <a:lnTo>
                    <a:pt x="703" y="487"/>
                  </a:lnTo>
                  <a:lnTo>
                    <a:pt x="693" y="487"/>
                  </a:lnTo>
                  <a:lnTo>
                    <a:pt x="673" y="478"/>
                  </a:lnTo>
                  <a:lnTo>
                    <a:pt x="654" y="478"/>
                  </a:lnTo>
                  <a:lnTo>
                    <a:pt x="654" y="468"/>
                  </a:lnTo>
                  <a:lnTo>
                    <a:pt x="654" y="458"/>
                  </a:lnTo>
                  <a:lnTo>
                    <a:pt x="664" y="448"/>
                  </a:lnTo>
                  <a:lnTo>
                    <a:pt x="664" y="439"/>
                  </a:lnTo>
                  <a:lnTo>
                    <a:pt x="654" y="429"/>
                  </a:lnTo>
                  <a:lnTo>
                    <a:pt x="654" y="400"/>
                  </a:lnTo>
                  <a:lnTo>
                    <a:pt x="654" y="370"/>
                  </a:lnTo>
                  <a:lnTo>
                    <a:pt x="654" y="361"/>
                  </a:lnTo>
                  <a:lnTo>
                    <a:pt x="664" y="351"/>
                  </a:lnTo>
                  <a:lnTo>
                    <a:pt x="664" y="341"/>
                  </a:lnTo>
                  <a:lnTo>
                    <a:pt x="654" y="341"/>
                  </a:lnTo>
                  <a:lnTo>
                    <a:pt x="644" y="322"/>
                  </a:lnTo>
                  <a:lnTo>
                    <a:pt x="634" y="331"/>
                  </a:lnTo>
                  <a:lnTo>
                    <a:pt x="625" y="322"/>
                  </a:lnTo>
                  <a:lnTo>
                    <a:pt x="605" y="292"/>
                  </a:lnTo>
                  <a:lnTo>
                    <a:pt x="595" y="292"/>
                  </a:lnTo>
                  <a:lnTo>
                    <a:pt x="586" y="292"/>
                  </a:lnTo>
                  <a:lnTo>
                    <a:pt x="566" y="302"/>
                  </a:lnTo>
                  <a:lnTo>
                    <a:pt x="556" y="292"/>
                  </a:lnTo>
                  <a:lnTo>
                    <a:pt x="547" y="292"/>
                  </a:lnTo>
                  <a:lnTo>
                    <a:pt x="517" y="292"/>
                  </a:lnTo>
                  <a:lnTo>
                    <a:pt x="498" y="292"/>
                  </a:lnTo>
                  <a:lnTo>
                    <a:pt x="478" y="283"/>
                  </a:lnTo>
                  <a:lnTo>
                    <a:pt x="478" y="263"/>
                  </a:lnTo>
                  <a:lnTo>
                    <a:pt x="488" y="244"/>
                  </a:lnTo>
                  <a:lnTo>
                    <a:pt x="498" y="234"/>
                  </a:lnTo>
                  <a:lnTo>
                    <a:pt x="498" y="224"/>
                  </a:lnTo>
                  <a:lnTo>
                    <a:pt x="478" y="224"/>
                  </a:lnTo>
                  <a:lnTo>
                    <a:pt x="459" y="204"/>
                  </a:lnTo>
                  <a:lnTo>
                    <a:pt x="439" y="204"/>
                  </a:lnTo>
                  <a:lnTo>
                    <a:pt x="430" y="195"/>
                  </a:lnTo>
                  <a:lnTo>
                    <a:pt x="400" y="185"/>
                  </a:lnTo>
                  <a:lnTo>
                    <a:pt x="361" y="185"/>
                  </a:lnTo>
                  <a:lnTo>
                    <a:pt x="352" y="185"/>
                  </a:lnTo>
                  <a:lnTo>
                    <a:pt x="342" y="185"/>
                  </a:lnTo>
                  <a:lnTo>
                    <a:pt x="342" y="165"/>
                  </a:lnTo>
                  <a:lnTo>
                    <a:pt x="332" y="146"/>
                  </a:lnTo>
                  <a:lnTo>
                    <a:pt x="322" y="146"/>
                  </a:lnTo>
                  <a:lnTo>
                    <a:pt x="303" y="136"/>
                  </a:lnTo>
                  <a:lnTo>
                    <a:pt x="303" y="126"/>
                  </a:lnTo>
                  <a:lnTo>
                    <a:pt x="322" y="117"/>
                  </a:lnTo>
                  <a:lnTo>
                    <a:pt x="342" y="97"/>
                  </a:lnTo>
                  <a:lnTo>
                    <a:pt x="352" y="78"/>
                  </a:lnTo>
                  <a:lnTo>
                    <a:pt x="361" y="58"/>
                  </a:lnTo>
                  <a:lnTo>
                    <a:pt x="352" y="48"/>
                  </a:lnTo>
                  <a:lnTo>
                    <a:pt x="361" y="29"/>
                  </a:lnTo>
                  <a:lnTo>
                    <a:pt x="361" y="19"/>
                  </a:lnTo>
                  <a:lnTo>
                    <a:pt x="371" y="0"/>
                  </a:lnTo>
                  <a:lnTo>
                    <a:pt x="342" y="0"/>
                  </a:lnTo>
                  <a:lnTo>
                    <a:pt x="313" y="9"/>
                  </a:lnTo>
                  <a:lnTo>
                    <a:pt x="293" y="29"/>
                  </a:lnTo>
                  <a:lnTo>
                    <a:pt x="283" y="29"/>
                  </a:lnTo>
                  <a:lnTo>
                    <a:pt x="254" y="29"/>
                  </a:lnTo>
                  <a:lnTo>
                    <a:pt x="244" y="19"/>
                  </a:lnTo>
                  <a:lnTo>
                    <a:pt x="235" y="9"/>
                  </a:lnTo>
                  <a:lnTo>
                    <a:pt x="215" y="9"/>
                  </a:lnTo>
                  <a:lnTo>
                    <a:pt x="195" y="19"/>
                  </a:lnTo>
                  <a:lnTo>
                    <a:pt x="195" y="39"/>
                  </a:lnTo>
                  <a:lnTo>
                    <a:pt x="195" y="4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66" y="97"/>
                  </a:lnTo>
                  <a:lnTo>
                    <a:pt x="147" y="107"/>
                  </a:lnTo>
                  <a:lnTo>
                    <a:pt x="137" y="126"/>
                  </a:lnTo>
                  <a:lnTo>
                    <a:pt x="88" y="156"/>
                  </a:lnTo>
                  <a:lnTo>
                    <a:pt x="69" y="175"/>
                  </a:lnTo>
                  <a:lnTo>
                    <a:pt x="69" y="204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39" y="244"/>
                  </a:lnTo>
                  <a:lnTo>
                    <a:pt x="20" y="263"/>
                  </a:lnTo>
                  <a:lnTo>
                    <a:pt x="0" y="292"/>
                  </a:lnTo>
                  <a:lnTo>
                    <a:pt x="10" y="292"/>
                  </a:lnTo>
                  <a:lnTo>
                    <a:pt x="10" y="312"/>
                  </a:lnTo>
                  <a:lnTo>
                    <a:pt x="10" y="331"/>
                  </a:lnTo>
                  <a:lnTo>
                    <a:pt x="39" y="341"/>
                  </a:lnTo>
                  <a:lnTo>
                    <a:pt x="78" y="380"/>
                  </a:lnTo>
                  <a:lnTo>
                    <a:pt x="98" y="429"/>
                  </a:lnTo>
                  <a:lnTo>
                    <a:pt x="108" y="458"/>
                  </a:lnTo>
                  <a:lnTo>
                    <a:pt x="108" y="478"/>
                  </a:lnTo>
                  <a:lnTo>
                    <a:pt x="88" y="507"/>
                  </a:lnTo>
                  <a:lnTo>
                    <a:pt x="88" y="517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69" y="624"/>
                  </a:lnTo>
                  <a:lnTo>
                    <a:pt x="59" y="653"/>
                  </a:lnTo>
                  <a:lnTo>
                    <a:pt x="78" y="683"/>
                  </a:lnTo>
                  <a:lnTo>
                    <a:pt x="108" y="702"/>
                  </a:lnTo>
                  <a:lnTo>
                    <a:pt x="108" y="712"/>
                  </a:lnTo>
                  <a:lnTo>
                    <a:pt x="108" y="751"/>
                  </a:lnTo>
                  <a:lnTo>
                    <a:pt x="108" y="790"/>
                  </a:lnTo>
                  <a:lnTo>
                    <a:pt x="147" y="819"/>
                  </a:lnTo>
                  <a:lnTo>
                    <a:pt x="166" y="819"/>
                  </a:lnTo>
                  <a:lnTo>
                    <a:pt x="166" y="800"/>
                  </a:lnTo>
                  <a:lnTo>
                    <a:pt x="186" y="790"/>
                  </a:lnTo>
                  <a:lnTo>
                    <a:pt x="195" y="790"/>
                  </a:lnTo>
                  <a:lnTo>
                    <a:pt x="215" y="800"/>
                  </a:lnTo>
                  <a:lnTo>
                    <a:pt x="235" y="800"/>
                  </a:lnTo>
                  <a:lnTo>
                    <a:pt x="254" y="800"/>
                  </a:lnTo>
                  <a:lnTo>
                    <a:pt x="264" y="809"/>
                  </a:lnTo>
                  <a:lnTo>
                    <a:pt x="293" y="809"/>
                  </a:lnTo>
                  <a:lnTo>
                    <a:pt x="293" y="790"/>
                  </a:lnTo>
                  <a:lnTo>
                    <a:pt x="313" y="790"/>
                  </a:lnTo>
                  <a:lnTo>
                    <a:pt x="342" y="770"/>
                  </a:lnTo>
                  <a:lnTo>
                    <a:pt x="352" y="761"/>
                  </a:lnTo>
                  <a:lnTo>
                    <a:pt x="352" y="751"/>
                  </a:lnTo>
                  <a:lnTo>
                    <a:pt x="361" y="751"/>
                  </a:lnTo>
                  <a:lnTo>
                    <a:pt x="381" y="751"/>
                  </a:lnTo>
                  <a:lnTo>
                    <a:pt x="381" y="770"/>
                  </a:lnTo>
                  <a:lnTo>
                    <a:pt x="400" y="770"/>
                  </a:lnTo>
                  <a:lnTo>
                    <a:pt x="410" y="780"/>
                  </a:lnTo>
                  <a:lnTo>
                    <a:pt x="430" y="790"/>
                  </a:lnTo>
                  <a:lnTo>
                    <a:pt x="449" y="809"/>
                  </a:lnTo>
                  <a:lnTo>
                    <a:pt x="469" y="819"/>
                  </a:lnTo>
                  <a:lnTo>
                    <a:pt x="498" y="868"/>
                  </a:lnTo>
                  <a:lnTo>
                    <a:pt x="498" y="887"/>
                  </a:lnTo>
                  <a:lnTo>
                    <a:pt x="498" y="907"/>
                  </a:lnTo>
                  <a:lnTo>
                    <a:pt x="498" y="926"/>
                  </a:lnTo>
                  <a:lnTo>
                    <a:pt x="517" y="926"/>
                  </a:lnTo>
                  <a:lnTo>
                    <a:pt x="508" y="936"/>
                  </a:lnTo>
                  <a:lnTo>
                    <a:pt x="517" y="956"/>
                  </a:lnTo>
                  <a:lnTo>
                    <a:pt x="537" y="975"/>
                  </a:lnTo>
                  <a:lnTo>
                    <a:pt x="556" y="985"/>
                  </a:lnTo>
                  <a:lnTo>
                    <a:pt x="586" y="1005"/>
                  </a:lnTo>
                  <a:lnTo>
                    <a:pt x="625" y="1024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Freeform 267"/>
            <p:cNvSpPr>
              <a:spLocks/>
            </p:cNvSpPr>
            <p:nvPr/>
          </p:nvSpPr>
          <p:spPr bwMode="auto">
            <a:xfrm>
              <a:off x="1972" y="1394"/>
              <a:ext cx="655" cy="595"/>
            </a:xfrm>
            <a:custGeom>
              <a:avLst/>
              <a:gdLst>
                <a:gd name="T0" fmla="*/ 400 w 654"/>
                <a:gd name="T1" fmla="*/ 527 h 595"/>
                <a:gd name="T2" fmla="*/ 371 w 654"/>
                <a:gd name="T3" fmla="*/ 469 h 595"/>
                <a:gd name="T4" fmla="*/ 332 w 654"/>
                <a:gd name="T5" fmla="*/ 439 h 595"/>
                <a:gd name="T6" fmla="*/ 312 w 654"/>
                <a:gd name="T7" fmla="*/ 400 h 595"/>
                <a:gd name="T8" fmla="*/ 283 w 654"/>
                <a:gd name="T9" fmla="*/ 420 h 595"/>
                <a:gd name="T10" fmla="*/ 215 w 654"/>
                <a:gd name="T11" fmla="*/ 410 h 595"/>
                <a:gd name="T12" fmla="*/ 186 w 654"/>
                <a:gd name="T13" fmla="*/ 390 h 595"/>
                <a:gd name="T14" fmla="*/ 186 w 654"/>
                <a:gd name="T15" fmla="*/ 332 h 595"/>
                <a:gd name="T16" fmla="*/ 156 w 654"/>
                <a:gd name="T17" fmla="*/ 312 h 595"/>
                <a:gd name="T18" fmla="*/ 117 w 654"/>
                <a:gd name="T19" fmla="*/ 283 h 595"/>
                <a:gd name="T20" fmla="*/ 78 w 654"/>
                <a:gd name="T21" fmla="*/ 273 h 595"/>
                <a:gd name="T22" fmla="*/ 69 w 654"/>
                <a:gd name="T23" fmla="*/ 254 h 595"/>
                <a:gd name="T24" fmla="*/ 59 w 654"/>
                <a:gd name="T25" fmla="*/ 205 h 595"/>
                <a:gd name="T26" fmla="*/ 20 w 654"/>
                <a:gd name="T27" fmla="*/ 205 h 595"/>
                <a:gd name="T28" fmla="*/ 20 w 654"/>
                <a:gd name="T29" fmla="*/ 137 h 595"/>
                <a:gd name="T30" fmla="*/ 10 w 654"/>
                <a:gd name="T31" fmla="*/ 108 h 595"/>
                <a:gd name="T32" fmla="*/ 30 w 654"/>
                <a:gd name="T33" fmla="*/ 88 h 595"/>
                <a:gd name="T34" fmla="*/ 88 w 654"/>
                <a:gd name="T35" fmla="*/ 88 h 595"/>
                <a:gd name="T36" fmla="*/ 127 w 654"/>
                <a:gd name="T37" fmla="*/ 39 h 595"/>
                <a:gd name="T38" fmla="*/ 195 w 654"/>
                <a:gd name="T39" fmla="*/ 0 h 595"/>
                <a:gd name="T40" fmla="*/ 244 w 654"/>
                <a:gd name="T41" fmla="*/ 10 h 595"/>
                <a:gd name="T42" fmla="*/ 312 w 654"/>
                <a:gd name="T43" fmla="*/ 10 h 595"/>
                <a:gd name="T44" fmla="*/ 342 w 654"/>
                <a:gd name="T45" fmla="*/ 29 h 595"/>
                <a:gd name="T46" fmla="*/ 351 w 654"/>
                <a:gd name="T47" fmla="*/ 59 h 595"/>
                <a:gd name="T48" fmla="*/ 342 w 654"/>
                <a:gd name="T49" fmla="*/ 108 h 595"/>
                <a:gd name="T50" fmla="*/ 322 w 654"/>
                <a:gd name="T51" fmla="*/ 166 h 595"/>
                <a:gd name="T52" fmla="*/ 351 w 654"/>
                <a:gd name="T53" fmla="*/ 225 h 595"/>
                <a:gd name="T54" fmla="*/ 391 w 654"/>
                <a:gd name="T55" fmla="*/ 244 h 595"/>
                <a:gd name="T56" fmla="*/ 430 w 654"/>
                <a:gd name="T57" fmla="*/ 273 h 595"/>
                <a:gd name="T58" fmla="*/ 449 w 654"/>
                <a:gd name="T59" fmla="*/ 303 h 595"/>
                <a:gd name="T60" fmla="*/ 478 w 654"/>
                <a:gd name="T61" fmla="*/ 332 h 595"/>
                <a:gd name="T62" fmla="*/ 537 w 654"/>
                <a:gd name="T63" fmla="*/ 361 h 595"/>
                <a:gd name="T64" fmla="*/ 556 w 654"/>
                <a:gd name="T65" fmla="*/ 390 h 595"/>
                <a:gd name="T66" fmla="*/ 595 w 654"/>
                <a:gd name="T67" fmla="*/ 400 h 595"/>
                <a:gd name="T68" fmla="*/ 615 w 654"/>
                <a:gd name="T69" fmla="*/ 430 h 595"/>
                <a:gd name="T70" fmla="*/ 644 w 654"/>
                <a:gd name="T71" fmla="*/ 459 h 595"/>
                <a:gd name="T72" fmla="*/ 644 w 654"/>
                <a:gd name="T73" fmla="*/ 508 h 595"/>
                <a:gd name="T74" fmla="*/ 605 w 654"/>
                <a:gd name="T75" fmla="*/ 517 h 595"/>
                <a:gd name="T76" fmla="*/ 566 w 654"/>
                <a:gd name="T77" fmla="*/ 508 h 595"/>
                <a:gd name="T78" fmla="*/ 566 w 654"/>
                <a:gd name="T79" fmla="*/ 537 h 595"/>
                <a:gd name="T80" fmla="*/ 566 w 654"/>
                <a:gd name="T81" fmla="*/ 576 h 595"/>
                <a:gd name="T82" fmla="*/ 527 w 654"/>
                <a:gd name="T83" fmla="*/ 576 h 595"/>
                <a:gd name="T84" fmla="*/ 488 w 654"/>
                <a:gd name="T85" fmla="*/ 586 h 595"/>
                <a:gd name="T86" fmla="*/ 430 w 654"/>
                <a:gd name="T87" fmla="*/ 576 h 59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54"/>
                <a:gd name="T133" fmla="*/ 0 h 595"/>
                <a:gd name="T134" fmla="*/ 654 w 654"/>
                <a:gd name="T135" fmla="*/ 595 h 59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54" h="595">
                  <a:moveTo>
                    <a:pt x="430" y="556"/>
                  </a:moveTo>
                  <a:lnTo>
                    <a:pt x="410" y="547"/>
                  </a:lnTo>
                  <a:lnTo>
                    <a:pt x="400" y="527"/>
                  </a:lnTo>
                  <a:lnTo>
                    <a:pt x="381" y="498"/>
                  </a:lnTo>
                  <a:lnTo>
                    <a:pt x="371" y="488"/>
                  </a:lnTo>
                  <a:lnTo>
                    <a:pt x="371" y="469"/>
                  </a:lnTo>
                  <a:lnTo>
                    <a:pt x="361" y="449"/>
                  </a:lnTo>
                  <a:lnTo>
                    <a:pt x="351" y="439"/>
                  </a:lnTo>
                  <a:lnTo>
                    <a:pt x="332" y="439"/>
                  </a:lnTo>
                  <a:lnTo>
                    <a:pt x="332" y="420"/>
                  </a:lnTo>
                  <a:lnTo>
                    <a:pt x="322" y="420"/>
                  </a:lnTo>
                  <a:lnTo>
                    <a:pt x="312" y="400"/>
                  </a:lnTo>
                  <a:lnTo>
                    <a:pt x="303" y="390"/>
                  </a:lnTo>
                  <a:lnTo>
                    <a:pt x="303" y="410"/>
                  </a:lnTo>
                  <a:lnTo>
                    <a:pt x="283" y="420"/>
                  </a:lnTo>
                  <a:lnTo>
                    <a:pt x="244" y="390"/>
                  </a:lnTo>
                  <a:lnTo>
                    <a:pt x="225" y="400"/>
                  </a:lnTo>
                  <a:lnTo>
                    <a:pt x="215" y="410"/>
                  </a:lnTo>
                  <a:lnTo>
                    <a:pt x="195" y="410"/>
                  </a:lnTo>
                  <a:lnTo>
                    <a:pt x="195" y="400"/>
                  </a:lnTo>
                  <a:lnTo>
                    <a:pt x="186" y="390"/>
                  </a:lnTo>
                  <a:lnTo>
                    <a:pt x="176" y="381"/>
                  </a:lnTo>
                  <a:lnTo>
                    <a:pt x="186" y="351"/>
                  </a:lnTo>
                  <a:lnTo>
                    <a:pt x="186" y="332"/>
                  </a:lnTo>
                  <a:lnTo>
                    <a:pt x="176" y="312"/>
                  </a:lnTo>
                  <a:lnTo>
                    <a:pt x="166" y="303"/>
                  </a:lnTo>
                  <a:lnTo>
                    <a:pt x="156" y="312"/>
                  </a:lnTo>
                  <a:lnTo>
                    <a:pt x="147" y="303"/>
                  </a:lnTo>
                  <a:lnTo>
                    <a:pt x="137" y="293"/>
                  </a:lnTo>
                  <a:lnTo>
                    <a:pt x="117" y="283"/>
                  </a:lnTo>
                  <a:lnTo>
                    <a:pt x="98" y="273"/>
                  </a:lnTo>
                  <a:lnTo>
                    <a:pt x="88" y="264"/>
                  </a:lnTo>
                  <a:lnTo>
                    <a:pt x="78" y="273"/>
                  </a:lnTo>
                  <a:lnTo>
                    <a:pt x="69" y="273"/>
                  </a:lnTo>
                  <a:lnTo>
                    <a:pt x="59" y="264"/>
                  </a:lnTo>
                  <a:lnTo>
                    <a:pt x="69" y="254"/>
                  </a:lnTo>
                  <a:lnTo>
                    <a:pt x="69" y="244"/>
                  </a:lnTo>
                  <a:lnTo>
                    <a:pt x="78" y="225"/>
                  </a:lnTo>
                  <a:lnTo>
                    <a:pt x="59" y="205"/>
                  </a:lnTo>
                  <a:lnTo>
                    <a:pt x="39" y="205"/>
                  </a:lnTo>
                  <a:lnTo>
                    <a:pt x="30" y="205"/>
                  </a:lnTo>
                  <a:lnTo>
                    <a:pt x="20" y="205"/>
                  </a:lnTo>
                  <a:lnTo>
                    <a:pt x="30" y="176"/>
                  </a:lnTo>
                  <a:lnTo>
                    <a:pt x="30" y="147"/>
                  </a:lnTo>
                  <a:lnTo>
                    <a:pt x="20" y="137"/>
                  </a:lnTo>
                  <a:lnTo>
                    <a:pt x="0" y="12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0" y="98"/>
                  </a:lnTo>
                  <a:lnTo>
                    <a:pt x="20" y="88"/>
                  </a:lnTo>
                  <a:lnTo>
                    <a:pt x="30" y="88"/>
                  </a:lnTo>
                  <a:lnTo>
                    <a:pt x="49" y="88"/>
                  </a:lnTo>
                  <a:lnTo>
                    <a:pt x="69" y="108"/>
                  </a:lnTo>
                  <a:lnTo>
                    <a:pt x="88" y="88"/>
                  </a:lnTo>
                  <a:lnTo>
                    <a:pt x="108" y="69"/>
                  </a:lnTo>
                  <a:lnTo>
                    <a:pt x="127" y="49"/>
                  </a:lnTo>
                  <a:lnTo>
                    <a:pt x="127" y="39"/>
                  </a:lnTo>
                  <a:lnTo>
                    <a:pt x="166" y="29"/>
                  </a:lnTo>
                  <a:lnTo>
                    <a:pt x="186" y="10"/>
                  </a:lnTo>
                  <a:lnTo>
                    <a:pt x="195" y="0"/>
                  </a:lnTo>
                  <a:lnTo>
                    <a:pt x="205" y="0"/>
                  </a:lnTo>
                  <a:lnTo>
                    <a:pt x="225" y="0"/>
                  </a:lnTo>
                  <a:lnTo>
                    <a:pt x="244" y="10"/>
                  </a:lnTo>
                  <a:lnTo>
                    <a:pt x="254" y="10"/>
                  </a:lnTo>
                  <a:lnTo>
                    <a:pt x="254" y="0"/>
                  </a:lnTo>
                  <a:lnTo>
                    <a:pt x="312" y="10"/>
                  </a:lnTo>
                  <a:lnTo>
                    <a:pt x="322" y="10"/>
                  </a:lnTo>
                  <a:lnTo>
                    <a:pt x="322" y="29"/>
                  </a:lnTo>
                  <a:lnTo>
                    <a:pt x="342" y="29"/>
                  </a:lnTo>
                  <a:lnTo>
                    <a:pt x="342" y="39"/>
                  </a:lnTo>
                  <a:lnTo>
                    <a:pt x="342" y="49"/>
                  </a:lnTo>
                  <a:lnTo>
                    <a:pt x="351" y="59"/>
                  </a:lnTo>
                  <a:lnTo>
                    <a:pt x="351" y="69"/>
                  </a:lnTo>
                  <a:lnTo>
                    <a:pt x="342" y="88"/>
                  </a:lnTo>
                  <a:lnTo>
                    <a:pt x="342" y="108"/>
                  </a:lnTo>
                  <a:lnTo>
                    <a:pt x="322" y="117"/>
                  </a:lnTo>
                  <a:lnTo>
                    <a:pt x="322" y="147"/>
                  </a:lnTo>
                  <a:lnTo>
                    <a:pt x="322" y="166"/>
                  </a:lnTo>
                  <a:lnTo>
                    <a:pt x="332" y="186"/>
                  </a:lnTo>
                  <a:lnTo>
                    <a:pt x="342" y="195"/>
                  </a:lnTo>
                  <a:lnTo>
                    <a:pt x="351" y="225"/>
                  </a:lnTo>
                  <a:lnTo>
                    <a:pt x="371" y="225"/>
                  </a:lnTo>
                  <a:lnTo>
                    <a:pt x="381" y="234"/>
                  </a:lnTo>
                  <a:lnTo>
                    <a:pt x="391" y="244"/>
                  </a:lnTo>
                  <a:lnTo>
                    <a:pt x="400" y="273"/>
                  </a:lnTo>
                  <a:lnTo>
                    <a:pt x="410" y="273"/>
                  </a:lnTo>
                  <a:lnTo>
                    <a:pt x="430" y="273"/>
                  </a:lnTo>
                  <a:lnTo>
                    <a:pt x="449" y="283"/>
                  </a:lnTo>
                  <a:lnTo>
                    <a:pt x="459" y="293"/>
                  </a:lnTo>
                  <a:lnTo>
                    <a:pt x="449" y="303"/>
                  </a:lnTo>
                  <a:lnTo>
                    <a:pt x="459" y="312"/>
                  </a:lnTo>
                  <a:lnTo>
                    <a:pt x="469" y="322"/>
                  </a:lnTo>
                  <a:lnTo>
                    <a:pt x="478" y="332"/>
                  </a:lnTo>
                  <a:lnTo>
                    <a:pt x="508" y="361"/>
                  </a:lnTo>
                  <a:lnTo>
                    <a:pt x="527" y="361"/>
                  </a:lnTo>
                  <a:lnTo>
                    <a:pt x="537" y="361"/>
                  </a:lnTo>
                  <a:lnTo>
                    <a:pt x="556" y="371"/>
                  </a:lnTo>
                  <a:lnTo>
                    <a:pt x="547" y="381"/>
                  </a:lnTo>
                  <a:lnTo>
                    <a:pt x="556" y="390"/>
                  </a:lnTo>
                  <a:lnTo>
                    <a:pt x="566" y="410"/>
                  </a:lnTo>
                  <a:lnTo>
                    <a:pt x="576" y="420"/>
                  </a:lnTo>
                  <a:lnTo>
                    <a:pt x="595" y="400"/>
                  </a:lnTo>
                  <a:lnTo>
                    <a:pt x="615" y="400"/>
                  </a:lnTo>
                  <a:lnTo>
                    <a:pt x="625" y="420"/>
                  </a:lnTo>
                  <a:lnTo>
                    <a:pt x="615" y="430"/>
                  </a:lnTo>
                  <a:lnTo>
                    <a:pt x="625" y="449"/>
                  </a:lnTo>
                  <a:lnTo>
                    <a:pt x="634" y="459"/>
                  </a:lnTo>
                  <a:lnTo>
                    <a:pt x="644" y="459"/>
                  </a:lnTo>
                  <a:lnTo>
                    <a:pt x="654" y="469"/>
                  </a:lnTo>
                  <a:lnTo>
                    <a:pt x="654" y="488"/>
                  </a:lnTo>
                  <a:lnTo>
                    <a:pt x="644" y="508"/>
                  </a:lnTo>
                  <a:lnTo>
                    <a:pt x="634" y="517"/>
                  </a:lnTo>
                  <a:lnTo>
                    <a:pt x="625" y="517"/>
                  </a:lnTo>
                  <a:lnTo>
                    <a:pt x="605" y="517"/>
                  </a:lnTo>
                  <a:lnTo>
                    <a:pt x="586" y="527"/>
                  </a:lnTo>
                  <a:lnTo>
                    <a:pt x="576" y="517"/>
                  </a:lnTo>
                  <a:lnTo>
                    <a:pt x="566" y="508"/>
                  </a:lnTo>
                  <a:lnTo>
                    <a:pt x="556" y="517"/>
                  </a:lnTo>
                  <a:lnTo>
                    <a:pt x="547" y="527"/>
                  </a:lnTo>
                  <a:lnTo>
                    <a:pt x="566" y="537"/>
                  </a:lnTo>
                  <a:lnTo>
                    <a:pt x="576" y="547"/>
                  </a:lnTo>
                  <a:lnTo>
                    <a:pt x="566" y="556"/>
                  </a:lnTo>
                  <a:lnTo>
                    <a:pt x="566" y="576"/>
                  </a:lnTo>
                  <a:lnTo>
                    <a:pt x="556" y="586"/>
                  </a:lnTo>
                  <a:lnTo>
                    <a:pt x="547" y="595"/>
                  </a:lnTo>
                  <a:lnTo>
                    <a:pt x="527" y="576"/>
                  </a:lnTo>
                  <a:lnTo>
                    <a:pt x="517" y="566"/>
                  </a:lnTo>
                  <a:lnTo>
                    <a:pt x="508" y="566"/>
                  </a:lnTo>
                  <a:lnTo>
                    <a:pt x="488" y="586"/>
                  </a:lnTo>
                  <a:lnTo>
                    <a:pt x="469" y="576"/>
                  </a:lnTo>
                  <a:lnTo>
                    <a:pt x="449" y="586"/>
                  </a:lnTo>
                  <a:lnTo>
                    <a:pt x="430" y="576"/>
                  </a:lnTo>
                  <a:lnTo>
                    <a:pt x="430" y="556"/>
                  </a:lnTo>
                  <a:close/>
                </a:path>
              </a:pathLst>
            </a:custGeom>
            <a:solidFill>
              <a:srgbClr val="FFCC99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266"/>
            <p:cNvSpPr>
              <a:spLocks/>
            </p:cNvSpPr>
            <p:nvPr/>
          </p:nvSpPr>
          <p:spPr bwMode="auto">
            <a:xfrm>
              <a:off x="3541" y="1378"/>
              <a:ext cx="1091" cy="1344"/>
            </a:xfrm>
            <a:custGeom>
              <a:avLst/>
              <a:gdLst>
                <a:gd name="T0" fmla="*/ 0 w 1092"/>
                <a:gd name="T1" fmla="*/ 702 h 1346"/>
                <a:gd name="T2" fmla="*/ 156 w 1092"/>
                <a:gd name="T3" fmla="*/ 770 h 1346"/>
                <a:gd name="T4" fmla="*/ 253 w 1092"/>
                <a:gd name="T5" fmla="*/ 858 h 1346"/>
                <a:gd name="T6" fmla="*/ 361 w 1092"/>
                <a:gd name="T7" fmla="*/ 907 h 1346"/>
                <a:gd name="T8" fmla="*/ 351 w 1092"/>
                <a:gd name="T9" fmla="*/ 1034 h 1346"/>
                <a:gd name="T10" fmla="*/ 497 w 1092"/>
                <a:gd name="T11" fmla="*/ 1112 h 1346"/>
                <a:gd name="T12" fmla="*/ 644 w 1092"/>
                <a:gd name="T13" fmla="*/ 1229 h 1346"/>
                <a:gd name="T14" fmla="*/ 800 w 1092"/>
                <a:gd name="T15" fmla="*/ 1219 h 1346"/>
                <a:gd name="T16" fmla="*/ 897 w 1092"/>
                <a:gd name="T17" fmla="*/ 1297 h 1346"/>
                <a:gd name="T18" fmla="*/ 1043 w 1092"/>
                <a:gd name="T19" fmla="*/ 1297 h 1346"/>
                <a:gd name="T20" fmla="*/ 1043 w 1092"/>
                <a:gd name="T21" fmla="*/ 1190 h 1346"/>
                <a:gd name="T22" fmla="*/ 1063 w 1092"/>
                <a:gd name="T23" fmla="*/ 1073 h 1346"/>
                <a:gd name="T24" fmla="*/ 1043 w 1092"/>
                <a:gd name="T25" fmla="*/ 966 h 1346"/>
                <a:gd name="T26" fmla="*/ 1014 w 1092"/>
                <a:gd name="T27" fmla="*/ 888 h 1346"/>
                <a:gd name="T28" fmla="*/ 1004 w 1092"/>
                <a:gd name="T29" fmla="*/ 741 h 1346"/>
                <a:gd name="T30" fmla="*/ 1063 w 1092"/>
                <a:gd name="T31" fmla="*/ 634 h 1346"/>
                <a:gd name="T32" fmla="*/ 1043 w 1092"/>
                <a:gd name="T33" fmla="*/ 546 h 1346"/>
                <a:gd name="T34" fmla="*/ 956 w 1092"/>
                <a:gd name="T35" fmla="*/ 458 h 1346"/>
                <a:gd name="T36" fmla="*/ 1063 w 1092"/>
                <a:gd name="T37" fmla="*/ 351 h 1346"/>
                <a:gd name="T38" fmla="*/ 1073 w 1092"/>
                <a:gd name="T39" fmla="*/ 234 h 1346"/>
                <a:gd name="T40" fmla="*/ 995 w 1092"/>
                <a:gd name="T41" fmla="*/ 205 h 1346"/>
                <a:gd name="T42" fmla="*/ 965 w 1092"/>
                <a:gd name="T43" fmla="*/ 195 h 1346"/>
                <a:gd name="T44" fmla="*/ 975 w 1092"/>
                <a:gd name="T45" fmla="*/ 292 h 1346"/>
                <a:gd name="T46" fmla="*/ 985 w 1092"/>
                <a:gd name="T47" fmla="*/ 341 h 1346"/>
                <a:gd name="T48" fmla="*/ 887 w 1092"/>
                <a:gd name="T49" fmla="*/ 253 h 1346"/>
                <a:gd name="T50" fmla="*/ 936 w 1092"/>
                <a:gd name="T51" fmla="*/ 156 h 1346"/>
                <a:gd name="T52" fmla="*/ 917 w 1092"/>
                <a:gd name="T53" fmla="*/ 127 h 1346"/>
                <a:gd name="T54" fmla="*/ 809 w 1092"/>
                <a:gd name="T55" fmla="*/ 205 h 1346"/>
                <a:gd name="T56" fmla="*/ 780 w 1092"/>
                <a:gd name="T57" fmla="*/ 341 h 1346"/>
                <a:gd name="T58" fmla="*/ 722 w 1092"/>
                <a:gd name="T59" fmla="*/ 468 h 1346"/>
                <a:gd name="T60" fmla="*/ 839 w 1092"/>
                <a:gd name="T61" fmla="*/ 517 h 1346"/>
                <a:gd name="T62" fmla="*/ 848 w 1092"/>
                <a:gd name="T63" fmla="*/ 624 h 1346"/>
                <a:gd name="T64" fmla="*/ 858 w 1092"/>
                <a:gd name="T65" fmla="*/ 692 h 1346"/>
                <a:gd name="T66" fmla="*/ 800 w 1092"/>
                <a:gd name="T67" fmla="*/ 663 h 1346"/>
                <a:gd name="T68" fmla="*/ 829 w 1092"/>
                <a:gd name="T69" fmla="*/ 566 h 1346"/>
                <a:gd name="T70" fmla="*/ 712 w 1092"/>
                <a:gd name="T71" fmla="*/ 546 h 1346"/>
                <a:gd name="T72" fmla="*/ 605 w 1092"/>
                <a:gd name="T73" fmla="*/ 692 h 1346"/>
                <a:gd name="T74" fmla="*/ 478 w 1092"/>
                <a:gd name="T75" fmla="*/ 712 h 1346"/>
                <a:gd name="T76" fmla="*/ 429 w 1092"/>
                <a:gd name="T77" fmla="*/ 644 h 1346"/>
                <a:gd name="T78" fmla="*/ 458 w 1092"/>
                <a:gd name="T79" fmla="*/ 644 h 1346"/>
                <a:gd name="T80" fmla="*/ 517 w 1092"/>
                <a:gd name="T81" fmla="*/ 683 h 1346"/>
                <a:gd name="T82" fmla="*/ 575 w 1092"/>
                <a:gd name="T83" fmla="*/ 634 h 1346"/>
                <a:gd name="T84" fmla="*/ 634 w 1092"/>
                <a:gd name="T85" fmla="*/ 595 h 1346"/>
                <a:gd name="T86" fmla="*/ 683 w 1092"/>
                <a:gd name="T87" fmla="*/ 497 h 1346"/>
                <a:gd name="T88" fmla="*/ 702 w 1092"/>
                <a:gd name="T89" fmla="*/ 390 h 1346"/>
                <a:gd name="T90" fmla="*/ 761 w 1092"/>
                <a:gd name="T91" fmla="*/ 283 h 1346"/>
                <a:gd name="T92" fmla="*/ 800 w 1092"/>
                <a:gd name="T93" fmla="*/ 156 h 1346"/>
                <a:gd name="T94" fmla="*/ 848 w 1092"/>
                <a:gd name="T95" fmla="*/ 58 h 1346"/>
                <a:gd name="T96" fmla="*/ 761 w 1092"/>
                <a:gd name="T97" fmla="*/ 19 h 1346"/>
                <a:gd name="T98" fmla="*/ 683 w 1092"/>
                <a:gd name="T99" fmla="*/ 78 h 1346"/>
                <a:gd name="T100" fmla="*/ 556 w 1092"/>
                <a:gd name="T101" fmla="*/ 156 h 1346"/>
                <a:gd name="T102" fmla="*/ 546 w 1092"/>
                <a:gd name="T103" fmla="*/ 234 h 1346"/>
                <a:gd name="T104" fmla="*/ 487 w 1092"/>
                <a:gd name="T105" fmla="*/ 302 h 1346"/>
                <a:gd name="T106" fmla="*/ 507 w 1092"/>
                <a:gd name="T107" fmla="*/ 341 h 1346"/>
                <a:gd name="T108" fmla="*/ 468 w 1092"/>
                <a:gd name="T109" fmla="*/ 468 h 1346"/>
                <a:gd name="T110" fmla="*/ 429 w 1092"/>
                <a:gd name="T111" fmla="*/ 361 h 1346"/>
                <a:gd name="T112" fmla="*/ 361 w 1092"/>
                <a:gd name="T113" fmla="*/ 302 h 1346"/>
                <a:gd name="T114" fmla="*/ 361 w 1092"/>
                <a:gd name="T115" fmla="*/ 458 h 1346"/>
                <a:gd name="T116" fmla="*/ 234 w 1092"/>
                <a:gd name="T117" fmla="*/ 517 h 134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92"/>
                <a:gd name="T178" fmla="*/ 0 h 1346"/>
                <a:gd name="T179" fmla="*/ 1092 w 1092"/>
                <a:gd name="T180" fmla="*/ 1346 h 134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92" h="1346">
                  <a:moveTo>
                    <a:pt x="68" y="566"/>
                  </a:moveTo>
                  <a:lnTo>
                    <a:pt x="58" y="585"/>
                  </a:lnTo>
                  <a:lnTo>
                    <a:pt x="58" y="595"/>
                  </a:lnTo>
                  <a:lnTo>
                    <a:pt x="49" y="614"/>
                  </a:lnTo>
                  <a:lnTo>
                    <a:pt x="58" y="624"/>
                  </a:lnTo>
                  <a:lnTo>
                    <a:pt x="49" y="634"/>
                  </a:lnTo>
                  <a:lnTo>
                    <a:pt x="39" y="663"/>
                  </a:lnTo>
                  <a:lnTo>
                    <a:pt x="19" y="683"/>
                  </a:lnTo>
                  <a:lnTo>
                    <a:pt x="0" y="692"/>
                  </a:lnTo>
                  <a:lnTo>
                    <a:pt x="0" y="702"/>
                  </a:lnTo>
                  <a:lnTo>
                    <a:pt x="19" y="712"/>
                  </a:lnTo>
                  <a:lnTo>
                    <a:pt x="29" y="712"/>
                  </a:lnTo>
                  <a:lnTo>
                    <a:pt x="39" y="731"/>
                  </a:lnTo>
                  <a:lnTo>
                    <a:pt x="39" y="741"/>
                  </a:lnTo>
                  <a:lnTo>
                    <a:pt x="49" y="751"/>
                  </a:lnTo>
                  <a:lnTo>
                    <a:pt x="58" y="741"/>
                  </a:lnTo>
                  <a:lnTo>
                    <a:pt x="97" y="751"/>
                  </a:lnTo>
                  <a:lnTo>
                    <a:pt x="127" y="761"/>
                  </a:lnTo>
                  <a:lnTo>
                    <a:pt x="136" y="761"/>
                  </a:lnTo>
                  <a:lnTo>
                    <a:pt x="156" y="770"/>
                  </a:lnTo>
                  <a:lnTo>
                    <a:pt x="175" y="780"/>
                  </a:lnTo>
                  <a:lnTo>
                    <a:pt x="195" y="790"/>
                  </a:lnTo>
                  <a:lnTo>
                    <a:pt x="195" y="800"/>
                  </a:lnTo>
                  <a:lnTo>
                    <a:pt x="185" y="810"/>
                  </a:lnTo>
                  <a:lnTo>
                    <a:pt x="175" y="819"/>
                  </a:lnTo>
                  <a:lnTo>
                    <a:pt x="175" y="839"/>
                  </a:lnTo>
                  <a:lnTo>
                    <a:pt x="195" y="858"/>
                  </a:lnTo>
                  <a:lnTo>
                    <a:pt x="214" y="858"/>
                  </a:lnTo>
                  <a:lnTo>
                    <a:pt x="244" y="858"/>
                  </a:lnTo>
                  <a:lnTo>
                    <a:pt x="253" y="858"/>
                  </a:lnTo>
                  <a:lnTo>
                    <a:pt x="263" y="868"/>
                  </a:lnTo>
                  <a:lnTo>
                    <a:pt x="283" y="858"/>
                  </a:lnTo>
                  <a:lnTo>
                    <a:pt x="292" y="858"/>
                  </a:lnTo>
                  <a:lnTo>
                    <a:pt x="302" y="858"/>
                  </a:lnTo>
                  <a:lnTo>
                    <a:pt x="322" y="888"/>
                  </a:lnTo>
                  <a:lnTo>
                    <a:pt x="331" y="888"/>
                  </a:lnTo>
                  <a:lnTo>
                    <a:pt x="341" y="888"/>
                  </a:lnTo>
                  <a:lnTo>
                    <a:pt x="341" y="897"/>
                  </a:lnTo>
                  <a:lnTo>
                    <a:pt x="361" y="907"/>
                  </a:lnTo>
                  <a:lnTo>
                    <a:pt x="361" y="917"/>
                  </a:lnTo>
                  <a:lnTo>
                    <a:pt x="351" y="927"/>
                  </a:lnTo>
                  <a:lnTo>
                    <a:pt x="341" y="936"/>
                  </a:lnTo>
                  <a:lnTo>
                    <a:pt x="341" y="966"/>
                  </a:lnTo>
                  <a:lnTo>
                    <a:pt x="341" y="995"/>
                  </a:lnTo>
                  <a:lnTo>
                    <a:pt x="361" y="1005"/>
                  </a:lnTo>
                  <a:lnTo>
                    <a:pt x="361" y="1014"/>
                  </a:lnTo>
                  <a:lnTo>
                    <a:pt x="351" y="1014"/>
                  </a:lnTo>
                  <a:lnTo>
                    <a:pt x="351" y="1024"/>
                  </a:lnTo>
                  <a:lnTo>
                    <a:pt x="351" y="1034"/>
                  </a:lnTo>
                  <a:lnTo>
                    <a:pt x="370" y="1044"/>
                  </a:lnTo>
                  <a:lnTo>
                    <a:pt x="390" y="1053"/>
                  </a:lnTo>
                  <a:lnTo>
                    <a:pt x="400" y="1053"/>
                  </a:lnTo>
                  <a:lnTo>
                    <a:pt x="419" y="1044"/>
                  </a:lnTo>
                  <a:lnTo>
                    <a:pt x="429" y="1053"/>
                  </a:lnTo>
                  <a:lnTo>
                    <a:pt x="429" y="1073"/>
                  </a:lnTo>
                  <a:lnTo>
                    <a:pt x="439" y="1083"/>
                  </a:lnTo>
                  <a:lnTo>
                    <a:pt x="468" y="1083"/>
                  </a:lnTo>
                  <a:lnTo>
                    <a:pt x="478" y="1092"/>
                  </a:lnTo>
                  <a:lnTo>
                    <a:pt x="497" y="1112"/>
                  </a:lnTo>
                  <a:lnTo>
                    <a:pt x="517" y="1122"/>
                  </a:lnTo>
                  <a:lnTo>
                    <a:pt x="546" y="1122"/>
                  </a:lnTo>
                  <a:lnTo>
                    <a:pt x="556" y="1131"/>
                  </a:lnTo>
                  <a:lnTo>
                    <a:pt x="566" y="1151"/>
                  </a:lnTo>
                  <a:lnTo>
                    <a:pt x="595" y="1151"/>
                  </a:lnTo>
                  <a:lnTo>
                    <a:pt x="595" y="1171"/>
                  </a:lnTo>
                  <a:lnTo>
                    <a:pt x="605" y="1200"/>
                  </a:lnTo>
                  <a:lnTo>
                    <a:pt x="605" y="1210"/>
                  </a:lnTo>
                  <a:lnTo>
                    <a:pt x="624" y="1219"/>
                  </a:lnTo>
                  <a:lnTo>
                    <a:pt x="644" y="1229"/>
                  </a:lnTo>
                  <a:lnTo>
                    <a:pt x="673" y="1229"/>
                  </a:lnTo>
                  <a:lnTo>
                    <a:pt x="692" y="1229"/>
                  </a:lnTo>
                  <a:lnTo>
                    <a:pt x="702" y="1249"/>
                  </a:lnTo>
                  <a:lnTo>
                    <a:pt x="722" y="1258"/>
                  </a:lnTo>
                  <a:lnTo>
                    <a:pt x="731" y="1258"/>
                  </a:lnTo>
                  <a:lnTo>
                    <a:pt x="741" y="1249"/>
                  </a:lnTo>
                  <a:lnTo>
                    <a:pt x="751" y="1239"/>
                  </a:lnTo>
                  <a:lnTo>
                    <a:pt x="761" y="1229"/>
                  </a:lnTo>
                  <a:lnTo>
                    <a:pt x="780" y="1219"/>
                  </a:lnTo>
                  <a:lnTo>
                    <a:pt x="800" y="1219"/>
                  </a:lnTo>
                  <a:lnTo>
                    <a:pt x="809" y="1229"/>
                  </a:lnTo>
                  <a:lnTo>
                    <a:pt x="819" y="1258"/>
                  </a:lnTo>
                  <a:lnTo>
                    <a:pt x="829" y="1268"/>
                  </a:lnTo>
                  <a:lnTo>
                    <a:pt x="839" y="1268"/>
                  </a:lnTo>
                  <a:lnTo>
                    <a:pt x="858" y="1268"/>
                  </a:lnTo>
                  <a:lnTo>
                    <a:pt x="868" y="1278"/>
                  </a:lnTo>
                  <a:lnTo>
                    <a:pt x="878" y="1278"/>
                  </a:lnTo>
                  <a:lnTo>
                    <a:pt x="887" y="1278"/>
                  </a:lnTo>
                  <a:lnTo>
                    <a:pt x="897" y="1297"/>
                  </a:lnTo>
                  <a:lnTo>
                    <a:pt x="917" y="1317"/>
                  </a:lnTo>
                  <a:lnTo>
                    <a:pt x="936" y="1327"/>
                  </a:lnTo>
                  <a:lnTo>
                    <a:pt x="946" y="1317"/>
                  </a:lnTo>
                  <a:lnTo>
                    <a:pt x="956" y="1327"/>
                  </a:lnTo>
                  <a:lnTo>
                    <a:pt x="975" y="1346"/>
                  </a:lnTo>
                  <a:lnTo>
                    <a:pt x="985" y="1346"/>
                  </a:lnTo>
                  <a:lnTo>
                    <a:pt x="1004" y="1327"/>
                  </a:lnTo>
                  <a:lnTo>
                    <a:pt x="1004" y="1317"/>
                  </a:lnTo>
                  <a:lnTo>
                    <a:pt x="1024" y="1297"/>
                  </a:lnTo>
                  <a:lnTo>
                    <a:pt x="1043" y="1297"/>
                  </a:lnTo>
                  <a:lnTo>
                    <a:pt x="1053" y="1288"/>
                  </a:lnTo>
                  <a:lnTo>
                    <a:pt x="1043" y="1278"/>
                  </a:lnTo>
                  <a:lnTo>
                    <a:pt x="1053" y="1268"/>
                  </a:lnTo>
                  <a:lnTo>
                    <a:pt x="1053" y="1258"/>
                  </a:lnTo>
                  <a:lnTo>
                    <a:pt x="1043" y="1249"/>
                  </a:lnTo>
                  <a:lnTo>
                    <a:pt x="1043" y="1239"/>
                  </a:lnTo>
                  <a:lnTo>
                    <a:pt x="1034" y="1219"/>
                  </a:lnTo>
                  <a:lnTo>
                    <a:pt x="1034" y="1210"/>
                  </a:lnTo>
                  <a:lnTo>
                    <a:pt x="1043" y="1190"/>
                  </a:lnTo>
                  <a:lnTo>
                    <a:pt x="1063" y="1180"/>
                  </a:lnTo>
                  <a:lnTo>
                    <a:pt x="1083" y="1171"/>
                  </a:lnTo>
                  <a:lnTo>
                    <a:pt x="1092" y="1161"/>
                  </a:lnTo>
                  <a:lnTo>
                    <a:pt x="1092" y="1131"/>
                  </a:lnTo>
                  <a:lnTo>
                    <a:pt x="1092" y="1102"/>
                  </a:lnTo>
                  <a:lnTo>
                    <a:pt x="1092" y="1083"/>
                  </a:lnTo>
                  <a:lnTo>
                    <a:pt x="1083" y="1083"/>
                  </a:lnTo>
                  <a:lnTo>
                    <a:pt x="1063" y="1083"/>
                  </a:lnTo>
                  <a:lnTo>
                    <a:pt x="1053" y="1083"/>
                  </a:lnTo>
                  <a:lnTo>
                    <a:pt x="1063" y="1073"/>
                  </a:lnTo>
                  <a:lnTo>
                    <a:pt x="1053" y="1063"/>
                  </a:lnTo>
                  <a:lnTo>
                    <a:pt x="1034" y="1053"/>
                  </a:lnTo>
                  <a:lnTo>
                    <a:pt x="1024" y="1044"/>
                  </a:lnTo>
                  <a:lnTo>
                    <a:pt x="1034" y="1034"/>
                  </a:lnTo>
                  <a:lnTo>
                    <a:pt x="1043" y="1024"/>
                  </a:lnTo>
                  <a:lnTo>
                    <a:pt x="1043" y="1005"/>
                  </a:lnTo>
                  <a:lnTo>
                    <a:pt x="1043" y="995"/>
                  </a:lnTo>
                  <a:lnTo>
                    <a:pt x="1053" y="975"/>
                  </a:lnTo>
                  <a:lnTo>
                    <a:pt x="1043" y="966"/>
                  </a:lnTo>
                  <a:lnTo>
                    <a:pt x="1034" y="966"/>
                  </a:lnTo>
                  <a:lnTo>
                    <a:pt x="1024" y="966"/>
                  </a:lnTo>
                  <a:lnTo>
                    <a:pt x="1014" y="956"/>
                  </a:lnTo>
                  <a:lnTo>
                    <a:pt x="1014" y="936"/>
                  </a:lnTo>
                  <a:lnTo>
                    <a:pt x="1004" y="936"/>
                  </a:lnTo>
                  <a:lnTo>
                    <a:pt x="1004" y="917"/>
                  </a:lnTo>
                  <a:lnTo>
                    <a:pt x="1024" y="917"/>
                  </a:lnTo>
                  <a:lnTo>
                    <a:pt x="1024" y="907"/>
                  </a:lnTo>
                  <a:lnTo>
                    <a:pt x="1014" y="888"/>
                  </a:lnTo>
                  <a:lnTo>
                    <a:pt x="1004" y="878"/>
                  </a:lnTo>
                  <a:lnTo>
                    <a:pt x="1014" y="858"/>
                  </a:lnTo>
                  <a:lnTo>
                    <a:pt x="1024" y="849"/>
                  </a:lnTo>
                  <a:lnTo>
                    <a:pt x="1024" y="839"/>
                  </a:lnTo>
                  <a:lnTo>
                    <a:pt x="1004" y="810"/>
                  </a:lnTo>
                  <a:lnTo>
                    <a:pt x="995" y="790"/>
                  </a:lnTo>
                  <a:lnTo>
                    <a:pt x="995" y="780"/>
                  </a:lnTo>
                  <a:lnTo>
                    <a:pt x="1004" y="761"/>
                  </a:lnTo>
                  <a:lnTo>
                    <a:pt x="1004" y="741"/>
                  </a:lnTo>
                  <a:lnTo>
                    <a:pt x="1004" y="722"/>
                  </a:lnTo>
                  <a:lnTo>
                    <a:pt x="1004" y="702"/>
                  </a:lnTo>
                  <a:lnTo>
                    <a:pt x="1024" y="702"/>
                  </a:lnTo>
                  <a:lnTo>
                    <a:pt x="1034" y="702"/>
                  </a:lnTo>
                  <a:lnTo>
                    <a:pt x="1063" y="692"/>
                  </a:lnTo>
                  <a:lnTo>
                    <a:pt x="1053" y="663"/>
                  </a:lnTo>
                  <a:lnTo>
                    <a:pt x="1053" y="644"/>
                  </a:lnTo>
                  <a:lnTo>
                    <a:pt x="1053" y="634"/>
                  </a:lnTo>
                  <a:lnTo>
                    <a:pt x="1063" y="634"/>
                  </a:lnTo>
                  <a:lnTo>
                    <a:pt x="1073" y="634"/>
                  </a:lnTo>
                  <a:lnTo>
                    <a:pt x="1063" y="624"/>
                  </a:lnTo>
                  <a:lnTo>
                    <a:pt x="1053" y="614"/>
                  </a:lnTo>
                  <a:lnTo>
                    <a:pt x="1063" y="605"/>
                  </a:lnTo>
                  <a:lnTo>
                    <a:pt x="1063" y="585"/>
                  </a:lnTo>
                  <a:lnTo>
                    <a:pt x="1063" y="575"/>
                  </a:lnTo>
                  <a:lnTo>
                    <a:pt x="1053" y="566"/>
                  </a:lnTo>
                  <a:lnTo>
                    <a:pt x="1063" y="546"/>
                  </a:lnTo>
                  <a:lnTo>
                    <a:pt x="1053" y="536"/>
                  </a:lnTo>
                  <a:lnTo>
                    <a:pt x="1043" y="546"/>
                  </a:lnTo>
                  <a:lnTo>
                    <a:pt x="1034" y="556"/>
                  </a:lnTo>
                  <a:lnTo>
                    <a:pt x="1024" y="556"/>
                  </a:lnTo>
                  <a:lnTo>
                    <a:pt x="1004" y="546"/>
                  </a:lnTo>
                  <a:lnTo>
                    <a:pt x="985" y="527"/>
                  </a:lnTo>
                  <a:lnTo>
                    <a:pt x="975" y="527"/>
                  </a:lnTo>
                  <a:lnTo>
                    <a:pt x="975" y="517"/>
                  </a:lnTo>
                  <a:lnTo>
                    <a:pt x="975" y="497"/>
                  </a:lnTo>
                  <a:lnTo>
                    <a:pt x="965" y="488"/>
                  </a:lnTo>
                  <a:lnTo>
                    <a:pt x="956" y="478"/>
                  </a:lnTo>
                  <a:lnTo>
                    <a:pt x="956" y="458"/>
                  </a:lnTo>
                  <a:lnTo>
                    <a:pt x="965" y="449"/>
                  </a:lnTo>
                  <a:lnTo>
                    <a:pt x="985" y="439"/>
                  </a:lnTo>
                  <a:lnTo>
                    <a:pt x="995" y="439"/>
                  </a:lnTo>
                  <a:lnTo>
                    <a:pt x="1004" y="429"/>
                  </a:lnTo>
                  <a:lnTo>
                    <a:pt x="1014" y="429"/>
                  </a:lnTo>
                  <a:lnTo>
                    <a:pt x="1043" y="419"/>
                  </a:lnTo>
                  <a:lnTo>
                    <a:pt x="1053" y="409"/>
                  </a:lnTo>
                  <a:lnTo>
                    <a:pt x="1053" y="370"/>
                  </a:lnTo>
                  <a:lnTo>
                    <a:pt x="1063" y="351"/>
                  </a:lnTo>
                  <a:lnTo>
                    <a:pt x="1053" y="341"/>
                  </a:lnTo>
                  <a:lnTo>
                    <a:pt x="1043" y="331"/>
                  </a:lnTo>
                  <a:lnTo>
                    <a:pt x="1024" y="302"/>
                  </a:lnTo>
                  <a:lnTo>
                    <a:pt x="1024" y="283"/>
                  </a:lnTo>
                  <a:lnTo>
                    <a:pt x="1034" y="273"/>
                  </a:lnTo>
                  <a:lnTo>
                    <a:pt x="1043" y="273"/>
                  </a:lnTo>
                  <a:lnTo>
                    <a:pt x="1053" y="273"/>
                  </a:lnTo>
                  <a:lnTo>
                    <a:pt x="1083" y="244"/>
                  </a:lnTo>
                  <a:lnTo>
                    <a:pt x="1073" y="234"/>
                  </a:lnTo>
                  <a:lnTo>
                    <a:pt x="1053" y="224"/>
                  </a:lnTo>
                  <a:lnTo>
                    <a:pt x="1043" y="214"/>
                  </a:lnTo>
                  <a:lnTo>
                    <a:pt x="1034" y="195"/>
                  </a:lnTo>
                  <a:lnTo>
                    <a:pt x="1043" y="195"/>
                  </a:lnTo>
                  <a:lnTo>
                    <a:pt x="1043" y="185"/>
                  </a:lnTo>
                  <a:lnTo>
                    <a:pt x="1014" y="185"/>
                  </a:lnTo>
                  <a:lnTo>
                    <a:pt x="1004" y="195"/>
                  </a:lnTo>
                  <a:lnTo>
                    <a:pt x="995" y="195"/>
                  </a:lnTo>
                  <a:lnTo>
                    <a:pt x="995" y="205"/>
                  </a:lnTo>
                  <a:lnTo>
                    <a:pt x="1004" y="205"/>
                  </a:lnTo>
                  <a:lnTo>
                    <a:pt x="1014" y="214"/>
                  </a:lnTo>
                  <a:lnTo>
                    <a:pt x="1014" y="234"/>
                  </a:lnTo>
                  <a:lnTo>
                    <a:pt x="1004" y="234"/>
                  </a:lnTo>
                  <a:lnTo>
                    <a:pt x="985" y="234"/>
                  </a:lnTo>
                  <a:lnTo>
                    <a:pt x="985" y="214"/>
                  </a:lnTo>
                  <a:lnTo>
                    <a:pt x="975" y="214"/>
                  </a:lnTo>
                  <a:lnTo>
                    <a:pt x="975" y="195"/>
                  </a:lnTo>
                  <a:lnTo>
                    <a:pt x="965" y="195"/>
                  </a:lnTo>
                  <a:lnTo>
                    <a:pt x="956" y="195"/>
                  </a:lnTo>
                  <a:lnTo>
                    <a:pt x="936" y="195"/>
                  </a:lnTo>
                  <a:lnTo>
                    <a:pt x="926" y="205"/>
                  </a:lnTo>
                  <a:lnTo>
                    <a:pt x="926" y="224"/>
                  </a:lnTo>
                  <a:lnTo>
                    <a:pt x="926" y="244"/>
                  </a:lnTo>
                  <a:lnTo>
                    <a:pt x="936" y="263"/>
                  </a:lnTo>
                  <a:lnTo>
                    <a:pt x="946" y="273"/>
                  </a:lnTo>
                  <a:lnTo>
                    <a:pt x="956" y="292"/>
                  </a:lnTo>
                  <a:lnTo>
                    <a:pt x="965" y="292"/>
                  </a:lnTo>
                  <a:lnTo>
                    <a:pt x="975" y="292"/>
                  </a:lnTo>
                  <a:lnTo>
                    <a:pt x="985" y="302"/>
                  </a:lnTo>
                  <a:lnTo>
                    <a:pt x="985" y="312"/>
                  </a:lnTo>
                  <a:lnTo>
                    <a:pt x="975" y="322"/>
                  </a:lnTo>
                  <a:lnTo>
                    <a:pt x="985" y="331"/>
                  </a:lnTo>
                  <a:lnTo>
                    <a:pt x="995" y="331"/>
                  </a:lnTo>
                  <a:lnTo>
                    <a:pt x="1004" y="331"/>
                  </a:lnTo>
                  <a:lnTo>
                    <a:pt x="1004" y="341"/>
                  </a:lnTo>
                  <a:lnTo>
                    <a:pt x="1004" y="351"/>
                  </a:lnTo>
                  <a:lnTo>
                    <a:pt x="985" y="341"/>
                  </a:lnTo>
                  <a:lnTo>
                    <a:pt x="975" y="341"/>
                  </a:lnTo>
                  <a:lnTo>
                    <a:pt x="965" y="331"/>
                  </a:lnTo>
                  <a:lnTo>
                    <a:pt x="965" y="312"/>
                  </a:lnTo>
                  <a:lnTo>
                    <a:pt x="956" y="302"/>
                  </a:lnTo>
                  <a:lnTo>
                    <a:pt x="946" y="292"/>
                  </a:lnTo>
                  <a:lnTo>
                    <a:pt x="936" y="292"/>
                  </a:lnTo>
                  <a:lnTo>
                    <a:pt x="926" y="292"/>
                  </a:lnTo>
                  <a:lnTo>
                    <a:pt x="917" y="283"/>
                  </a:lnTo>
                  <a:lnTo>
                    <a:pt x="897" y="273"/>
                  </a:lnTo>
                  <a:lnTo>
                    <a:pt x="887" y="253"/>
                  </a:lnTo>
                  <a:lnTo>
                    <a:pt x="887" y="244"/>
                  </a:lnTo>
                  <a:lnTo>
                    <a:pt x="897" y="234"/>
                  </a:lnTo>
                  <a:lnTo>
                    <a:pt x="897" y="214"/>
                  </a:lnTo>
                  <a:lnTo>
                    <a:pt x="897" y="195"/>
                  </a:lnTo>
                  <a:lnTo>
                    <a:pt x="907" y="185"/>
                  </a:lnTo>
                  <a:lnTo>
                    <a:pt x="917" y="175"/>
                  </a:lnTo>
                  <a:lnTo>
                    <a:pt x="926" y="166"/>
                  </a:lnTo>
                  <a:lnTo>
                    <a:pt x="936" y="156"/>
                  </a:lnTo>
                  <a:lnTo>
                    <a:pt x="936" y="146"/>
                  </a:lnTo>
                  <a:lnTo>
                    <a:pt x="936" y="136"/>
                  </a:lnTo>
                  <a:lnTo>
                    <a:pt x="946" y="127"/>
                  </a:lnTo>
                  <a:lnTo>
                    <a:pt x="946" y="117"/>
                  </a:lnTo>
                  <a:lnTo>
                    <a:pt x="946" y="97"/>
                  </a:lnTo>
                  <a:lnTo>
                    <a:pt x="936" y="88"/>
                  </a:lnTo>
                  <a:lnTo>
                    <a:pt x="926" y="97"/>
                  </a:lnTo>
                  <a:lnTo>
                    <a:pt x="926" y="107"/>
                  </a:lnTo>
                  <a:lnTo>
                    <a:pt x="917" y="127"/>
                  </a:lnTo>
                  <a:lnTo>
                    <a:pt x="917" y="146"/>
                  </a:lnTo>
                  <a:lnTo>
                    <a:pt x="907" y="156"/>
                  </a:lnTo>
                  <a:lnTo>
                    <a:pt x="897" y="175"/>
                  </a:lnTo>
                  <a:lnTo>
                    <a:pt x="878" y="175"/>
                  </a:lnTo>
                  <a:lnTo>
                    <a:pt x="858" y="175"/>
                  </a:lnTo>
                  <a:lnTo>
                    <a:pt x="848" y="175"/>
                  </a:lnTo>
                  <a:lnTo>
                    <a:pt x="839" y="185"/>
                  </a:lnTo>
                  <a:lnTo>
                    <a:pt x="829" y="195"/>
                  </a:lnTo>
                  <a:lnTo>
                    <a:pt x="809" y="205"/>
                  </a:lnTo>
                  <a:lnTo>
                    <a:pt x="800" y="205"/>
                  </a:lnTo>
                  <a:lnTo>
                    <a:pt x="800" y="214"/>
                  </a:lnTo>
                  <a:lnTo>
                    <a:pt x="800" y="224"/>
                  </a:lnTo>
                  <a:lnTo>
                    <a:pt x="809" y="234"/>
                  </a:lnTo>
                  <a:lnTo>
                    <a:pt x="809" y="263"/>
                  </a:lnTo>
                  <a:lnTo>
                    <a:pt x="800" y="283"/>
                  </a:lnTo>
                  <a:lnTo>
                    <a:pt x="809" y="312"/>
                  </a:lnTo>
                  <a:lnTo>
                    <a:pt x="809" y="331"/>
                  </a:lnTo>
                  <a:lnTo>
                    <a:pt x="800" y="331"/>
                  </a:lnTo>
                  <a:lnTo>
                    <a:pt x="780" y="341"/>
                  </a:lnTo>
                  <a:lnTo>
                    <a:pt x="770" y="351"/>
                  </a:lnTo>
                  <a:lnTo>
                    <a:pt x="761" y="361"/>
                  </a:lnTo>
                  <a:lnTo>
                    <a:pt x="761" y="370"/>
                  </a:lnTo>
                  <a:lnTo>
                    <a:pt x="741" y="390"/>
                  </a:lnTo>
                  <a:lnTo>
                    <a:pt x="741" y="409"/>
                  </a:lnTo>
                  <a:lnTo>
                    <a:pt x="741" y="429"/>
                  </a:lnTo>
                  <a:lnTo>
                    <a:pt x="741" y="439"/>
                  </a:lnTo>
                  <a:lnTo>
                    <a:pt x="731" y="449"/>
                  </a:lnTo>
                  <a:lnTo>
                    <a:pt x="722" y="458"/>
                  </a:lnTo>
                  <a:lnTo>
                    <a:pt x="722" y="468"/>
                  </a:lnTo>
                  <a:lnTo>
                    <a:pt x="731" y="468"/>
                  </a:lnTo>
                  <a:lnTo>
                    <a:pt x="741" y="468"/>
                  </a:lnTo>
                  <a:lnTo>
                    <a:pt x="751" y="478"/>
                  </a:lnTo>
                  <a:lnTo>
                    <a:pt x="751" y="488"/>
                  </a:lnTo>
                  <a:lnTo>
                    <a:pt x="770" y="488"/>
                  </a:lnTo>
                  <a:lnTo>
                    <a:pt x="790" y="488"/>
                  </a:lnTo>
                  <a:lnTo>
                    <a:pt x="800" y="488"/>
                  </a:lnTo>
                  <a:lnTo>
                    <a:pt x="809" y="488"/>
                  </a:lnTo>
                  <a:lnTo>
                    <a:pt x="829" y="497"/>
                  </a:lnTo>
                  <a:lnTo>
                    <a:pt x="839" y="517"/>
                  </a:lnTo>
                  <a:lnTo>
                    <a:pt x="848" y="527"/>
                  </a:lnTo>
                  <a:lnTo>
                    <a:pt x="848" y="536"/>
                  </a:lnTo>
                  <a:lnTo>
                    <a:pt x="858" y="546"/>
                  </a:lnTo>
                  <a:lnTo>
                    <a:pt x="858" y="556"/>
                  </a:lnTo>
                  <a:lnTo>
                    <a:pt x="858" y="575"/>
                  </a:lnTo>
                  <a:lnTo>
                    <a:pt x="858" y="585"/>
                  </a:lnTo>
                  <a:lnTo>
                    <a:pt x="868" y="605"/>
                  </a:lnTo>
                  <a:lnTo>
                    <a:pt x="858" y="614"/>
                  </a:lnTo>
                  <a:lnTo>
                    <a:pt x="858" y="624"/>
                  </a:lnTo>
                  <a:lnTo>
                    <a:pt x="848" y="624"/>
                  </a:lnTo>
                  <a:lnTo>
                    <a:pt x="839" y="624"/>
                  </a:lnTo>
                  <a:lnTo>
                    <a:pt x="829" y="634"/>
                  </a:lnTo>
                  <a:lnTo>
                    <a:pt x="819" y="644"/>
                  </a:lnTo>
                  <a:lnTo>
                    <a:pt x="819" y="663"/>
                  </a:lnTo>
                  <a:lnTo>
                    <a:pt x="819" y="673"/>
                  </a:lnTo>
                  <a:lnTo>
                    <a:pt x="829" y="673"/>
                  </a:lnTo>
                  <a:lnTo>
                    <a:pt x="829" y="683"/>
                  </a:lnTo>
                  <a:lnTo>
                    <a:pt x="848" y="692"/>
                  </a:lnTo>
                  <a:lnTo>
                    <a:pt x="858" y="692"/>
                  </a:lnTo>
                  <a:lnTo>
                    <a:pt x="868" y="702"/>
                  </a:lnTo>
                  <a:lnTo>
                    <a:pt x="868" y="712"/>
                  </a:lnTo>
                  <a:lnTo>
                    <a:pt x="858" y="702"/>
                  </a:lnTo>
                  <a:lnTo>
                    <a:pt x="848" y="702"/>
                  </a:lnTo>
                  <a:lnTo>
                    <a:pt x="829" y="692"/>
                  </a:lnTo>
                  <a:lnTo>
                    <a:pt x="819" y="702"/>
                  </a:lnTo>
                  <a:lnTo>
                    <a:pt x="819" y="692"/>
                  </a:lnTo>
                  <a:lnTo>
                    <a:pt x="809" y="683"/>
                  </a:lnTo>
                  <a:lnTo>
                    <a:pt x="800" y="663"/>
                  </a:lnTo>
                  <a:lnTo>
                    <a:pt x="809" y="653"/>
                  </a:lnTo>
                  <a:lnTo>
                    <a:pt x="809" y="634"/>
                  </a:lnTo>
                  <a:lnTo>
                    <a:pt x="819" y="624"/>
                  </a:lnTo>
                  <a:lnTo>
                    <a:pt x="829" y="614"/>
                  </a:lnTo>
                  <a:lnTo>
                    <a:pt x="819" y="605"/>
                  </a:lnTo>
                  <a:lnTo>
                    <a:pt x="839" y="595"/>
                  </a:lnTo>
                  <a:lnTo>
                    <a:pt x="839" y="585"/>
                  </a:lnTo>
                  <a:lnTo>
                    <a:pt x="839" y="575"/>
                  </a:lnTo>
                  <a:lnTo>
                    <a:pt x="829" y="566"/>
                  </a:lnTo>
                  <a:lnTo>
                    <a:pt x="829" y="546"/>
                  </a:lnTo>
                  <a:lnTo>
                    <a:pt x="829" y="527"/>
                  </a:lnTo>
                  <a:lnTo>
                    <a:pt x="819" y="517"/>
                  </a:lnTo>
                  <a:lnTo>
                    <a:pt x="800" y="517"/>
                  </a:lnTo>
                  <a:lnTo>
                    <a:pt x="761" y="507"/>
                  </a:lnTo>
                  <a:lnTo>
                    <a:pt x="741" y="517"/>
                  </a:lnTo>
                  <a:lnTo>
                    <a:pt x="731" y="527"/>
                  </a:lnTo>
                  <a:lnTo>
                    <a:pt x="731" y="536"/>
                  </a:lnTo>
                  <a:lnTo>
                    <a:pt x="712" y="546"/>
                  </a:lnTo>
                  <a:lnTo>
                    <a:pt x="712" y="566"/>
                  </a:lnTo>
                  <a:lnTo>
                    <a:pt x="712" y="575"/>
                  </a:lnTo>
                  <a:lnTo>
                    <a:pt x="712" y="605"/>
                  </a:lnTo>
                  <a:lnTo>
                    <a:pt x="702" y="614"/>
                  </a:lnTo>
                  <a:lnTo>
                    <a:pt x="692" y="634"/>
                  </a:lnTo>
                  <a:lnTo>
                    <a:pt x="673" y="634"/>
                  </a:lnTo>
                  <a:lnTo>
                    <a:pt x="653" y="644"/>
                  </a:lnTo>
                  <a:lnTo>
                    <a:pt x="644" y="673"/>
                  </a:lnTo>
                  <a:lnTo>
                    <a:pt x="634" y="683"/>
                  </a:lnTo>
                  <a:lnTo>
                    <a:pt x="605" y="692"/>
                  </a:lnTo>
                  <a:lnTo>
                    <a:pt x="595" y="702"/>
                  </a:lnTo>
                  <a:lnTo>
                    <a:pt x="566" y="712"/>
                  </a:lnTo>
                  <a:lnTo>
                    <a:pt x="556" y="712"/>
                  </a:lnTo>
                  <a:lnTo>
                    <a:pt x="546" y="722"/>
                  </a:lnTo>
                  <a:lnTo>
                    <a:pt x="536" y="731"/>
                  </a:lnTo>
                  <a:lnTo>
                    <a:pt x="517" y="741"/>
                  </a:lnTo>
                  <a:lnTo>
                    <a:pt x="507" y="731"/>
                  </a:lnTo>
                  <a:lnTo>
                    <a:pt x="497" y="722"/>
                  </a:lnTo>
                  <a:lnTo>
                    <a:pt x="497" y="712"/>
                  </a:lnTo>
                  <a:lnTo>
                    <a:pt x="478" y="712"/>
                  </a:lnTo>
                  <a:lnTo>
                    <a:pt x="458" y="702"/>
                  </a:lnTo>
                  <a:lnTo>
                    <a:pt x="448" y="692"/>
                  </a:lnTo>
                  <a:lnTo>
                    <a:pt x="439" y="692"/>
                  </a:lnTo>
                  <a:lnTo>
                    <a:pt x="429" y="673"/>
                  </a:lnTo>
                  <a:lnTo>
                    <a:pt x="419" y="663"/>
                  </a:lnTo>
                  <a:lnTo>
                    <a:pt x="409" y="653"/>
                  </a:lnTo>
                  <a:lnTo>
                    <a:pt x="409" y="634"/>
                  </a:lnTo>
                  <a:lnTo>
                    <a:pt x="419" y="634"/>
                  </a:lnTo>
                  <a:lnTo>
                    <a:pt x="429" y="634"/>
                  </a:lnTo>
                  <a:lnTo>
                    <a:pt x="429" y="644"/>
                  </a:lnTo>
                  <a:lnTo>
                    <a:pt x="429" y="653"/>
                  </a:lnTo>
                  <a:lnTo>
                    <a:pt x="429" y="66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48" y="663"/>
                  </a:lnTo>
                  <a:lnTo>
                    <a:pt x="448" y="644"/>
                  </a:lnTo>
                  <a:lnTo>
                    <a:pt x="439" y="634"/>
                  </a:lnTo>
                  <a:lnTo>
                    <a:pt x="448" y="634"/>
                  </a:lnTo>
                  <a:lnTo>
                    <a:pt x="458" y="634"/>
                  </a:lnTo>
                  <a:lnTo>
                    <a:pt x="458" y="644"/>
                  </a:lnTo>
                  <a:lnTo>
                    <a:pt x="458" y="663"/>
                  </a:lnTo>
                  <a:lnTo>
                    <a:pt x="468" y="663"/>
                  </a:lnTo>
                  <a:lnTo>
                    <a:pt x="458" y="673"/>
                  </a:lnTo>
                  <a:lnTo>
                    <a:pt x="458" y="683"/>
                  </a:lnTo>
                  <a:lnTo>
                    <a:pt x="468" y="683"/>
                  </a:lnTo>
                  <a:lnTo>
                    <a:pt x="478" y="683"/>
                  </a:lnTo>
                  <a:lnTo>
                    <a:pt x="487" y="683"/>
                  </a:lnTo>
                  <a:lnTo>
                    <a:pt x="497" y="683"/>
                  </a:lnTo>
                  <a:lnTo>
                    <a:pt x="517" y="683"/>
                  </a:lnTo>
                  <a:lnTo>
                    <a:pt x="517" y="673"/>
                  </a:lnTo>
                  <a:lnTo>
                    <a:pt x="517" y="663"/>
                  </a:lnTo>
                  <a:lnTo>
                    <a:pt x="517" y="653"/>
                  </a:lnTo>
                  <a:lnTo>
                    <a:pt x="527" y="653"/>
                  </a:lnTo>
                  <a:lnTo>
                    <a:pt x="536" y="663"/>
                  </a:lnTo>
                  <a:lnTo>
                    <a:pt x="546" y="663"/>
                  </a:lnTo>
                  <a:lnTo>
                    <a:pt x="556" y="653"/>
                  </a:lnTo>
                  <a:lnTo>
                    <a:pt x="556" y="634"/>
                  </a:lnTo>
                  <a:lnTo>
                    <a:pt x="566" y="634"/>
                  </a:lnTo>
                  <a:lnTo>
                    <a:pt x="575" y="634"/>
                  </a:lnTo>
                  <a:lnTo>
                    <a:pt x="566" y="624"/>
                  </a:lnTo>
                  <a:lnTo>
                    <a:pt x="575" y="624"/>
                  </a:lnTo>
                  <a:lnTo>
                    <a:pt x="585" y="624"/>
                  </a:lnTo>
                  <a:lnTo>
                    <a:pt x="595" y="614"/>
                  </a:lnTo>
                  <a:lnTo>
                    <a:pt x="605" y="605"/>
                  </a:lnTo>
                  <a:lnTo>
                    <a:pt x="614" y="605"/>
                  </a:lnTo>
                  <a:lnTo>
                    <a:pt x="624" y="605"/>
                  </a:lnTo>
                  <a:lnTo>
                    <a:pt x="634" y="595"/>
                  </a:lnTo>
                  <a:lnTo>
                    <a:pt x="644" y="585"/>
                  </a:lnTo>
                  <a:lnTo>
                    <a:pt x="644" y="566"/>
                  </a:lnTo>
                  <a:lnTo>
                    <a:pt x="653" y="556"/>
                  </a:lnTo>
                  <a:lnTo>
                    <a:pt x="653" y="546"/>
                  </a:lnTo>
                  <a:lnTo>
                    <a:pt x="673" y="546"/>
                  </a:lnTo>
                  <a:lnTo>
                    <a:pt x="683" y="536"/>
                  </a:lnTo>
                  <a:lnTo>
                    <a:pt x="683" y="527"/>
                  </a:lnTo>
                  <a:lnTo>
                    <a:pt x="683" y="497"/>
                  </a:lnTo>
                  <a:lnTo>
                    <a:pt x="673" y="488"/>
                  </a:lnTo>
                  <a:lnTo>
                    <a:pt x="663" y="478"/>
                  </a:lnTo>
                  <a:lnTo>
                    <a:pt x="663" y="468"/>
                  </a:lnTo>
                  <a:lnTo>
                    <a:pt x="673" y="449"/>
                  </a:lnTo>
                  <a:lnTo>
                    <a:pt x="673" y="439"/>
                  </a:lnTo>
                  <a:lnTo>
                    <a:pt x="683" y="429"/>
                  </a:lnTo>
                  <a:lnTo>
                    <a:pt x="692" y="419"/>
                  </a:lnTo>
                  <a:lnTo>
                    <a:pt x="692" y="409"/>
                  </a:lnTo>
                  <a:lnTo>
                    <a:pt x="702" y="390"/>
                  </a:lnTo>
                  <a:lnTo>
                    <a:pt x="712" y="380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31" y="341"/>
                  </a:lnTo>
                  <a:lnTo>
                    <a:pt x="731" y="322"/>
                  </a:lnTo>
                  <a:lnTo>
                    <a:pt x="741" y="312"/>
                  </a:lnTo>
                  <a:lnTo>
                    <a:pt x="751" y="302"/>
                  </a:lnTo>
                  <a:lnTo>
                    <a:pt x="761" y="292"/>
                  </a:lnTo>
                  <a:lnTo>
                    <a:pt x="761" y="283"/>
                  </a:lnTo>
                  <a:lnTo>
                    <a:pt x="761" y="263"/>
                  </a:lnTo>
                  <a:lnTo>
                    <a:pt x="770" y="253"/>
                  </a:lnTo>
                  <a:lnTo>
                    <a:pt x="770" y="234"/>
                  </a:lnTo>
                  <a:lnTo>
                    <a:pt x="770" y="224"/>
                  </a:lnTo>
                  <a:lnTo>
                    <a:pt x="761" y="214"/>
                  </a:lnTo>
                  <a:lnTo>
                    <a:pt x="761" y="195"/>
                  </a:lnTo>
                  <a:lnTo>
                    <a:pt x="770" y="185"/>
                  </a:lnTo>
                  <a:lnTo>
                    <a:pt x="780" y="185"/>
                  </a:lnTo>
                  <a:lnTo>
                    <a:pt x="790" y="175"/>
                  </a:lnTo>
                  <a:lnTo>
                    <a:pt x="800" y="156"/>
                  </a:lnTo>
                  <a:lnTo>
                    <a:pt x="809" y="146"/>
                  </a:lnTo>
                  <a:lnTo>
                    <a:pt x="829" y="136"/>
                  </a:lnTo>
                  <a:lnTo>
                    <a:pt x="829" y="127"/>
                  </a:lnTo>
                  <a:lnTo>
                    <a:pt x="839" y="127"/>
                  </a:lnTo>
                  <a:lnTo>
                    <a:pt x="839" y="117"/>
                  </a:lnTo>
                  <a:lnTo>
                    <a:pt x="848" y="97"/>
                  </a:lnTo>
                  <a:lnTo>
                    <a:pt x="848" y="88"/>
                  </a:lnTo>
                  <a:lnTo>
                    <a:pt x="848" y="68"/>
                  </a:lnTo>
                  <a:lnTo>
                    <a:pt x="848" y="58"/>
                  </a:lnTo>
                  <a:lnTo>
                    <a:pt x="839" y="58"/>
                  </a:lnTo>
                  <a:lnTo>
                    <a:pt x="829" y="58"/>
                  </a:lnTo>
                  <a:lnTo>
                    <a:pt x="829" y="48"/>
                  </a:lnTo>
                  <a:lnTo>
                    <a:pt x="819" y="39"/>
                  </a:lnTo>
                  <a:lnTo>
                    <a:pt x="800" y="29"/>
                  </a:lnTo>
                  <a:lnTo>
                    <a:pt x="800" y="39"/>
                  </a:lnTo>
                  <a:lnTo>
                    <a:pt x="800" y="29"/>
                  </a:lnTo>
                  <a:lnTo>
                    <a:pt x="780" y="19"/>
                  </a:lnTo>
                  <a:lnTo>
                    <a:pt x="761" y="19"/>
                  </a:lnTo>
                  <a:lnTo>
                    <a:pt x="761" y="9"/>
                  </a:lnTo>
                  <a:lnTo>
                    <a:pt x="761" y="0"/>
                  </a:lnTo>
                  <a:lnTo>
                    <a:pt x="751" y="9"/>
                  </a:lnTo>
                  <a:lnTo>
                    <a:pt x="741" y="19"/>
                  </a:lnTo>
                  <a:lnTo>
                    <a:pt x="722" y="29"/>
                  </a:lnTo>
                  <a:lnTo>
                    <a:pt x="712" y="39"/>
                  </a:lnTo>
                  <a:lnTo>
                    <a:pt x="712" y="48"/>
                  </a:lnTo>
                  <a:lnTo>
                    <a:pt x="702" y="58"/>
                  </a:lnTo>
                  <a:lnTo>
                    <a:pt x="692" y="78"/>
                  </a:lnTo>
                  <a:lnTo>
                    <a:pt x="683" y="78"/>
                  </a:lnTo>
                  <a:lnTo>
                    <a:pt x="673" y="97"/>
                  </a:lnTo>
                  <a:lnTo>
                    <a:pt x="663" y="107"/>
                  </a:lnTo>
                  <a:lnTo>
                    <a:pt x="644" y="117"/>
                  </a:lnTo>
                  <a:lnTo>
                    <a:pt x="624" y="117"/>
                  </a:lnTo>
                  <a:lnTo>
                    <a:pt x="605" y="127"/>
                  </a:lnTo>
                  <a:lnTo>
                    <a:pt x="575" y="136"/>
                  </a:lnTo>
                  <a:lnTo>
                    <a:pt x="566" y="146"/>
                  </a:lnTo>
                  <a:lnTo>
                    <a:pt x="566" y="156"/>
                  </a:lnTo>
                  <a:lnTo>
                    <a:pt x="556" y="156"/>
                  </a:lnTo>
                  <a:lnTo>
                    <a:pt x="556" y="166"/>
                  </a:lnTo>
                  <a:lnTo>
                    <a:pt x="546" y="175"/>
                  </a:lnTo>
                  <a:lnTo>
                    <a:pt x="536" y="175"/>
                  </a:lnTo>
                  <a:lnTo>
                    <a:pt x="556" y="175"/>
                  </a:lnTo>
                  <a:lnTo>
                    <a:pt x="566" y="185"/>
                  </a:lnTo>
                  <a:lnTo>
                    <a:pt x="566" y="195"/>
                  </a:lnTo>
                  <a:lnTo>
                    <a:pt x="556" y="195"/>
                  </a:lnTo>
                  <a:lnTo>
                    <a:pt x="546" y="214"/>
                  </a:lnTo>
                  <a:lnTo>
                    <a:pt x="546" y="224"/>
                  </a:lnTo>
                  <a:lnTo>
                    <a:pt x="546" y="234"/>
                  </a:lnTo>
                  <a:lnTo>
                    <a:pt x="536" y="234"/>
                  </a:lnTo>
                  <a:lnTo>
                    <a:pt x="527" y="244"/>
                  </a:lnTo>
                  <a:lnTo>
                    <a:pt x="527" y="263"/>
                  </a:lnTo>
                  <a:lnTo>
                    <a:pt x="517" y="263"/>
                  </a:lnTo>
                  <a:lnTo>
                    <a:pt x="507" y="263"/>
                  </a:lnTo>
                  <a:lnTo>
                    <a:pt x="497" y="253"/>
                  </a:lnTo>
                  <a:lnTo>
                    <a:pt x="497" y="273"/>
                  </a:lnTo>
                  <a:lnTo>
                    <a:pt x="487" y="283"/>
                  </a:lnTo>
                  <a:lnTo>
                    <a:pt x="478" y="292"/>
                  </a:lnTo>
                  <a:lnTo>
                    <a:pt x="487" y="302"/>
                  </a:lnTo>
                  <a:lnTo>
                    <a:pt x="497" y="292"/>
                  </a:lnTo>
                  <a:lnTo>
                    <a:pt x="497" y="302"/>
                  </a:lnTo>
                  <a:lnTo>
                    <a:pt x="507" y="312"/>
                  </a:lnTo>
                  <a:lnTo>
                    <a:pt x="507" y="322"/>
                  </a:lnTo>
                  <a:lnTo>
                    <a:pt x="517" y="331"/>
                  </a:lnTo>
                  <a:lnTo>
                    <a:pt x="527" y="331"/>
                  </a:lnTo>
                  <a:lnTo>
                    <a:pt x="517" y="341"/>
                  </a:lnTo>
                  <a:lnTo>
                    <a:pt x="507" y="341"/>
                  </a:lnTo>
                  <a:lnTo>
                    <a:pt x="507" y="351"/>
                  </a:lnTo>
                  <a:lnTo>
                    <a:pt x="507" y="370"/>
                  </a:lnTo>
                  <a:lnTo>
                    <a:pt x="507" y="400"/>
                  </a:lnTo>
                  <a:lnTo>
                    <a:pt x="527" y="409"/>
                  </a:lnTo>
                  <a:lnTo>
                    <a:pt x="527" y="419"/>
                  </a:lnTo>
                  <a:lnTo>
                    <a:pt x="507" y="429"/>
                  </a:lnTo>
                  <a:lnTo>
                    <a:pt x="497" y="439"/>
                  </a:lnTo>
                  <a:lnTo>
                    <a:pt x="478" y="449"/>
                  </a:lnTo>
                  <a:lnTo>
                    <a:pt x="478" y="458"/>
                  </a:lnTo>
                  <a:lnTo>
                    <a:pt x="468" y="468"/>
                  </a:lnTo>
                  <a:lnTo>
                    <a:pt x="458" y="468"/>
                  </a:lnTo>
                  <a:lnTo>
                    <a:pt x="468" y="458"/>
                  </a:lnTo>
                  <a:lnTo>
                    <a:pt x="468" y="449"/>
                  </a:lnTo>
                  <a:lnTo>
                    <a:pt x="458" y="439"/>
                  </a:lnTo>
                  <a:lnTo>
                    <a:pt x="448" y="429"/>
                  </a:lnTo>
                  <a:lnTo>
                    <a:pt x="448" y="400"/>
                  </a:lnTo>
                  <a:lnTo>
                    <a:pt x="439" y="390"/>
                  </a:lnTo>
                  <a:lnTo>
                    <a:pt x="439" y="370"/>
                  </a:lnTo>
                  <a:lnTo>
                    <a:pt x="429" y="361"/>
                  </a:lnTo>
                  <a:lnTo>
                    <a:pt x="429" y="351"/>
                  </a:lnTo>
                  <a:lnTo>
                    <a:pt x="419" y="341"/>
                  </a:lnTo>
                  <a:lnTo>
                    <a:pt x="409" y="331"/>
                  </a:lnTo>
                  <a:lnTo>
                    <a:pt x="419" y="32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12"/>
                  </a:lnTo>
                  <a:lnTo>
                    <a:pt x="370" y="302"/>
                  </a:lnTo>
                  <a:lnTo>
                    <a:pt x="361" y="302"/>
                  </a:lnTo>
                  <a:lnTo>
                    <a:pt x="361" y="312"/>
                  </a:lnTo>
                  <a:lnTo>
                    <a:pt x="370" y="331"/>
                  </a:lnTo>
                  <a:lnTo>
                    <a:pt x="370" y="351"/>
                  </a:lnTo>
                  <a:lnTo>
                    <a:pt x="361" y="370"/>
                  </a:lnTo>
                  <a:lnTo>
                    <a:pt x="351" y="380"/>
                  </a:lnTo>
                  <a:lnTo>
                    <a:pt x="341" y="400"/>
                  </a:lnTo>
                  <a:lnTo>
                    <a:pt x="341" y="409"/>
                  </a:lnTo>
                  <a:lnTo>
                    <a:pt x="351" y="429"/>
                  </a:lnTo>
                  <a:lnTo>
                    <a:pt x="361" y="449"/>
                  </a:lnTo>
                  <a:lnTo>
                    <a:pt x="361" y="458"/>
                  </a:lnTo>
                  <a:lnTo>
                    <a:pt x="341" y="468"/>
                  </a:lnTo>
                  <a:lnTo>
                    <a:pt x="331" y="468"/>
                  </a:lnTo>
                  <a:lnTo>
                    <a:pt x="341" y="478"/>
                  </a:lnTo>
                  <a:lnTo>
                    <a:pt x="331" y="488"/>
                  </a:lnTo>
                  <a:lnTo>
                    <a:pt x="302" y="488"/>
                  </a:lnTo>
                  <a:lnTo>
                    <a:pt x="283" y="488"/>
                  </a:lnTo>
                  <a:lnTo>
                    <a:pt x="273" y="497"/>
                  </a:lnTo>
                  <a:lnTo>
                    <a:pt x="253" y="507"/>
                  </a:lnTo>
                  <a:lnTo>
                    <a:pt x="234" y="517"/>
                  </a:lnTo>
                  <a:lnTo>
                    <a:pt x="205" y="517"/>
                  </a:lnTo>
                  <a:lnTo>
                    <a:pt x="185" y="517"/>
                  </a:lnTo>
                  <a:lnTo>
                    <a:pt x="166" y="507"/>
                  </a:lnTo>
                  <a:lnTo>
                    <a:pt x="166" y="527"/>
                  </a:lnTo>
                  <a:lnTo>
                    <a:pt x="146" y="536"/>
                  </a:lnTo>
                  <a:lnTo>
                    <a:pt x="136" y="536"/>
                  </a:lnTo>
                  <a:lnTo>
                    <a:pt x="117" y="546"/>
                  </a:lnTo>
                  <a:lnTo>
                    <a:pt x="107" y="556"/>
                  </a:lnTo>
                  <a:lnTo>
                    <a:pt x="68" y="566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Freeform 265"/>
            <p:cNvSpPr>
              <a:spLocks/>
            </p:cNvSpPr>
            <p:nvPr/>
          </p:nvSpPr>
          <p:spPr bwMode="auto">
            <a:xfrm>
              <a:off x="6340" y="3855"/>
              <a:ext cx="254" cy="176"/>
            </a:xfrm>
            <a:custGeom>
              <a:avLst/>
              <a:gdLst>
                <a:gd name="T0" fmla="*/ 69 w 254"/>
                <a:gd name="T1" fmla="*/ 166 h 176"/>
                <a:gd name="T2" fmla="*/ 78 w 254"/>
                <a:gd name="T3" fmla="*/ 176 h 176"/>
                <a:gd name="T4" fmla="*/ 117 w 254"/>
                <a:gd name="T5" fmla="*/ 166 h 176"/>
                <a:gd name="T6" fmla="*/ 127 w 254"/>
                <a:gd name="T7" fmla="*/ 146 h 176"/>
                <a:gd name="T8" fmla="*/ 156 w 254"/>
                <a:gd name="T9" fmla="*/ 146 h 176"/>
                <a:gd name="T10" fmla="*/ 176 w 254"/>
                <a:gd name="T11" fmla="*/ 127 h 176"/>
                <a:gd name="T12" fmla="*/ 195 w 254"/>
                <a:gd name="T13" fmla="*/ 127 h 176"/>
                <a:gd name="T14" fmla="*/ 234 w 254"/>
                <a:gd name="T15" fmla="*/ 117 h 176"/>
                <a:gd name="T16" fmla="*/ 244 w 254"/>
                <a:gd name="T17" fmla="*/ 97 h 176"/>
                <a:gd name="T18" fmla="*/ 254 w 254"/>
                <a:gd name="T19" fmla="*/ 88 h 176"/>
                <a:gd name="T20" fmla="*/ 234 w 254"/>
                <a:gd name="T21" fmla="*/ 88 h 176"/>
                <a:gd name="T22" fmla="*/ 215 w 254"/>
                <a:gd name="T23" fmla="*/ 88 h 176"/>
                <a:gd name="T24" fmla="*/ 215 w 254"/>
                <a:gd name="T25" fmla="*/ 58 h 176"/>
                <a:gd name="T26" fmla="*/ 225 w 254"/>
                <a:gd name="T27" fmla="*/ 49 h 176"/>
                <a:gd name="T28" fmla="*/ 244 w 254"/>
                <a:gd name="T29" fmla="*/ 49 h 176"/>
                <a:gd name="T30" fmla="*/ 244 w 254"/>
                <a:gd name="T31" fmla="*/ 39 h 176"/>
                <a:gd name="T32" fmla="*/ 234 w 254"/>
                <a:gd name="T33" fmla="*/ 29 h 176"/>
                <a:gd name="T34" fmla="*/ 225 w 254"/>
                <a:gd name="T35" fmla="*/ 19 h 176"/>
                <a:gd name="T36" fmla="*/ 205 w 254"/>
                <a:gd name="T37" fmla="*/ 19 h 176"/>
                <a:gd name="T38" fmla="*/ 195 w 254"/>
                <a:gd name="T39" fmla="*/ 10 h 176"/>
                <a:gd name="T40" fmla="*/ 186 w 254"/>
                <a:gd name="T41" fmla="*/ 0 h 176"/>
                <a:gd name="T42" fmla="*/ 166 w 254"/>
                <a:gd name="T43" fmla="*/ 0 h 176"/>
                <a:gd name="T44" fmla="*/ 156 w 254"/>
                <a:gd name="T45" fmla="*/ 10 h 176"/>
                <a:gd name="T46" fmla="*/ 137 w 254"/>
                <a:gd name="T47" fmla="*/ 10 h 176"/>
                <a:gd name="T48" fmla="*/ 137 w 254"/>
                <a:gd name="T49" fmla="*/ 29 h 176"/>
                <a:gd name="T50" fmla="*/ 117 w 254"/>
                <a:gd name="T51" fmla="*/ 39 h 176"/>
                <a:gd name="T52" fmla="*/ 108 w 254"/>
                <a:gd name="T53" fmla="*/ 39 h 176"/>
                <a:gd name="T54" fmla="*/ 88 w 254"/>
                <a:gd name="T55" fmla="*/ 39 h 176"/>
                <a:gd name="T56" fmla="*/ 69 w 254"/>
                <a:gd name="T57" fmla="*/ 58 h 176"/>
                <a:gd name="T58" fmla="*/ 78 w 254"/>
                <a:gd name="T59" fmla="*/ 68 h 176"/>
                <a:gd name="T60" fmla="*/ 88 w 254"/>
                <a:gd name="T61" fmla="*/ 78 h 176"/>
                <a:gd name="T62" fmla="*/ 69 w 254"/>
                <a:gd name="T63" fmla="*/ 88 h 176"/>
                <a:gd name="T64" fmla="*/ 59 w 254"/>
                <a:gd name="T65" fmla="*/ 88 h 176"/>
                <a:gd name="T66" fmla="*/ 39 w 254"/>
                <a:gd name="T67" fmla="*/ 97 h 176"/>
                <a:gd name="T68" fmla="*/ 30 w 254"/>
                <a:gd name="T69" fmla="*/ 107 h 176"/>
                <a:gd name="T70" fmla="*/ 20 w 254"/>
                <a:gd name="T71" fmla="*/ 127 h 176"/>
                <a:gd name="T72" fmla="*/ 20 w 254"/>
                <a:gd name="T73" fmla="*/ 127 h 176"/>
                <a:gd name="T74" fmla="*/ 10 w 254"/>
                <a:gd name="T75" fmla="*/ 127 h 176"/>
                <a:gd name="T76" fmla="*/ 10 w 254"/>
                <a:gd name="T77" fmla="*/ 117 h 176"/>
                <a:gd name="T78" fmla="*/ 10 w 254"/>
                <a:gd name="T79" fmla="*/ 107 h 176"/>
                <a:gd name="T80" fmla="*/ 10 w 254"/>
                <a:gd name="T81" fmla="*/ 107 h 176"/>
                <a:gd name="T82" fmla="*/ 0 w 254"/>
                <a:gd name="T83" fmla="*/ 107 h 176"/>
                <a:gd name="T84" fmla="*/ 0 w 254"/>
                <a:gd name="T85" fmla="*/ 117 h 176"/>
                <a:gd name="T86" fmla="*/ 0 w 254"/>
                <a:gd name="T87" fmla="*/ 127 h 176"/>
                <a:gd name="T88" fmla="*/ 0 w 254"/>
                <a:gd name="T89" fmla="*/ 146 h 176"/>
                <a:gd name="T90" fmla="*/ 0 w 254"/>
                <a:gd name="T91" fmla="*/ 156 h 176"/>
                <a:gd name="T92" fmla="*/ 20 w 254"/>
                <a:gd name="T93" fmla="*/ 166 h 176"/>
                <a:gd name="T94" fmla="*/ 30 w 254"/>
                <a:gd name="T95" fmla="*/ 166 h 176"/>
                <a:gd name="T96" fmla="*/ 49 w 254"/>
                <a:gd name="T97" fmla="*/ 156 h 176"/>
                <a:gd name="T98" fmla="*/ 59 w 254"/>
                <a:gd name="T99" fmla="*/ 156 h 176"/>
                <a:gd name="T100" fmla="*/ 69 w 254"/>
                <a:gd name="T101" fmla="*/ 166 h 17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4"/>
                <a:gd name="T154" fmla="*/ 0 h 176"/>
                <a:gd name="T155" fmla="*/ 254 w 254"/>
                <a:gd name="T156" fmla="*/ 176 h 17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4" h="176">
                  <a:moveTo>
                    <a:pt x="69" y="166"/>
                  </a:moveTo>
                  <a:lnTo>
                    <a:pt x="78" y="176"/>
                  </a:lnTo>
                  <a:lnTo>
                    <a:pt x="117" y="166"/>
                  </a:lnTo>
                  <a:lnTo>
                    <a:pt x="127" y="146"/>
                  </a:lnTo>
                  <a:lnTo>
                    <a:pt x="156" y="146"/>
                  </a:lnTo>
                  <a:lnTo>
                    <a:pt x="176" y="127"/>
                  </a:lnTo>
                  <a:lnTo>
                    <a:pt x="195" y="127"/>
                  </a:lnTo>
                  <a:lnTo>
                    <a:pt x="234" y="117"/>
                  </a:lnTo>
                  <a:lnTo>
                    <a:pt x="244" y="97"/>
                  </a:lnTo>
                  <a:lnTo>
                    <a:pt x="254" y="88"/>
                  </a:lnTo>
                  <a:lnTo>
                    <a:pt x="234" y="88"/>
                  </a:lnTo>
                  <a:lnTo>
                    <a:pt x="215" y="88"/>
                  </a:lnTo>
                  <a:lnTo>
                    <a:pt x="215" y="58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44" y="39"/>
                  </a:lnTo>
                  <a:lnTo>
                    <a:pt x="234" y="29"/>
                  </a:lnTo>
                  <a:lnTo>
                    <a:pt x="225" y="19"/>
                  </a:lnTo>
                  <a:lnTo>
                    <a:pt x="205" y="19"/>
                  </a:lnTo>
                  <a:lnTo>
                    <a:pt x="195" y="10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56" y="10"/>
                  </a:lnTo>
                  <a:lnTo>
                    <a:pt x="137" y="10"/>
                  </a:lnTo>
                  <a:lnTo>
                    <a:pt x="137" y="29"/>
                  </a:lnTo>
                  <a:lnTo>
                    <a:pt x="117" y="39"/>
                  </a:lnTo>
                  <a:lnTo>
                    <a:pt x="108" y="39"/>
                  </a:lnTo>
                  <a:lnTo>
                    <a:pt x="88" y="39"/>
                  </a:lnTo>
                  <a:lnTo>
                    <a:pt x="69" y="58"/>
                  </a:lnTo>
                  <a:lnTo>
                    <a:pt x="78" y="68"/>
                  </a:lnTo>
                  <a:lnTo>
                    <a:pt x="88" y="78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39" y="9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10" y="127"/>
                  </a:lnTo>
                  <a:lnTo>
                    <a:pt x="10" y="117"/>
                  </a:lnTo>
                  <a:lnTo>
                    <a:pt x="10" y="10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0" y="127"/>
                  </a:lnTo>
                  <a:lnTo>
                    <a:pt x="0" y="146"/>
                  </a:lnTo>
                  <a:lnTo>
                    <a:pt x="0" y="156"/>
                  </a:lnTo>
                  <a:lnTo>
                    <a:pt x="20" y="166"/>
                  </a:lnTo>
                  <a:lnTo>
                    <a:pt x="30" y="166"/>
                  </a:lnTo>
                  <a:lnTo>
                    <a:pt x="49" y="156"/>
                  </a:lnTo>
                  <a:lnTo>
                    <a:pt x="59" y="156"/>
                  </a:lnTo>
                  <a:lnTo>
                    <a:pt x="69" y="16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14" name="Group 262"/>
            <p:cNvGrpSpPr>
              <a:grpSpLocks/>
            </p:cNvGrpSpPr>
            <p:nvPr/>
          </p:nvGrpSpPr>
          <p:grpSpPr bwMode="auto">
            <a:xfrm>
              <a:off x="6339" y="3854"/>
              <a:ext cx="254" cy="176"/>
              <a:chOff x="6340" y="3854"/>
              <a:chExt cx="254" cy="176"/>
            </a:xfrm>
          </p:grpSpPr>
          <p:sp>
            <p:nvSpPr>
              <p:cNvPr id="354" name="Freeform 264"/>
              <p:cNvSpPr>
                <a:spLocks/>
              </p:cNvSpPr>
              <p:nvPr/>
            </p:nvSpPr>
            <p:spPr bwMode="auto">
              <a:xfrm>
                <a:off x="6341" y="3855"/>
                <a:ext cx="254" cy="176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69 w 254"/>
                  <a:gd name="T101" fmla="*/ 166 h 17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54"/>
                  <a:gd name="T154" fmla="*/ 0 h 176"/>
                  <a:gd name="T155" fmla="*/ 254 w 254"/>
                  <a:gd name="T156" fmla="*/ 176 h 17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  <a:lnTo>
                      <a:pt x="69" y="166"/>
                    </a:lnTo>
                    <a:close/>
                  </a:path>
                </a:pathLst>
              </a:custGeom>
              <a:solidFill>
                <a:srgbClr val="CCFF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5" name="Freeform 263"/>
              <p:cNvSpPr>
                <a:spLocks/>
              </p:cNvSpPr>
              <p:nvPr/>
            </p:nvSpPr>
            <p:spPr bwMode="auto">
              <a:xfrm>
                <a:off x="6341" y="3855"/>
                <a:ext cx="254" cy="176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54"/>
                  <a:gd name="T151" fmla="*/ 0 h 176"/>
                  <a:gd name="T152" fmla="*/ 254 w 254"/>
                  <a:gd name="T153" fmla="*/ 176 h 17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5" name="Freeform 261"/>
            <p:cNvSpPr>
              <a:spLocks/>
            </p:cNvSpPr>
            <p:nvPr/>
          </p:nvSpPr>
          <p:spPr bwMode="auto">
            <a:xfrm>
              <a:off x="5522" y="3768"/>
              <a:ext cx="273" cy="153"/>
            </a:xfrm>
            <a:custGeom>
              <a:avLst/>
              <a:gdLst>
                <a:gd name="T0" fmla="*/ 88 w 273"/>
                <a:gd name="T1" fmla="*/ 107 h 156"/>
                <a:gd name="T2" fmla="*/ 107 w 273"/>
                <a:gd name="T3" fmla="*/ 117 h 156"/>
                <a:gd name="T4" fmla="*/ 127 w 273"/>
                <a:gd name="T5" fmla="*/ 98 h 156"/>
                <a:gd name="T6" fmla="*/ 146 w 273"/>
                <a:gd name="T7" fmla="*/ 98 h 156"/>
                <a:gd name="T8" fmla="*/ 146 w 273"/>
                <a:gd name="T9" fmla="*/ 127 h 156"/>
                <a:gd name="T10" fmla="*/ 185 w 273"/>
                <a:gd name="T11" fmla="*/ 156 h 156"/>
                <a:gd name="T12" fmla="*/ 234 w 273"/>
                <a:gd name="T13" fmla="*/ 127 h 156"/>
                <a:gd name="T14" fmla="*/ 234 w 273"/>
                <a:gd name="T15" fmla="*/ 98 h 156"/>
                <a:gd name="T16" fmla="*/ 273 w 273"/>
                <a:gd name="T17" fmla="*/ 68 h 156"/>
                <a:gd name="T18" fmla="*/ 244 w 273"/>
                <a:gd name="T19" fmla="*/ 59 h 156"/>
                <a:gd name="T20" fmla="*/ 234 w 273"/>
                <a:gd name="T21" fmla="*/ 29 h 156"/>
                <a:gd name="T22" fmla="*/ 224 w 273"/>
                <a:gd name="T23" fmla="*/ 29 h 156"/>
                <a:gd name="T24" fmla="*/ 224 w 273"/>
                <a:gd name="T25" fmla="*/ 49 h 156"/>
                <a:gd name="T26" fmla="*/ 205 w 273"/>
                <a:gd name="T27" fmla="*/ 49 h 156"/>
                <a:gd name="T28" fmla="*/ 175 w 273"/>
                <a:gd name="T29" fmla="*/ 68 h 156"/>
                <a:gd name="T30" fmla="*/ 146 w 273"/>
                <a:gd name="T31" fmla="*/ 49 h 156"/>
                <a:gd name="T32" fmla="*/ 136 w 273"/>
                <a:gd name="T33" fmla="*/ 0 h 156"/>
                <a:gd name="T34" fmla="*/ 117 w 273"/>
                <a:gd name="T35" fmla="*/ 0 h 156"/>
                <a:gd name="T36" fmla="*/ 97 w 273"/>
                <a:gd name="T37" fmla="*/ 10 h 156"/>
                <a:gd name="T38" fmla="*/ 68 w 273"/>
                <a:gd name="T39" fmla="*/ 29 h 156"/>
                <a:gd name="T40" fmla="*/ 39 w 273"/>
                <a:gd name="T41" fmla="*/ 10 h 156"/>
                <a:gd name="T42" fmla="*/ 10 w 273"/>
                <a:gd name="T43" fmla="*/ 10 h 156"/>
                <a:gd name="T44" fmla="*/ 10 w 273"/>
                <a:gd name="T45" fmla="*/ 29 h 156"/>
                <a:gd name="T46" fmla="*/ 29 w 273"/>
                <a:gd name="T47" fmla="*/ 49 h 156"/>
                <a:gd name="T48" fmla="*/ 39 w 273"/>
                <a:gd name="T49" fmla="*/ 68 h 156"/>
                <a:gd name="T50" fmla="*/ 10 w 273"/>
                <a:gd name="T51" fmla="*/ 68 h 156"/>
                <a:gd name="T52" fmla="*/ 0 w 273"/>
                <a:gd name="T53" fmla="*/ 78 h 156"/>
                <a:gd name="T54" fmla="*/ 0 w 273"/>
                <a:gd name="T55" fmla="*/ 98 h 156"/>
                <a:gd name="T56" fmla="*/ 29 w 273"/>
                <a:gd name="T57" fmla="*/ 107 h 156"/>
                <a:gd name="T58" fmla="*/ 58 w 273"/>
                <a:gd name="T59" fmla="*/ 98 h 156"/>
                <a:gd name="T60" fmla="*/ 88 w 273"/>
                <a:gd name="T61" fmla="*/ 78 h 156"/>
                <a:gd name="T62" fmla="*/ 88 w 273"/>
                <a:gd name="T63" fmla="*/ 107 h 1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73"/>
                <a:gd name="T97" fmla="*/ 0 h 156"/>
                <a:gd name="T98" fmla="*/ 273 w 273"/>
                <a:gd name="T99" fmla="*/ 156 h 1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73" h="156">
                  <a:moveTo>
                    <a:pt x="88" y="107"/>
                  </a:moveTo>
                  <a:lnTo>
                    <a:pt x="107" y="117"/>
                  </a:lnTo>
                  <a:lnTo>
                    <a:pt x="127" y="98"/>
                  </a:lnTo>
                  <a:lnTo>
                    <a:pt x="146" y="98"/>
                  </a:lnTo>
                  <a:lnTo>
                    <a:pt x="146" y="127"/>
                  </a:lnTo>
                  <a:lnTo>
                    <a:pt x="185" y="156"/>
                  </a:lnTo>
                  <a:lnTo>
                    <a:pt x="234" y="127"/>
                  </a:lnTo>
                  <a:lnTo>
                    <a:pt x="234" y="98"/>
                  </a:lnTo>
                  <a:lnTo>
                    <a:pt x="273" y="68"/>
                  </a:lnTo>
                  <a:lnTo>
                    <a:pt x="244" y="5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24" y="49"/>
                  </a:lnTo>
                  <a:lnTo>
                    <a:pt x="205" y="49"/>
                  </a:lnTo>
                  <a:lnTo>
                    <a:pt x="175" y="68"/>
                  </a:lnTo>
                  <a:lnTo>
                    <a:pt x="146" y="49"/>
                  </a:lnTo>
                  <a:lnTo>
                    <a:pt x="136" y="0"/>
                  </a:lnTo>
                  <a:lnTo>
                    <a:pt x="117" y="0"/>
                  </a:lnTo>
                  <a:lnTo>
                    <a:pt x="97" y="10"/>
                  </a:lnTo>
                  <a:lnTo>
                    <a:pt x="68" y="29"/>
                  </a:lnTo>
                  <a:lnTo>
                    <a:pt x="39" y="10"/>
                  </a:lnTo>
                  <a:lnTo>
                    <a:pt x="10" y="10"/>
                  </a:lnTo>
                  <a:lnTo>
                    <a:pt x="10" y="29"/>
                  </a:lnTo>
                  <a:lnTo>
                    <a:pt x="29" y="49"/>
                  </a:lnTo>
                  <a:lnTo>
                    <a:pt x="39" y="6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0" y="98"/>
                  </a:lnTo>
                  <a:lnTo>
                    <a:pt x="29" y="107"/>
                  </a:lnTo>
                  <a:lnTo>
                    <a:pt x="58" y="98"/>
                  </a:lnTo>
                  <a:lnTo>
                    <a:pt x="88" y="78"/>
                  </a:lnTo>
                  <a:lnTo>
                    <a:pt x="88" y="107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16" name="Group 258"/>
            <p:cNvGrpSpPr>
              <a:grpSpLocks/>
            </p:cNvGrpSpPr>
            <p:nvPr/>
          </p:nvGrpSpPr>
          <p:grpSpPr bwMode="auto">
            <a:xfrm>
              <a:off x="5520" y="3766"/>
              <a:ext cx="273" cy="156"/>
              <a:chOff x="5521" y="3766"/>
              <a:chExt cx="273" cy="156"/>
            </a:xfrm>
          </p:grpSpPr>
          <p:sp>
            <p:nvSpPr>
              <p:cNvPr id="352" name="Freeform 260"/>
              <p:cNvSpPr>
                <a:spLocks/>
              </p:cNvSpPr>
              <p:nvPr/>
            </p:nvSpPr>
            <p:spPr bwMode="auto">
              <a:xfrm>
                <a:off x="5521" y="3765"/>
                <a:ext cx="273" cy="157"/>
              </a:xfrm>
              <a:custGeom>
                <a:avLst/>
                <a:gdLst>
                  <a:gd name="T0" fmla="*/ 88 w 273"/>
                  <a:gd name="T1" fmla="*/ 107 h 156"/>
                  <a:gd name="T2" fmla="*/ 107 w 273"/>
                  <a:gd name="T3" fmla="*/ 117 h 156"/>
                  <a:gd name="T4" fmla="*/ 127 w 273"/>
                  <a:gd name="T5" fmla="*/ 98 h 156"/>
                  <a:gd name="T6" fmla="*/ 146 w 273"/>
                  <a:gd name="T7" fmla="*/ 98 h 156"/>
                  <a:gd name="T8" fmla="*/ 146 w 273"/>
                  <a:gd name="T9" fmla="*/ 127 h 156"/>
                  <a:gd name="T10" fmla="*/ 185 w 273"/>
                  <a:gd name="T11" fmla="*/ 156 h 156"/>
                  <a:gd name="T12" fmla="*/ 234 w 273"/>
                  <a:gd name="T13" fmla="*/ 127 h 156"/>
                  <a:gd name="T14" fmla="*/ 234 w 273"/>
                  <a:gd name="T15" fmla="*/ 98 h 156"/>
                  <a:gd name="T16" fmla="*/ 273 w 273"/>
                  <a:gd name="T17" fmla="*/ 68 h 156"/>
                  <a:gd name="T18" fmla="*/ 244 w 273"/>
                  <a:gd name="T19" fmla="*/ 59 h 156"/>
                  <a:gd name="T20" fmla="*/ 234 w 273"/>
                  <a:gd name="T21" fmla="*/ 29 h 156"/>
                  <a:gd name="T22" fmla="*/ 224 w 273"/>
                  <a:gd name="T23" fmla="*/ 29 h 156"/>
                  <a:gd name="T24" fmla="*/ 224 w 273"/>
                  <a:gd name="T25" fmla="*/ 49 h 156"/>
                  <a:gd name="T26" fmla="*/ 205 w 273"/>
                  <a:gd name="T27" fmla="*/ 49 h 156"/>
                  <a:gd name="T28" fmla="*/ 175 w 273"/>
                  <a:gd name="T29" fmla="*/ 68 h 156"/>
                  <a:gd name="T30" fmla="*/ 146 w 273"/>
                  <a:gd name="T31" fmla="*/ 49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49 h 156"/>
                  <a:gd name="T48" fmla="*/ 39 w 273"/>
                  <a:gd name="T49" fmla="*/ 68 h 156"/>
                  <a:gd name="T50" fmla="*/ 19 w 273"/>
                  <a:gd name="T51" fmla="*/ 68 h 156"/>
                  <a:gd name="T52" fmla="*/ 0 w 273"/>
                  <a:gd name="T53" fmla="*/ 78 h 156"/>
                  <a:gd name="T54" fmla="*/ 0 w 273"/>
                  <a:gd name="T55" fmla="*/ 98 h 156"/>
                  <a:gd name="T56" fmla="*/ 29 w 273"/>
                  <a:gd name="T57" fmla="*/ 107 h 156"/>
                  <a:gd name="T58" fmla="*/ 58 w 273"/>
                  <a:gd name="T59" fmla="*/ 98 h 156"/>
                  <a:gd name="T60" fmla="*/ 88 w 273"/>
                  <a:gd name="T61" fmla="*/ 78 h 156"/>
                  <a:gd name="T62" fmla="*/ 88 w 273"/>
                  <a:gd name="T63" fmla="*/ 107 h 15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3"/>
                  <a:gd name="T97" fmla="*/ 0 h 156"/>
                  <a:gd name="T98" fmla="*/ 273 w 273"/>
                  <a:gd name="T99" fmla="*/ 156 h 15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  <a:lnTo>
                      <a:pt x="88" y="107"/>
                    </a:lnTo>
                    <a:close/>
                  </a:path>
                </a:pathLst>
              </a:custGeom>
              <a:solidFill>
                <a:srgbClr val="CCFF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3" name="Freeform 259"/>
              <p:cNvSpPr>
                <a:spLocks/>
              </p:cNvSpPr>
              <p:nvPr/>
            </p:nvSpPr>
            <p:spPr bwMode="auto">
              <a:xfrm>
                <a:off x="5521" y="3765"/>
                <a:ext cx="273" cy="157"/>
              </a:xfrm>
              <a:custGeom>
                <a:avLst/>
                <a:gdLst>
                  <a:gd name="T0" fmla="*/ 88 w 273"/>
                  <a:gd name="T1" fmla="*/ 107 h 156"/>
                  <a:gd name="T2" fmla="*/ 107 w 273"/>
                  <a:gd name="T3" fmla="*/ 117 h 156"/>
                  <a:gd name="T4" fmla="*/ 127 w 273"/>
                  <a:gd name="T5" fmla="*/ 98 h 156"/>
                  <a:gd name="T6" fmla="*/ 146 w 273"/>
                  <a:gd name="T7" fmla="*/ 98 h 156"/>
                  <a:gd name="T8" fmla="*/ 146 w 273"/>
                  <a:gd name="T9" fmla="*/ 127 h 156"/>
                  <a:gd name="T10" fmla="*/ 185 w 273"/>
                  <a:gd name="T11" fmla="*/ 156 h 156"/>
                  <a:gd name="T12" fmla="*/ 234 w 273"/>
                  <a:gd name="T13" fmla="*/ 127 h 156"/>
                  <a:gd name="T14" fmla="*/ 234 w 273"/>
                  <a:gd name="T15" fmla="*/ 98 h 156"/>
                  <a:gd name="T16" fmla="*/ 273 w 273"/>
                  <a:gd name="T17" fmla="*/ 68 h 156"/>
                  <a:gd name="T18" fmla="*/ 244 w 273"/>
                  <a:gd name="T19" fmla="*/ 59 h 156"/>
                  <a:gd name="T20" fmla="*/ 234 w 273"/>
                  <a:gd name="T21" fmla="*/ 29 h 156"/>
                  <a:gd name="T22" fmla="*/ 224 w 273"/>
                  <a:gd name="T23" fmla="*/ 29 h 156"/>
                  <a:gd name="T24" fmla="*/ 224 w 273"/>
                  <a:gd name="T25" fmla="*/ 49 h 156"/>
                  <a:gd name="T26" fmla="*/ 205 w 273"/>
                  <a:gd name="T27" fmla="*/ 49 h 156"/>
                  <a:gd name="T28" fmla="*/ 175 w 273"/>
                  <a:gd name="T29" fmla="*/ 68 h 156"/>
                  <a:gd name="T30" fmla="*/ 146 w 273"/>
                  <a:gd name="T31" fmla="*/ 49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49 h 156"/>
                  <a:gd name="T48" fmla="*/ 39 w 273"/>
                  <a:gd name="T49" fmla="*/ 68 h 156"/>
                  <a:gd name="T50" fmla="*/ 19 w 273"/>
                  <a:gd name="T51" fmla="*/ 68 h 156"/>
                  <a:gd name="T52" fmla="*/ 0 w 273"/>
                  <a:gd name="T53" fmla="*/ 78 h 156"/>
                  <a:gd name="T54" fmla="*/ 0 w 273"/>
                  <a:gd name="T55" fmla="*/ 98 h 156"/>
                  <a:gd name="T56" fmla="*/ 29 w 273"/>
                  <a:gd name="T57" fmla="*/ 107 h 156"/>
                  <a:gd name="T58" fmla="*/ 58 w 273"/>
                  <a:gd name="T59" fmla="*/ 98 h 156"/>
                  <a:gd name="T60" fmla="*/ 88 w 273"/>
                  <a:gd name="T61" fmla="*/ 78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3"/>
                  <a:gd name="T94" fmla="*/ 0 h 156"/>
                  <a:gd name="T95" fmla="*/ 273 w 273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7" name="Freeform 257"/>
            <p:cNvSpPr>
              <a:spLocks/>
            </p:cNvSpPr>
            <p:nvPr/>
          </p:nvSpPr>
          <p:spPr bwMode="auto">
            <a:xfrm>
              <a:off x="4497" y="1072"/>
              <a:ext cx="1345" cy="1154"/>
            </a:xfrm>
            <a:custGeom>
              <a:avLst/>
              <a:gdLst>
                <a:gd name="T0" fmla="*/ 1229 w 1346"/>
                <a:gd name="T1" fmla="*/ 537 h 1152"/>
                <a:gd name="T2" fmla="*/ 1346 w 1346"/>
                <a:gd name="T3" fmla="*/ 703 h 1152"/>
                <a:gd name="T4" fmla="*/ 1258 w 1346"/>
                <a:gd name="T5" fmla="*/ 830 h 1152"/>
                <a:gd name="T6" fmla="*/ 1151 w 1346"/>
                <a:gd name="T7" fmla="*/ 917 h 1152"/>
                <a:gd name="T8" fmla="*/ 975 w 1346"/>
                <a:gd name="T9" fmla="*/ 947 h 1152"/>
                <a:gd name="T10" fmla="*/ 868 w 1346"/>
                <a:gd name="T11" fmla="*/ 888 h 1152"/>
                <a:gd name="T12" fmla="*/ 663 w 1346"/>
                <a:gd name="T13" fmla="*/ 947 h 1152"/>
                <a:gd name="T14" fmla="*/ 546 w 1346"/>
                <a:gd name="T15" fmla="*/ 1054 h 1152"/>
                <a:gd name="T16" fmla="*/ 370 w 1346"/>
                <a:gd name="T17" fmla="*/ 1142 h 1152"/>
                <a:gd name="T18" fmla="*/ 205 w 1346"/>
                <a:gd name="T19" fmla="*/ 1064 h 1152"/>
                <a:gd name="T20" fmla="*/ 127 w 1346"/>
                <a:gd name="T21" fmla="*/ 1005 h 1152"/>
                <a:gd name="T22" fmla="*/ 107 w 1346"/>
                <a:gd name="T23" fmla="*/ 908 h 1152"/>
                <a:gd name="T24" fmla="*/ 48 w 1346"/>
                <a:gd name="T25" fmla="*/ 849 h 1152"/>
                <a:gd name="T26" fmla="*/ 29 w 1346"/>
                <a:gd name="T27" fmla="*/ 742 h 1152"/>
                <a:gd name="T28" fmla="*/ 97 w 1346"/>
                <a:gd name="T29" fmla="*/ 644 h 1152"/>
                <a:gd name="T30" fmla="*/ 117 w 1346"/>
                <a:gd name="T31" fmla="*/ 547 h 1152"/>
                <a:gd name="T32" fmla="*/ 136 w 1346"/>
                <a:gd name="T33" fmla="*/ 527 h 1152"/>
                <a:gd name="T34" fmla="*/ 224 w 1346"/>
                <a:gd name="T35" fmla="*/ 595 h 1152"/>
                <a:gd name="T36" fmla="*/ 185 w 1346"/>
                <a:gd name="T37" fmla="*/ 664 h 1152"/>
                <a:gd name="T38" fmla="*/ 205 w 1346"/>
                <a:gd name="T39" fmla="*/ 683 h 1152"/>
                <a:gd name="T40" fmla="*/ 166 w 1346"/>
                <a:gd name="T41" fmla="*/ 781 h 1152"/>
                <a:gd name="T42" fmla="*/ 205 w 1346"/>
                <a:gd name="T43" fmla="*/ 849 h 1152"/>
                <a:gd name="T44" fmla="*/ 205 w 1346"/>
                <a:gd name="T45" fmla="*/ 761 h 1152"/>
                <a:gd name="T46" fmla="*/ 244 w 1346"/>
                <a:gd name="T47" fmla="*/ 634 h 1152"/>
                <a:gd name="T48" fmla="*/ 175 w 1346"/>
                <a:gd name="T49" fmla="*/ 508 h 1152"/>
                <a:gd name="T50" fmla="*/ 195 w 1346"/>
                <a:gd name="T51" fmla="*/ 400 h 1152"/>
                <a:gd name="T52" fmla="*/ 370 w 1346"/>
                <a:gd name="T53" fmla="*/ 400 h 1152"/>
                <a:gd name="T54" fmla="*/ 419 w 1346"/>
                <a:gd name="T55" fmla="*/ 410 h 1152"/>
                <a:gd name="T56" fmla="*/ 419 w 1346"/>
                <a:gd name="T57" fmla="*/ 332 h 1152"/>
                <a:gd name="T58" fmla="*/ 409 w 1346"/>
                <a:gd name="T59" fmla="*/ 303 h 1152"/>
                <a:gd name="T60" fmla="*/ 448 w 1346"/>
                <a:gd name="T61" fmla="*/ 293 h 1152"/>
                <a:gd name="T62" fmla="*/ 478 w 1346"/>
                <a:gd name="T63" fmla="*/ 273 h 1152"/>
                <a:gd name="T64" fmla="*/ 575 w 1346"/>
                <a:gd name="T65" fmla="*/ 225 h 1152"/>
                <a:gd name="T66" fmla="*/ 673 w 1346"/>
                <a:gd name="T67" fmla="*/ 215 h 1152"/>
                <a:gd name="T68" fmla="*/ 663 w 1346"/>
                <a:gd name="T69" fmla="*/ 186 h 1152"/>
                <a:gd name="T70" fmla="*/ 722 w 1346"/>
                <a:gd name="T71" fmla="*/ 186 h 1152"/>
                <a:gd name="T72" fmla="*/ 761 w 1346"/>
                <a:gd name="T73" fmla="*/ 205 h 1152"/>
                <a:gd name="T74" fmla="*/ 839 w 1346"/>
                <a:gd name="T75" fmla="*/ 176 h 1152"/>
                <a:gd name="T76" fmla="*/ 848 w 1346"/>
                <a:gd name="T77" fmla="*/ 147 h 1152"/>
                <a:gd name="T78" fmla="*/ 907 w 1346"/>
                <a:gd name="T79" fmla="*/ 137 h 1152"/>
                <a:gd name="T80" fmla="*/ 897 w 1346"/>
                <a:gd name="T81" fmla="*/ 69 h 1152"/>
                <a:gd name="T82" fmla="*/ 965 w 1346"/>
                <a:gd name="T83" fmla="*/ 0 h 1152"/>
                <a:gd name="T84" fmla="*/ 1024 w 1346"/>
                <a:gd name="T85" fmla="*/ 39 h 1152"/>
                <a:gd name="T86" fmla="*/ 1024 w 1346"/>
                <a:gd name="T87" fmla="*/ 78 h 1152"/>
                <a:gd name="T88" fmla="*/ 1053 w 1346"/>
                <a:gd name="T89" fmla="*/ 137 h 1152"/>
                <a:gd name="T90" fmla="*/ 1131 w 1346"/>
                <a:gd name="T91" fmla="*/ 98 h 1152"/>
                <a:gd name="T92" fmla="*/ 1209 w 1346"/>
                <a:gd name="T93" fmla="*/ 108 h 1152"/>
                <a:gd name="T94" fmla="*/ 1258 w 1346"/>
                <a:gd name="T95" fmla="*/ 156 h 1152"/>
                <a:gd name="T96" fmla="*/ 1287 w 1346"/>
                <a:gd name="T97" fmla="*/ 166 h 1152"/>
                <a:gd name="T98" fmla="*/ 1258 w 1346"/>
                <a:gd name="T99" fmla="*/ 205 h 1152"/>
                <a:gd name="T100" fmla="*/ 1287 w 1346"/>
                <a:gd name="T101" fmla="*/ 273 h 1152"/>
                <a:gd name="T102" fmla="*/ 1199 w 1346"/>
                <a:gd name="T103" fmla="*/ 361 h 1152"/>
                <a:gd name="T104" fmla="*/ 1151 w 1346"/>
                <a:gd name="T105" fmla="*/ 449 h 1152"/>
                <a:gd name="T106" fmla="*/ 1073 w 1346"/>
                <a:gd name="T107" fmla="*/ 527 h 1152"/>
                <a:gd name="T108" fmla="*/ 1121 w 1346"/>
                <a:gd name="T109" fmla="*/ 508 h 1152"/>
                <a:gd name="T110" fmla="*/ 1199 w 1346"/>
                <a:gd name="T111" fmla="*/ 469 h 1152"/>
                <a:gd name="T112" fmla="*/ 1190 w 1346"/>
                <a:gd name="T113" fmla="*/ 430 h 115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46"/>
                <a:gd name="T172" fmla="*/ 0 h 1152"/>
                <a:gd name="T173" fmla="*/ 1346 w 1346"/>
                <a:gd name="T174" fmla="*/ 1152 h 115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46" h="1152">
                  <a:moveTo>
                    <a:pt x="1248" y="410"/>
                  </a:moveTo>
                  <a:lnTo>
                    <a:pt x="1238" y="420"/>
                  </a:lnTo>
                  <a:lnTo>
                    <a:pt x="1238" y="430"/>
                  </a:lnTo>
                  <a:lnTo>
                    <a:pt x="1238" y="439"/>
                  </a:lnTo>
                  <a:lnTo>
                    <a:pt x="1219" y="459"/>
                  </a:lnTo>
                  <a:lnTo>
                    <a:pt x="1209" y="469"/>
                  </a:lnTo>
                  <a:lnTo>
                    <a:pt x="1229" y="488"/>
                  </a:lnTo>
                  <a:lnTo>
                    <a:pt x="1238" y="508"/>
                  </a:lnTo>
                  <a:lnTo>
                    <a:pt x="1229" y="537"/>
                  </a:lnTo>
                  <a:lnTo>
                    <a:pt x="1258" y="556"/>
                  </a:lnTo>
                  <a:lnTo>
                    <a:pt x="1258" y="576"/>
                  </a:lnTo>
                  <a:lnTo>
                    <a:pt x="1268" y="576"/>
                  </a:lnTo>
                  <a:lnTo>
                    <a:pt x="1287" y="595"/>
                  </a:lnTo>
                  <a:lnTo>
                    <a:pt x="1317" y="625"/>
                  </a:lnTo>
                  <a:lnTo>
                    <a:pt x="1317" y="654"/>
                  </a:lnTo>
                  <a:lnTo>
                    <a:pt x="1317" y="673"/>
                  </a:lnTo>
                  <a:lnTo>
                    <a:pt x="1346" y="683"/>
                  </a:lnTo>
                  <a:lnTo>
                    <a:pt x="1346" y="703"/>
                  </a:lnTo>
                  <a:lnTo>
                    <a:pt x="1346" y="712"/>
                  </a:lnTo>
                  <a:lnTo>
                    <a:pt x="1326" y="712"/>
                  </a:lnTo>
                  <a:lnTo>
                    <a:pt x="1307" y="742"/>
                  </a:lnTo>
                  <a:lnTo>
                    <a:pt x="1278" y="771"/>
                  </a:lnTo>
                  <a:lnTo>
                    <a:pt x="1278" y="800"/>
                  </a:lnTo>
                  <a:lnTo>
                    <a:pt x="1258" y="800"/>
                  </a:lnTo>
                  <a:lnTo>
                    <a:pt x="1258" y="820"/>
                  </a:lnTo>
                  <a:lnTo>
                    <a:pt x="1248" y="830"/>
                  </a:lnTo>
                  <a:lnTo>
                    <a:pt x="1258" y="830"/>
                  </a:lnTo>
                  <a:lnTo>
                    <a:pt x="1258" y="849"/>
                  </a:lnTo>
                  <a:lnTo>
                    <a:pt x="1248" y="859"/>
                  </a:lnTo>
                  <a:lnTo>
                    <a:pt x="1238" y="878"/>
                  </a:lnTo>
                  <a:lnTo>
                    <a:pt x="1219" y="878"/>
                  </a:lnTo>
                  <a:lnTo>
                    <a:pt x="1209" y="878"/>
                  </a:lnTo>
                  <a:lnTo>
                    <a:pt x="1199" y="878"/>
                  </a:lnTo>
                  <a:lnTo>
                    <a:pt x="1190" y="888"/>
                  </a:lnTo>
                  <a:lnTo>
                    <a:pt x="1170" y="908"/>
                  </a:lnTo>
                  <a:lnTo>
                    <a:pt x="1151" y="917"/>
                  </a:lnTo>
                  <a:lnTo>
                    <a:pt x="1112" y="917"/>
                  </a:lnTo>
                  <a:lnTo>
                    <a:pt x="1102" y="947"/>
                  </a:lnTo>
                  <a:lnTo>
                    <a:pt x="1082" y="937"/>
                  </a:lnTo>
                  <a:lnTo>
                    <a:pt x="1082" y="927"/>
                  </a:lnTo>
                  <a:lnTo>
                    <a:pt x="1053" y="927"/>
                  </a:lnTo>
                  <a:lnTo>
                    <a:pt x="1053" y="937"/>
                  </a:lnTo>
                  <a:lnTo>
                    <a:pt x="1024" y="956"/>
                  </a:lnTo>
                  <a:lnTo>
                    <a:pt x="1004" y="947"/>
                  </a:lnTo>
                  <a:lnTo>
                    <a:pt x="975" y="947"/>
                  </a:lnTo>
                  <a:lnTo>
                    <a:pt x="956" y="937"/>
                  </a:lnTo>
                  <a:lnTo>
                    <a:pt x="956" y="927"/>
                  </a:lnTo>
                  <a:lnTo>
                    <a:pt x="946" y="917"/>
                  </a:lnTo>
                  <a:lnTo>
                    <a:pt x="926" y="927"/>
                  </a:lnTo>
                  <a:lnTo>
                    <a:pt x="897" y="917"/>
                  </a:lnTo>
                  <a:lnTo>
                    <a:pt x="878" y="927"/>
                  </a:lnTo>
                  <a:lnTo>
                    <a:pt x="868" y="927"/>
                  </a:lnTo>
                  <a:lnTo>
                    <a:pt x="878" y="908"/>
                  </a:lnTo>
                  <a:lnTo>
                    <a:pt x="868" y="888"/>
                  </a:lnTo>
                  <a:lnTo>
                    <a:pt x="848" y="878"/>
                  </a:lnTo>
                  <a:lnTo>
                    <a:pt x="819" y="898"/>
                  </a:lnTo>
                  <a:lnTo>
                    <a:pt x="780" y="888"/>
                  </a:lnTo>
                  <a:lnTo>
                    <a:pt x="770" y="898"/>
                  </a:lnTo>
                  <a:lnTo>
                    <a:pt x="751" y="898"/>
                  </a:lnTo>
                  <a:lnTo>
                    <a:pt x="741" y="908"/>
                  </a:lnTo>
                  <a:lnTo>
                    <a:pt x="722" y="908"/>
                  </a:lnTo>
                  <a:lnTo>
                    <a:pt x="692" y="937"/>
                  </a:lnTo>
                  <a:lnTo>
                    <a:pt x="663" y="947"/>
                  </a:lnTo>
                  <a:lnTo>
                    <a:pt x="653" y="956"/>
                  </a:lnTo>
                  <a:lnTo>
                    <a:pt x="643" y="966"/>
                  </a:lnTo>
                  <a:lnTo>
                    <a:pt x="643" y="995"/>
                  </a:lnTo>
                  <a:lnTo>
                    <a:pt x="624" y="1005"/>
                  </a:lnTo>
                  <a:lnTo>
                    <a:pt x="614" y="1025"/>
                  </a:lnTo>
                  <a:lnTo>
                    <a:pt x="604" y="1044"/>
                  </a:lnTo>
                  <a:lnTo>
                    <a:pt x="565" y="1044"/>
                  </a:lnTo>
                  <a:lnTo>
                    <a:pt x="556" y="1044"/>
                  </a:lnTo>
                  <a:lnTo>
                    <a:pt x="546" y="1054"/>
                  </a:lnTo>
                  <a:lnTo>
                    <a:pt x="546" y="1064"/>
                  </a:lnTo>
                  <a:lnTo>
                    <a:pt x="526" y="1083"/>
                  </a:lnTo>
                  <a:lnTo>
                    <a:pt x="517" y="1093"/>
                  </a:lnTo>
                  <a:lnTo>
                    <a:pt x="507" y="1103"/>
                  </a:lnTo>
                  <a:lnTo>
                    <a:pt x="497" y="1122"/>
                  </a:lnTo>
                  <a:lnTo>
                    <a:pt x="468" y="1142"/>
                  </a:lnTo>
                  <a:lnTo>
                    <a:pt x="419" y="1152"/>
                  </a:lnTo>
                  <a:lnTo>
                    <a:pt x="390" y="1142"/>
                  </a:lnTo>
                  <a:lnTo>
                    <a:pt x="370" y="1142"/>
                  </a:lnTo>
                  <a:lnTo>
                    <a:pt x="361" y="1142"/>
                  </a:lnTo>
                  <a:lnTo>
                    <a:pt x="322" y="1132"/>
                  </a:lnTo>
                  <a:lnTo>
                    <a:pt x="292" y="1122"/>
                  </a:lnTo>
                  <a:lnTo>
                    <a:pt x="263" y="1073"/>
                  </a:lnTo>
                  <a:lnTo>
                    <a:pt x="263" y="1044"/>
                  </a:lnTo>
                  <a:lnTo>
                    <a:pt x="234" y="1044"/>
                  </a:lnTo>
                  <a:lnTo>
                    <a:pt x="214" y="1044"/>
                  </a:lnTo>
                  <a:lnTo>
                    <a:pt x="214" y="1064"/>
                  </a:lnTo>
                  <a:lnTo>
                    <a:pt x="205" y="1064"/>
                  </a:lnTo>
                  <a:lnTo>
                    <a:pt x="205" y="1083"/>
                  </a:lnTo>
                  <a:lnTo>
                    <a:pt x="195" y="1083"/>
                  </a:lnTo>
                  <a:lnTo>
                    <a:pt x="166" y="1083"/>
                  </a:lnTo>
                  <a:lnTo>
                    <a:pt x="166" y="1113"/>
                  </a:lnTo>
                  <a:lnTo>
                    <a:pt x="156" y="1103"/>
                  </a:lnTo>
                  <a:lnTo>
                    <a:pt x="127" y="1044"/>
                  </a:lnTo>
                  <a:lnTo>
                    <a:pt x="127" y="1025"/>
                  </a:lnTo>
                  <a:lnTo>
                    <a:pt x="117" y="1015"/>
                  </a:lnTo>
                  <a:lnTo>
                    <a:pt x="127" y="1005"/>
                  </a:lnTo>
                  <a:lnTo>
                    <a:pt x="117" y="986"/>
                  </a:lnTo>
                  <a:lnTo>
                    <a:pt x="107" y="995"/>
                  </a:lnTo>
                  <a:lnTo>
                    <a:pt x="97" y="956"/>
                  </a:lnTo>
                  <a:lnTo>
                    <a:pt x="97" y="947"/>
                  </a:lnTo>
                  <a:lnTo>
                    <a:pt x="117" y="947"/>
                  </a:lnTo>
                  <a:lnTo>
                    <a:pt x="117" y="937"/>
                  </a:lnTo>
                  <a:lnTo>
                    <a:pt x="117" y="927"/>
                  </a:lnTo>
                  <a:lnTo>
                    <a:pt x="97" y="917"/>
                  </a:lnTo>
                  <a:lnTo>
                    <a:pt x="107" y="908"/>
                  </a:lnTo>
                  <a:lnTo>
                    <a:pt x="117" y="898"/>
                  </a:lnTo>
                  <a:lnTo>
                    <a:pt x="107" y="878"/>
                  </a:lnTo>
                  <a:lnTo>
                    <a:pt x="97" y="878"/>
                  </a:lnTo>
                  <a:lnTo>
                    <a:pt x="117" y="849"/>
                  </a:lnTo>
                  <a:lnTo>
                    <a:pt x="97" y="839"/>
                  </a:lnTo>
                  <a:lnTo>
                    <a:pt x="87" y="849"/>
                  </a:lnTo>
                  <a:lnTo>
                    <a:pt x="78" y="859"/>
                  </a:lnTo>
                  <a:lnTo>
                    <a:pt x="68" y="859"/>
                  </a:lnTo>
                  <a:lnTo>
                    <a:pt x="48" y="849"/>
                  </a:lnTo>
                  <a:lnTo>
                    <a:pt x="29" y="830"/>
                  </a:lnTo>
                  <a:lnTo>
                    <a:pt x="19" y="830"/>
                  </a:lnTo>
                  <a:lnTo>
                    <a:pt x="19" y="820"/>
                  </a:lnTo>
                  <a:lnTo>
                    <a:pt x="19" y="800"/>
                  </a:lnTo>
                  <a:lnTo>
                    <a:pt x="9" y="791"/>
                  </a:lnTo>
                  <a:lnTo>
                    <a:pt x="0" y="781"/>
                  </a:lnTo>
                  <a:lnTo>
                    <a:pt x="0" y="761"/>
                  </a:lnTo>
                  <a:lnTo>
                    <a:pt x="9" y="761"/>
                  </a:lnTo>
                  <a:lnTo>
                    <a:pt x="29" y="742"/>
                  </a:lnTo>
                  <a:lnTo>
                    <a:pt x="39" y="742"/>
                  </a:lnTo>
                  <a:lnTo>
                    <a:pt x="48" y="742"/>
                  </a:lnTo>
                  <a:lnTo>
                    <a:pt x="58" y="732"/>
                  </a:lnTo>
                  <a:lnTo>
                    <a:pt x="87" y="722"/>
                  </a:lnTo>
                  <a:lnTo>
                    <a:pt x="97" y="712"/>
                  </a:lnTo>
                  <a:lnTo>
                    <a:pt x="97" y="673"/>
                  </a:lnTo>
                  <a:lnTo>
                    <a:pt x="107" y="654"/>
                  </a:lnTo>
                  <a:lnTo>
                    <a:pt x="97" y="644"/>
                  </a:lnTo>
                  <a:lnTo>
                    <a:pt x="87" y="634"/>
                  </a:lnTo>
                  <a:lnTo>
                    <a:pt x="68" y="605"/>
                  </a:lnTo>
                  <a:lnTo>
                    <a:pt x="68" y="586"/>
                  </a:lnTo>
                  <a:lnTo>
                    <a:pt x="78" y="576"/>
                  </a:lnTo>
                  <a:lnTo>
                    <a:pt x="87" y="576"/>
                  </a:lnTo>
                  <a:lnTo>
                    <a:pt x="97" y="576"/>
                  </a:lnTo>
                  <a:lnTo>
                    <a:pt x="127" y="547"/>
                  </a:lnTo>
                  <a:lnTo>
                    <a:pt x="117" y="547"/>
                  </a:lnTo>
                  <a:lnTo>
                    <a:pt x="97" y="527"/>
                  </a:lnTo>
                  <a:lnTo>
                    <a:pt x="87" y="517"/>
                  </a:lnTo>
                  <a:lnTo>
                    <a:pt x="78" y="508"/>
                  </a:lnTo>
                  <a:lnTo>
                    <a:pt x="87" y="498"/>
                  </a:lnTo>
                  <a:lnTo>
                    <a:pt x="87" y="488"/>
                  </a:lnTo>
                  <a:lnTo>
                    <a:pt x="107" y="488"/>
                  </a:lnTo>
                  <a:lnTo>
                    <a:pt x="117" y="498"/>
                  </a:lnTo>
                  <a:lnTo>
                    <a:pt x="136" y="517"/>
                  </a:lnTo>
                  <a:lnTo>
                    <a:pt x="136" y="527"/>
                  </a:lnTo>
                  <a:lnTo>
                    <a:pt x="156" y="537"/>
                  </a:lnTo>
                  <a:lnTo>
                    <a:pt x="156" y="547"/>
                  </a:lnTo>
                  <a:lnTo>
                    <a:pt x="156" y="556"/>
                  </a:lnTo>
                  <a:lnTo>
                    <a:pt x="166" y="566"/>
                  </a:lnTo>
                  <a:lnTo>
                    <a:pt x="166" y="586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24" y="595"/>
                  </a:lnTo>
                  <a:lnTo>
                    <a:pt x="234" y="605"/>
                  </a:lnTo>
                  <a:lnTo>
                    <a:pt x="234" y="615"/>
                  </a:lnTo>
                  <a:lnTo>
                    <a:pt x="224" y="625"/>
                  </a:lnTo>
                  <a:lnTo>
                    <a:pt x="214" y="63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85" y="644"/>
                  </a:lnTo>
                  <a:lnTo>
                    <a:pt x="185" y="664"/>
                  </a:lnTo>
                  <a:lnTo>
                    <a:pt x="175" y="673"/>
                  </a:lnTo>
                  <a:lnTo>
                    <a:pt x="166" y="683"/>
                  </a:lnTo>
                  <a:lnTo>
                    <a:pt x="175" y="683"/>
                  </a:lnTo>
                  <a:lnTo>
                    <a:pt x="175" y="703"/>
                  </a:lnTo>
                  <a:lnTo>
                    <a:pt x="166" y="703"/>
                  </a:lnTo>
                  <a:lnTo>
                    <a:pt x="166" y="712"/>
                  </a:lnTo>
                  <a:lnTo>
                    <a:pt x="185" y="703"/>
                  </a:lnTo>
                  <a:lnTo>
                    <a:pt x="185" y="693"/>
                  </a:lnTo>
                  <a:lnTo>
                    <a:pt x="205" y="683"/>
                  </a:lnTo>
                  <a:lnTo>
                    <a:pt x="214" y="693"/>
                  </a:lnTo>
                  <a:lnTo>
                    <a:pt x="214" y="703"/>
                  </a:lnTo>
                  <a:lnTo>
                    <a:pt x="205" y="703"/>
                  </a:lnTo>
                  <a:lnTo>
                    <a:pt x="195" y="712"/>
                  </a:lnTo>
                  <a:lnTo>
                    <a:pt x="185" y="732"/>
                  </a:lnTo>
                  <a:lnTo>
                    <a:pt x="185" y="742"/>
                  </a:lnTo>
                  <a:lnTo>
                    <a:pt x="166" y="761"/>
                  </a:lnTo>
                  <a:lnTo>
                    <a:pt x="166" y="771"/>
                  </a:lnTo>
                  <a:lnTo>
                    <a:pt x="166" y="781"/>
                  </a:lnTo>
                  <a:lnTo>
                    <a:pt x="175" y="771"/>
                  </a:lnTo>
                  <a:lnTo>
                    <a:pt x="175" y="781"/>
                  </a:lnTo>
                  <a:lnTo>
                    <a:pt x="185" y="791"/>
                  </a:lnTo>
                  <a:lnTo>
                    <a:pt x="185" y="820"/>
                  </a:lnTo>
                  <a:lnTo>
                    <a:pt x="205" y="830"/>
                  </a:lnTo>
                  <a:lnTo>
                    <a:pt x="205" y="849"/>
                  </a:lnTo>
                  <a:lnTo>
                    <a:pt x="224" y="849"/>
                  </a:lnTo>
                  <a:lnTo>
                    <a:pt x="214" y="839"/>
                  </a:lnTo>
                  <a:lnTo>
                    <a:pt x="214" y="830"/>
                  </a:lnTo>
                  <a:lnTo>
                    <a:pt x="205" y="810"/>
                  </a:lnTo>
                  <a:lnTo>
                    <a:pt x="195" y="791"/>
                  </a:lnTo>
                  <a:lnTo>
                    <a:pt x="185" y="791"/>
                  </a:lnTo>
                  <a:lnTo>
                    <a:pt x="185" y="771"/>
                  </a:lnTo>
                  <a:lnTo>
                    <a:pt x="185" y="761"/>
                  </a:lnTo>
                  <a:lnTo>
                    <a:pt x="205" y="761"/>
                  </a:lnTo>
                  <a:lnTo>
                    <a:pt x="214" y="752"/>
                  </a:lnTo>
                  <a:lnTo>
                    <a:pt x="214" y="712"/>
                  </a:lnTo>
                  <a:lnTo>
                    <a:pt x="214" y="693"/>
                  </a:lnTo>
                  <a:lnTo>
                    <a:pt x="214" y="683"/>
                  </a:lnTo>
                  <a:lnTo>
                    <a:pt x="214" y="673"/>
                  </a:lnTo>
                  <a:lnTo>
                    <a:pt x="214" y="664"/>
                  </a:lnTo>
                  <a:lnTo>
                    <a:pt x="234" y="644"/>
                  </a:lnTo>
                  <a:lnTo>
                    <a:pt x="234" y="634"/>
                  </a:lnTo>
                  <a:lnTo>
                    <a:pt x="244" y="634"/>
                  </a:lnTo>
                  <a:lnTo>
                    <a:pt x="244" y="625"/>
                  </a:lnTo>
                  <a:lnTo>
                    <a:pt x="244" y="605"/>
                  </a:lnTo>
                  <a:lnTo>
                    <a:pt x="234" y="586"/>
                  </a:lnTo>
                  <a:lnTo>
                    <a:pt x="214" y="576"/>
                  </a:lnTo>
                  <a:lnTo>
                    <a:pt x="214" y="566"/>
                  </a:lnTo>
                  <a:lnTo>
                    <a:pt x="214" y="556"/>
                  </a:lnTo>
                  <a:lnTo>
                    <a:pt x="214" y="547"/>
                  </a:lnTo>
                  <a:lnTo>
                    <a:pt x="195" y="527"/>
                  </a:lnTo>
                  <a:lnTo>
                    <a:pt x="175" y="508"/>
                  </a:lnTo>
                  <a:lnTo>
                    <a:pt x="175" y="488"/>
                  </a:lnTo>
                  <a:lnTo>
                    <a:pt x="175" y="469"/>
                  </a:lnTo>
                  <a:lnTo>
                    <a:pt x="185" y="449"/>
                  </a:lnTo>
                  <a:lnTo>
                    <a:pt x="185" y="439"/>
                  </a:lnTo>
                  <a:lnTo>
                    <a:pt x="185" y="430"/>
                  </a:lnTo>
                  <a:lnTo>
                    <a:pt x="185" y="420"/>
                  </a:lnTo>
                  <a:lnTo>
                    <a:pt x="195" y="420"/>
                  </a:lnTo>
                  <a:lnTo>
                    <a:pt x="185" y="410"/>
                  </a:lnTo>
                  <a:lnTo>
                    <a:pt x="195" y="400"/>
                  </a:lnTo>
                  <a:lnTo>
                    <a:pt x="205" y="391"/>
                  </a:lnTo>
                  <a:lnTo>
                    <a:pt x="214" y="391"/>
                  </a:lnTo>
                  <a:lnTo>
                    <a:pt x="253" y="391"/>
                  </a:lnTo>
                  <a:lnTo>
                    <a:pt x="302" y="391"/>
                  </a:lnTo>
                  <a:lnTo>
                    <a:pt x="341" y="391"/>
                  </a:lnTo>
                  <a:lnTo>
                    <a:pt x="361" y="391"/>
                  </a:lnTo>
                  <a:lnTo>
                    <a:pt x="351" y="410"/>
                  </a:lnTo>
                  <a:lnTo>
                    <a:pt x="361" y="410"/>
                  </a:lnTo>
                  <a:lnTo>
                    <a:pt x="370" y="400"/>
                  </a:lnTo>
                  <a:lnTo>
                    <a:pt x="380" y="391"/>
                  </a:lnTo>
                  <a:lnTo>
                    <a:pt x="390" y="391"/>
                  </a:lnTo>
                  <a:lnTo>
                    <a:pt x="400" y="391"/>
                  </a:lnTo>
                  <a:lnTo>
                    <a:pt x="400" y="400"/>
                  </a:lnTo>
                  <a:lnTo>
                    <a:pt x="409" y="391"/>
                  </a:lnTo>
                  <a:lnTo>
                    <a:pt x="419" y="400"/>
                  </a:lnTo>
                  <a:lnTo>
                    <a:pt x="419" y="410"/>
                  </a:lnTo>
                  <a:lnTo>
                    <a:pt x="419" y="391"/>
                  </a:lnTo>
                  <a:lnTo>
                    <a:pt x="429" y="381"/>
                  </a:lnTo>
                  <a:lnTo>
                    <a:pt x="419" y="371"/>
                  </a:lnTo>
                  <a:lnTo>
                    <a:pt x="419" y="351"/>
                  </a:lnTo>
                  <a:lnTo>
                    <a:pt x="400" y="351"/>
                  </a:lnTo>
                  <a:lnTo>
                    <a:pt x="390" y="351"/>
                  </a:lnTo>
                  <a:lnTo>
                    <a:pt x="400" y="342"/>
                  </a:lnTo>
                  <a:lnTo>
                    <a:pt x="419" y="332"/>
                  </a:lnTo>
                  <a:lnTo>
                    <a:pt x="419" y="342"/>
                  </a:lnTo>
                  <a:lnTo>
                    <a:pt x="429" y="351"/>
                  </a:lnTo>
                  <a:lnTo>
                    <a:pt x="429" y="342"/>
                  </a:lnTo>
                  <a:lnTo>
                    <a:pt x="419" y="33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03"/>
                  </a:lnTo>
                  <a:lnTo>
                    <a:pt x="409" y="303"/>
                  </a:lnTo>
                  <a:lnTo>
                    <a:pt x="409" y="283"/>
                  </a:lnTo>
                  <a:lnTo>
                    <a:pt x="419" y="293"/>
                  </a:lnTo>
                  <a:lnTo>
                    <a:pt x="419" y="303"/>
                  </a:lnTo>
                  <a:lnTo>
                    <a:pt x="419" y="312"/>
                  </a:lnTo>
                  <a:lnTo>
                    <a:pt x="429" y="322"/>
                  </a:lnTo>
                  <a:lnTo>
                    <a:pt x="429" y="303"/>
                  </a:lnTo>
                  <a:lnTo>
                    <a:pt x="439" y="303"/>
                  </a:lnTo>
                  <a:lnTo>
                    <a:pt x="448" y="293"/>
                  </a:lnTo>
                  <a:lnTo>
                    <a:pt x="448" y="283"/>
                  </a:lnTo>
                  <a:lnTo>
                    <a:pt x="458" y="283"/>
                  </a:lnTo>
                  <a:lnTo>
                    <a:pt x="458" y="273"/>
                  </a:lnTo>
                  <a:lnTo>
                    <a:pt x="448" y="273"/>
                  </a:lnTo>
                  <a:lnTo>
                    <a:pt x="448" y="264"/>
                  </a:lnTo>
                  <a:lnTo>
                    <a:pt x="458" y="264"/>
                  </a:lnTo>
                  <a:lnTo>
                    <a:pt x="468" y="264"/>
                  </a:lnTo>
                  <a:lnTo>
                    <a:pt x="478" y="273"/>
                  </a:lnTo>
                  <a:lnTo>
                    <a:pt x="487" y="264"/>
                  </a:lnTo>
                  <a:lnTo>
                    <a:pt x="507" y="244"/>
                  </a:lnTo>
                  <a:lnTo>
                    <a:pt x="507" y="234"/>
                  </a:lnTo>
                  <a:lnTo>
                    <a:pt x="526" y="234"/>
                  </a:lnTo>
                  <a:lnTo>
                    <a:pt x="526" y="244"/>
                  </a:lnTo>
                  <a:lnTo>
                    <a:pt x="546" y="234"/>
                  </a:lnTo>
                  <a:lnTo>
                    <a:pt x="556" y="225"/>
                  </a:lnTo>
                  <a:lnTo>
                    <a:pt x="575" y="215"/>
                  </a:lnTo>
                  <a:lnTo>
                    <a:pt x="575" y="225"/>
                  </a:lnTo>
                  <a:lnTo>
                    <a:pt x="595" y="225"/>
                  </a:lnTo>
                  <a:lnTo>
                    <a:pt x="604" y="215"/>
                  </a:lnTo>
                  <a:lnTo>
                    <a:pt x="624" y="215"/>
                  </a:lnTo>
                  <a:lnTo>
                    <a:pt x="634" y="215"/>
                  </a:lnTo>
                  <a:lnTo>
                    <a:pt x="643" y="215"/>
                  </a:lnTo>
                  <a:lnTo>
                    <a:pt x="653" y="215"/>
                  </a:lnTo>
                  <a:lnTo>
                    <a:pt x="663" y="215"/>
                  </a:lnTo>
                  <a:lnTo>
                    <a:pt x="673" y="215"/>
                  </a:lnTo>
                  <a:lnTo>
                    <a:pt x="673" y="205"/>
                  </a:lnTo>
                  <a:lnTo>
                    <a:pt x="653" y="205"/>
                  </a:lnTo>
                  <a:lnTo>
                    <a:pt x="643" y="205"/>
                  </a:lnTo>
                  <a:lnTo>
                    <a:pt x="643" y="195"/>
                  </a:lnTo>
                  <a:lnTo>
                    <a:pt x="643" y="186"/>
                  </a:lnTo>
                  <a:lnTo>
                    <a:pt x="653" y="176"/>
                  </a:lnTo>
                  <a:lnTo>
                    <a:pt x="663" y="186"/>
                  </a:lnTo>
                  <a:lnTo>
                    <a:pt x="673" y="186"/>
                  </a:lnTo>
                  <a:lnTo>
                    <a:pt x="673" y="176"/>
                  </a:lnTo>
                  <a:lnTo>
                    <a:pt x="683" y="176"/>
                  </a:lnTo>
                  <a:lnTo>
                    <a:pt x="683" y="186"/>
                  </a:lnTo>
                  <a:lnTo>
                    <a:pt x="692" y="186"/>
                  </a:lnTo>
                  <a:lnTo>
                    <a:pt x="702" y="186"/>
                  </a:lnTo>
                  <a:lnTo>
                    <a:pt x="712" y="186"/>
                  </a:lnTo>
                  <a:lnTo>
                    <a:pt x="722" y="186"/>
                  </a:lnTo>
                  <a:lnTo>
                    <a:pt x="731" y="186"/>
                  </a:lnTo>
                  <a:lnTo>
                    <a:pt x="741" y="186"/>
                  </a:lnTo>
                  <a:lnTo>
                    <a:pt x="741" y="195"/>
                  </a:lnTo>
                  <a:lnTo>
                    <a:pt x="731" y="205"/>
                  </a:lnTo>
                  <a:lnTo>
                    <a:pt x="731" y="215"/>
                  </a:lnTo>
                  <a:lnTo>
                    <a:pt x="741" y="205"/>
                  </a:lnTo>
                  <a:lnTo>
                    <a:pt x="751" y="205"/>
                  </a:lnTo>
                  <a:lnTo>
                    <a:pt x="751" y="215"/>
                  </a:lnTo>
                  <a:lnTo>
                    <a:pt x="761" y="205"/>
                  </a:lnTo>
                  <a:lnTo>
                    <a:pt x="770" y="205"/>
                  </a:lnTo>
                  <a:lnTo>
                    <a:pt x="780" y="205"/>
                  </a:lnTo>
                  <a:lnTo>
                    <a:pt x="790" y="205"/>
                  </a:lnTo>
                  <a:lnTo>
                    <a:pt x="790" y="195"/>
                  </a:lnTo>
                  <a:lnTo>
                    <a:pt x="800" y="186"/>
                  </a:lnTo>
                  <a:lnTo>
                    <a:pt x="800" y="176"/>
                  </a:lnTo>
                  <a:lnTo>
                    <a:pt x="809" y="176"/>
                  </a:lnTo>
                  <a:lnTo>
                    <a:pt x="819" y="166"/>
                  </a:lnTo>
                  <a:lnTo>
                    <a:pt x="839" y="176"/>
                  </a:lnTo>
                  <a:lnTo>
                    <a:pt x="848" y="186"/>
                  </a:lnTo>
                  <a:lnTo>
                    <a:pt x="858" y="195"/>
                  </a:lnTo>
                  <a:lnTo>
                    <a:pt x="858" y="176"/>
                  </a:lnTo>
                  <a:lnTo>
                    <a:pt x="839" y="176"/>
                  </a:lnTo>
                  <a:lnTo>
                    <a:pt x="839" y="156"/>
                  </a:lnTo>
                  <a:lnTo>
                    <a:pt x="829" y="156"/>
                  </a:lnTo>
                  <a:lnTo>
                    <a:pt x="829" y="137"/>
                  </a:lnTo>
                  <a:lnTo>
                    <a:pt x="839" y="137"/>
                  </a:lnTo>
                  <a:lnTo>
                    <a:pt x="848" y="147"/>
                  </a:lnTo>
                  <a:lnTo>
                    <a:pt x="868" y="147"/>
                  </a:lnTo>
                  <a:lnTo>
                    <a:pt x="878" y="147"/>
                  </a:lnTo>
                  <a:lnTo>
                    <a:pt x="887" y="137"/>
                  </a:lnTo>
                  <a:lnTo>
                    <a:pt x="897" y="147"/>
                  </a:lnTo>
                  <a:lnTo>
                    <a:pt x="907" y="156"/>
                  </a:lnTo>
                  <a:lnTo>
                    <a:pt x="926" y="156"/>
                  </a:lnTo>
                  <a:lnTo>
                    <a:pt x="917" y="147"/>
                  </a:lnTo>
                  <a:lnTo>
                    <a:pt x="907" y="137"/>
                  </a:lnTo>
                  <a:lnTo>
                    <a:pt x="897" y="137"/>
                  </a:lnTo>
                  <a:lnTo>
                    <a:pt x="897" y="108"/>
                  </a:lnTo>
                  <a:lnTo>
                    <a:pt x="887" y="108"/>
                  </a:lnTo>
                  <a:lnTo>
                    <a:pt x="887" y="98"/>
                  </a:lnTo>
                  <a:lnTo>
                    <a:pt x="887" y="88"/>
                  </a:lnTo>
                  <a:lnTo>
                    <a:pt x="897" y="88"/>
                  </a:lnTo>
                  <a:lnTo>
                    <a:pt x="897" y="78"/>
                  </a:lnTo>
                  <a:lnTo>
                    <a:pt x="897" y="69"/>
                  </a:lnTo>
                  <a:lnTo>
                    <a:pt x="907" y="59"/>
                  </a:lnTo>
                  <a:lnTo>
                    <a:pt x="917" y="39"/>
                  </a:lnTo>
                  <a:lnTo>
                    <a:pt x="926" y="49"/>
                  </a:lnTo>
                  <a:lnTo>
                    <a:pt x="926" y="30"/>
                  </a:lnTo>
                  <a:lnTo>
                    <a:pt x="936" y="20"/>
                  </a:lnTo>
                  <a:lnTo>
                    <a:pt x="946" y="10"/>
                  </a:lnTo>
                  <a:lnTo>
                    <a:pt x="956" y="10"/>
                  </a:lnTo>
                  <a:lnTo>
                    <a:pt x="965" y="10"/>
                  </a:lnTo>
                  <a:lnTo>
                    <a:pt x="965" y="0"/>
                  </a:lnTo>
                  <a:lnTo>
                    <a:pt x="975" y="0"/>
                  </a:lnTo>
                  <a:lnTo>
                    <a:pt x="975" y="10"/>
                  </a:lnTo>
                  <a:lnTo>
                    <a:pt x="995" y="10"/>
                  </a:lnTo>
                  <a:lnTo>
                    <a:pt x="1004" y="20"/>
                  </a:lnTo>
                  <a:lnTo>
                    <a:pt x="1014" y="20"/>
                  </a:lnTo>
                  <a:lnTo>
                    <a:pt x="1024" y="10"/>
                  </a:lnTo>
                  <a:lnTo>
                    <a:pt x="1024" y="30"/>
                  </a:lnTo>
                  <a:lnTo>
                    <a:pt x="1034" y="39"/>
                  </a:lnTo>
                  <a:lnTo>
                    <a:pt x="1024" y="39"/>
                  </a:lnTo>
                  <a:lnTo>
                    <a:pt x="1014" y="49"/>
                  </a:lnTo>
                  <a:lnTo>
                    <a:pt x="1004" y="59"/>
                  </a:lnTo>
                  <a:lnTo>
                    <a:pt x="995" y="59"/>
                  </a:lnTo>
                  <a:lnTo>
                    <a:pt x="985" y="69"/>
                  </a:lnTo>
                  <a:lnTo>
                    <a:pt x="1014" y="69"/>
                  </a:lnTo>
                  <a:lnTo>
                    <a:pt x="1024" y="69"/>
                  </a:lnTo>
                  <a:lnTo>
                    <a:pt x="1014" y="78"/>
                  </a:lnTo>
                  <a:lnTo>
                    <a:pt x="1024" y="78"/>
                  </a:lnTo>
                  <a:lnTo>
                    <a:pt x="1043" y="69"/>
                  </a:lnTo>
                  <a:lnTo>
                    <a:pt x="1053" y="78"/>
                  </a:lnTo>
                  <a:lnTo>
                    <a:pt x="1073" y="78"/>
                  </a:lnTo>
                  <a:lnTo>
                    <a:pt x="1073" y="88"/>
                  </a:lnTo>
                  <a:lnTo>
                    <a:pt x="1063" y="98"/>
                  </a:lnTo>
                  <a:lnTo>
                    <a:pt x="1053" y="108"/>
                  </a:lnTo>
                  <a:lnTo>
                    <a:pt x="1053" y="127"/>
                  </a:lnTo>
                  <a:lnTo>
                    <a:pt x="1053" y="137"/>
                  </a:lnTo>
                  <a:lnTo>
                    <a:pt x="1063" y="127"/>
                  </a:lnTo>
                  <a:lnTo>
                    <a:pt x="1073" y="127"/>
                  </a:lnTo>
                  <a:lnTo>
                    <a:pt x="1092" y="127"/>
                  </a:lnTo>
                  <a:lnTo>
                    <a:pt x="1092" y="117"/>
                  </a:lnTo>
                  <a:lnTo>
                    <a:pt x="1092" y="108"/>
                  </a:lnTo>
                  <a:lnTo>
                    <a:pt x="1102" y="98"/>
                  </a:lnTo>
                  <a:lnTo>
                    <a:pt x="1112" y="98"/>
                  </a:lnTo>
                  <a:lnTo>
                    <a:pt x="1121" y="98"/>
                  </a:lnTo>
                  <a:lnTo>
                    <a:pt x="1131" y="98"/>
                  </a:lnTo>
                  <a:lnTo>
                    <a:pt x="1141" y="98"/>
                  </a:lnTo>
                  <a:lnTo>
                    <a:pt x="1151" y="98"/>
                  </a:lnTo>
                  <a:lnTo>
                    <a:pt x="1160" y="88"/>
                  </a:lnTo>
                  <a:lnTo>
                    <a:pt x="1170" y="88"/>
                  </a:lnTo>
                  <a:lnTo>
                    <a:pt x="1180" y="88"/>
                  </a:lnTo>
                  <a:lnTo>
                    <a:pt x="1190" y="98"/>
                  </a:lnTo>
                  <a:lnTo>
                    <a:pt x="1199" y="98"/>
                  </a:lnTo>
                  <a:lnTo>
                    <a:pt x="1199" y="108"/>
                  </a:lnTo>
                  <a:lnTo>
                    <a:pt x="1209" y="108"/>
                  </a:lnTo>
                  <a:lnTo>
                    <a:pt x="1219" y="117"/>
                  </a:lnTo>
                  <a:lnTo>
                    <a:pt x="1219" y="127"/>
                  </a:lnTo>
                  <a:lnTo>
                    <a:pt x="1238" y="127"/>
                  </a:lnTo>
                  <a:lnTo>
                    <a:pt x="1238" y="137"/>
                  </a:lnTo>
                  <a:lnTo>
                    <a:pt x="1238" y="147"/>
                  </a:lnTo>
                  <a:lnTo>
                    <a:pt x="1248" y="147"/>
                  </a:lnTo>
                  <a:lnTo>
                    <a:pt x="1248" y="156"/>
                  </a:lnTo>
                  <a:lnTo>
                    <a:pt x="1258" y="156"/>
                  </a:lnTo>
                  <a:lnTo>
                    <a:pt x="1258" y="147"/>
                  </a:lnTo>
                  <a:lnTo>
                    <a:pt x="1248" y="137"/>
                  </a:lnTo>
                  <a:lnTo>
                    <a:pt x="1258" y="127"/>
                  </a:lnTo>
                  <a:lnTo>
                    <a:pt x="1258" y="137"/>
                  </a:lnTo>
                  <a:lnTo>
                    <a:pt x="1268" y="147"/>
                  </a:lnTo>
                  <a:lnTo>
                    <a:pt x="1268" y="156"/>
                  </a:lnTo>
                  <a:lnTo>
                    <a:pt x="1278" y="176"/>
                  </a:lnTo>
                  <a:lnTo>
                    <a:pt x="1287" y="166"/>
                  </a:lnTo>
                  <a:lnTo>
                    <a:pt x="1287" y="186"/>
                  </a:lnTo>
                  <a:lnTo>
                    <a:pt x="1287" y="205"/>
                  </a:lnTo>
                  <a:lnTo>
                    <a:pt x="1278" y="205"/>
                  </a:lnTo>
                  <a:lnTo>
                    <a:pt x="1278" y="195"/>
                  </a:lnTo>
                  <a:lnTo>
                    <a:pt x="1258" y="195"/>
                  </a:lnTo>
                  <a:lnTo>
                    <a:pt x="1258" y="186"/>
                  </a:lnTo>
                  <a:lnTo>
                    <a:pt x="1248" y="186"/>
                  </a:lnTo>
                  <a:lnTo>
                    <a:pt x="1248" y="195"/>
                  </a:lnTo>
                  <a:lnTo>
                    <a:pt x="1258" y="205"/>
                  </a:lnTo>
                  <a:lnTo>
                    <a:pt x="1258" y="215"/>
                  </a:lnTo>
                  <a:lnTo>
                    <a:pt x="1268" y="205"/>
                  </a:lnTo>
                  <a:lnTo>
                    <a:pt x="1278" y="215"/>
                  </a:lnTo>
                  <a:lnTo>
                    <a:pt x="1287" y="215"/>
                  </a:lnTo>
                  <a:lnTo>
                    <a:pt x="1297" y="234"/>
                  </a:lnTo>
                  <a:lnTo>
                    <a:pt x="1297" y="244"/>
                  </a:lnTo>
                  <a:lnTo>
                    <a:pt x="1287" y="264"/>
                  </a:lnTo>
                  <a:lnTo>
                    <a:pt x="1287" y="273"/>
                  </a:lnTo>
                  <a:lnTo>
                    <a:pt x="1278" y="283"/>
                  </a:lnTo>
                  <a:lnTo>
                    <a:pt x="1258" y="293"/>
                  </a:lnTo>
                  <a:lnTo>
                    <a:pt x="1258" y="303"/>
                  </a:lnTo>
                  <a:lnTo>
                    <a:pt x="1258" y="322"/>
                  </a:lnTo>
                  <a:lnTo>
                    <a:pt x="1229" y="322"/>
                  </a:lnTo>
                  <a:lnTo>
                    <a:pt x="1229" y="332"/>
                  </a:lnTo>
                  <a:lnTo>
                    <a:pt x="1209" y="342"/>
                  </a:lnTo>
                  <a:lnTo>
                    <a:pt x="1209" y="351"/>
                  </a:lnTo>
                  <a:lnTo>
                    <a:pt x="1199" y="361"/>
                  </a:lnTo>
                  <a:lnTo>
                    <a:pt x="1190" y="361"/>
                  </a:lnTo>
                  <a:lnTo>
                    <a:pt x="1180" y="371"/>
                  </a:lnTo>
                  <a:lnTo>
                    <a:pt x="1199" y="371"/>
                  </a:lnTo>
                  <a:lnTo>
                    <a:pt x="1199" y="381"/>
                  </a:lnTo>
                  <a:lnTo>
                    <a:pt x="1190" y="391"/>
                  </a:lnTo>
                  <a:lnTo>
                    <a:pt x="1170" y="410"/>
                  </a:lnTo>
                  <a:lnTo>
                    <a:pt x="1160" y="420"/>
                  </a:lnTo>
                  <a:lnTo>
                    <a:pt x="1151" y="430"/>
                  </a:lnTo>
                  <a:lnTo>
                    <a:pt x="1151" y="449"/>
                  </a:lnTo>
                  <a:lnTo>
                    <a:pt x="1131" y="449"/>
                  </a:lnTo>
                  <a:lnTo>
                    <a:pt x="1121" y="449"/>
                  </a:lnTo>
                  <a:lnTo>
                    <a:pt x="1112" y="459"/>
                  </a:lnTo>
                  <a:lnTo>
                    <a:pt x="1112" y="469"/>
                  </a:lnTo>
                  <a:lnTo>
                    <a:pt x="1112" y="478"/>
                  </a:lnTo>
                  <a:lnTo>
                    <a:pt x="1102" y="488"/>
                  </a:lnTo>
                  <a:lnTo>
                    <a:pt x="1082" y="488"/>
                  </a:lnTo>
                  <a:lnTo>
                    <a:pt x="1073" y="498"/>
                  </a:lnTo>
                  <a:lnTo>
                    <a:pt x="1073" y="527"/>
                  </a:lnTo>
                  <a:lnTo>
                    <a:pt x="1063" y="537"/>
                  </a:lnTo>
                  <a:lnTo>
                    <a:pt x="1043" y="556"/>
                  </a:lnTo>
                  <a:lnTo>
                    <a:pt x="1063" y="556"/>
                  </a:lnTo>
                  <a:lnTo>
                    <a:pt x="1073" y="556"/>
                  </a:lnTo>
                  <a:lnTo>
                    <a:pt x="1073" y="547"/>
                  </a:lnTo>
                  <a:lnTo>
                    <a:pt x="1082" y="537"/>
                  </a:lnTo>
                  <a:lnTo>
                    <a:pt x="1082" y="517"/>
                  </a:lnTo>
                  <a:lnTo>
                    <a:pt x="1082" y="508"/>
                  </a:lnTo>
                  <a:lnTo>
                    <a:pt x="1121" y="508"/>
                  </a:lnTo>
                  <a:lnTo>
                    <a:pt x="1141" y="508"/>
                  </a:lnTo>
                  <a:lnTo>
                    <a:pt x="1141" y="498"/>
                  </a:lnTo>
                  <a:lnTo>
                    <a:pt x="1151" y="498"/>
                  </a:lnTo>
                  <a:lnTo>
                    <a:pt x="1160" y="488"/>
                  </a:lnTo>
                  <a:lnTo>
                    <a:pt x="1170" y="478"/>
                  </a:lnTo>
                  <a:lnTo>
                    <a:pt x="1180" y="478"/>
                  </a:lnTo>
                  <a:lnTo>
                    <a:pt x="1180" y="459"/>
                  </a:lnTo>
                  <a:lnTo>
                    <a:pt x="1199" y="469"/>
                  </a:lnTo>
                  <a:lnTo>
                    <a:pt x="1209" y="459"/>
                  </a:lnTo>
                  <a:lnTo>
                    <a:pt x="1219" y="449"/>
                  </a:lnTo>
                  <a:lnTo>
                    <a:pt x="1219" y="439"/>
                  </a:lnTo>
                  <a:lnTo>
                    <a:pt x="1229" y="439"/>
                  </a:lnTo>
                  <a:lnTo>
                    <a:pt x="1229" y="420"/>
                  </a:lnTo>
                  <a:lnTo>
                    <a:pt x="1219" y="430"/>
                  </a:lnTo>
                  <a:lnTo>
                    <a:pt x="1209" y="430"/>
                  </a:lnTo>
                  <a:lnTo>
                    <a:pt x="1199" y="439"/>
                  </a:lnTo>
                  <a:lnTo>
                    <a:pt x="1190" y="430"/>
                  </a:lnTo>
                  <a:lnTo>
                    <a:pt x="1190" y="420"/>
                  </a:lnTo>
                  <a:lnTo>
                    <a:pt x="1199" y="410"/>
                  </a:lnTo>
                  <a:lnTo>
                    <a:pt x="1199" y="400"/>
                  </a:lnTo>
                  <a:lnTo>
                    <a:pt x="1209" y="391"/>
                  </a:lnTo>
                  <a:lnTo>
                    <a:pt x="1219" y="400"/>
                  </a:lnTo>
                  <a:lnTo>
                    <a:pt x="1229" y="410"/>
                  </a:lnTo>
                  <a:lnTo>
                    <a:pt x="1238" y="410"/>
                  </a:lnTo>
                  <a:lnTo>
                    <a:pt x="1248" y="410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Freeform 256"/>
            <p:cNvSpPr>
              <a:spLocks/>
            </p:cNvSpPr>
            <p:nvPr/>
          </p:nvSpPr>
          <p:spPr bwMode="auto">
            <a:xfrm>
              <a:off x="4780" y="1951"/>
              <a:ext cx="1035" cy="1300"/>
            </a:xfrm>
            <a:custGeom>
              <a:avLst/>
              <a:gdLst>
                <a:gd name="T0" fmla="*/ 877 w 1034"/>
                <a:gd name="T1" fmla="*/ 166 h 1298"/>
                <a:gd name="T2" fmla="*/ 868 w 1034"/>
                <a:gd name="T3" fmla="*/ 303 h 1298"/>
                <a:gd name="T4" fmla="*/ 858 w 1034"/>
                <a:gd name="T5" fmla="*/ 342 h 1298"/>
                <a:gd name="T6" fmla="*/ 868 w 1034"/>
                <a:gd name="T7" fmla="*/ 391 h 1298"/>
                <a:gd name="T8" fmla="*/ 897 w 1034"/>
                <a:gd name="T9" fmla="*/ 469 h 1298"/>
                <a:gd name="T10" fmla="*/ 897 w 1034"/>
                <a:gd name="T11" fmla="*/ 527 h 1298"/>
                <a:gd name="T12" fmla="*/ 868 w 1034"/>
                <a:gd name="T13" fmla="*/ 615 h 1298"/>
                <a:gd name="T14" fmla="*/ 916 w 1034"/>
                <a:gd name="T15" fmla="*/ 615 h 1298"/>
                <a:gd name="T16" fmla="*/ 1004 w 1034"/>
                <a:gd name="T17" fmla="*/ 635 h 1298"/>
                <a:gd name="T18" fmla="*/ 1034 w 1034"/>
                <a:gd name="T19" fmla="*/ 664 h 1298"/>
                <a:gd name="T20" fmla="*/ 936 w 1034"/>
                <a:gd name="T21" fmla="*/ 674 h 1298"/>
                <a:gd name="T22" fmla="*/ 926 w 1034"/>
                <a:gd name="T23" fmla="*/ 683 h 1298"/>
                <a:gd name="T24" fmla="*/ 926 w 1034"/>
                <a:gd name="T25" fmla="*/ 732 h 1298"/>
                <a:gd name="T26" fmla="*/ 916 w 1034"/>
                <a:gd name="T27" fmla="*/ 791 h 1298"/>
                <a:gd name="T28" fmla="*/ 936 w 1034"/>
                <a:gd name="T29" fmla="*/ 888 h 1298"/>
                <a:gd name="T30" fmla="*/ 887 w 1034"/>
                <a:gd name="T31" fmla="*/ 966 h 1298"/>
                <a:gd name="T32" fmla="*/ 858 w 1034"/>
                <a:gd name="T33" fmla="*/ 1005 h 1298"/>
                <a:gd name="T34" fmla="*/ 848 w 1034"/>
                <a:gd name="T35" fmla="*/ 1044 h 1298"/>
                <a:gd name="T36" fmla="*/ 887 w 1034"/>
                <a:gd name="T37" fmla="*/ 1093 h 1298"/>
                <a:gd name="T38" fmla="*/ 887 w 1034"/>
                <a:gd name="T39" fmla="*/ 1152 h 1298"/>
                <a:gd name="T40" fmla="*/ 897 w 1034"/>
                <a:gd name="T41" fmla="*/ 1200 h 1298"/>
                <a:gd name="T42" fmla="*/ 877 w 1034"/>
                <a:gd name="T43" fmla="*/ 1259 h 1298"/>
                <a:gd name="T44" fmla="*/ 848 w 1034"/>
                <a:gd name="T45" fmla="*/ 1278 h 1298"/>
                <a:gd name="T46" fmla="*/ 770 w 1034"/>
                <a:gd name="T47" fmla="*/ 1239 h 1298"/>
                <a:gd name="T48" fmla="*/ 721 w 1034"/>
                <a:gd name="T49" fmla="*/ 1220 h 1298"/>
                <a:gd name="T50" fmla="*/ 702 w 1034"/>
                <a:gd name="T51" fmla="*/ 1181 h 1298"/>
                <a:gd name="T52" fmla="*/ 604 w 1034"/>
                <a:gd name="T53" fmla="*/ 1161 h 1298"/>
                <a:gd name="T54" fmla="*/ 526 w 1034"/>
                <a:gd name="T55" fmla="*/ 1161 h 1298"/>
                <a:gd name="T56" fmla="*/ 429 w 1034"/>
                <a:gd name="T57" fmla="*/ 1161 h 1298"/>
                <a:gd name="T58" fmla="*/ 351 w 1034"/>
                <a:gd name="T59" fmla="*/ 1171 h 1298"/>
                <a:gd name="T60" fmla="*/ 292 w 1034"/>
                <a:gd name="T61" fmla="*/ 1171 h 1298"/>
                <a:gd name="T62" fmla="*/ 312 w 1034"/>
                <a:gd name="T63" fmla="*/ 1064 h 1298"/>
                <a:gd name="T64" fmla="*/ 273 w 1034"/>
                <a:gd name="T65" fmla="*/ 1005 h 1298"/>
                <a:gd name="T66" fmla="*/ 195 w 1034"/>
                <a:gd name="T67" fmla="*/ 986 h 1298"/>
                <a:gd name="T68" fmla="*/ 175 w 1034"/>
                <a:gd name="T69" fmla="*/ 986 h 1298"/>
                <a:gd name="T70" fmla="*/ 146 w 1034"/>
                <a:gd name="T71" fmla="*/ 1015 h 1298"/>
                <a:gd name="T72" fmla="*/ 107 w 1034"/>
                <a:gd name="T73" fmla="*/ 1035 h 1298"/>
                <a:gd name="T74" fmla="*/ 58 w 1034"/>
                <a:gd name="T75" fmla="*/ 986 h 1298"/>
                <a:gd name="T76" fmla="*/ 19 w 1034"/>
                <a:gd name="T77" fmla="*/ 849 h 1298"/>
                <a:gd name="T78" fmla="*/ 136 w 1034"/>
                <a:gd name="T79" fmla="*/ 781 h 1298"/>
                <a:gd name="T80" fmla="*/ 136 w 1034"/>
                <a:gd name="T81" fmla="*/ 703 h 1298"/>
                <a:gd name="T82" fmla="*/ 156 w 1034"/>
                <a:gd name="T83" fmla="*/ 635 h 1298"/>
                <a:gd name="T84" fmla="*/ 107 w 1034"/>
                <a:gd name="T85" fmla="*/ 605 h 1298"/>
                <a:gd name="T86" fmla="*/ 78 w 1034"/>
                <a:gd name="T87" fmla="*/ 596 h 1298"/>
                <a:gd name="T88" fmla="*/ 39 w 1034"/>
                <a:gd name="T89" fmla="*/ 566 h 1298"/>
                <a:gd name="T90" fmla="*/ 19 w 1034"/>
                <a:gd name="T91" fmla="*/ 430 h 1298"/>
                <a:gd name="T92" fmla="*/ 97 w 1034"/>
                <a:gd name="T93" fmla="*/ 361 h 1298"/>
                <a:gd name="T94" fmla="*/ 156 w 1034"/>
                <a:gd name="T95" fmla="*/ 303 h 1298"/>
                <a:gd name="T96" fmla="*/ 214 w 1034"/>
                <a:gd name="T97" fmla="*/ 244 h 1298"/>
                <a:gd name="T98" fmla="*/ 253 w 1034"/>
                <a:gd name="T99" fmla="*/ 186 h 1298"/>
                <a:gd name="T100" fmla="*/ 312 w 1034"/>
                <a:gd name="T101" fmla="*/ 166 h 1298"/>
                <a:gd name="T102" fmla="*/ 360 w 1034"/>
                <a:gd name="T103" fmla="*/ 88 h 1298"/>
                <a:gd name="T104" fmla="*/ 439 w 1034"/>
                <a:gd name="T105" fmla="*/ 30 h 1298"/>
                <a:gd name="T106" fmla="*/ 497 w 1034"/>
                <a:gd name="T107" fmla="*/ 10 h 1298"/>
                <a:gd name="T108" fmla="*/ 595 w 1034"/>
                <a:gd name="T109" fmla="*/ 30 h 1298"/>
                <a:gd name="T110" fmla="*/ 643 w 1034"/>
                <a:gd name="T111" fmla="*/ 49 h 1298"/>
                <a:gd name="T112" fmla="*/ 692 w 1034"/>
                <a:gd name="T113" fmla="*/ 69 h 1298"/>
                <a:gd name="T114" fmla="*/ 760 w 1034"/>
                <a:gd name="T115" fmla="*/ 49 h 1298"/>
                <a:gd name="T116" fmla="*/ 829 w 1034"/>
                <a:gd name="T117" fmla="*/ 39 h 129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34"/>
                <a:gd name="T178" fmla="*/ 0 h 1298"/>
                <a:gd name="T179" fmla="*/ 1034 w 1034"/>
                <a:gd name="T180" fmla="*/ 1298 h 129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34" h="1298">
                  <a:moveTo>
                    <a:pt x="838" y="59"/>
                  </a:moveTo>
                  <a:lnTo>
                    <a:pt x="858" y="69"/>
                  </a:lnTo>
                  <a:lnTo>
                    <a:pt x="868" y="108"/>
                  </a:lnTo>
                  <a:lnTo>
                    <a:pt x="877" y="166"/>
                  </a:lnTo>
                  <a:lnTo>
                    <a:pt x="877" y="225"/>
                  </a:lnTo>
                  <a:lnTo>
                    <a:pt x="887" y="283"/>
                  </a:lnTo>
                  <a:lnTo>
                    <a:pt x="877" y="303"/>
                  </a:lnTo>
                  <a:lnTo>
                    <a:pt x="868" y="303"/>
                  </a:lnTo>
                  <a:lnTo>
                    <a:pt x="858" y="313"/>
                  </a:lnTo>
                  <a:lnTo>
                    <a:pt x="848" y="322"/>
                  </a:lnTo>
                  <a:lnTo>
                    <a:pt x="838" y="342"/>
                  </a:lnTo>
                  <a:lnTo>
                    <a:pt x="858" y="342"/>
                  </a:lnTo>
                  <a:lnTo>
                    <a:pt x="868" y="352"/>
                  </a:lnTo>
                  <a:lnTo>
                    <a:pt x="877" y="371"/>
                  </a:lnTo>
                  <a:lnTo>
                    <a:pt x="868" y="391"/>
                  </a:lnTo>
                  <a:lnTo>
                    <a:pt x="868" y="410"/>
                  </a:lnTo>
                  <a:lnTo>
                    <a:pt x="887" y="420"/>
                  </a:lnTo>
                  <a:lnTo>
                    <a:pt x="897" y="439"/>
                  </a:lnTo>
                  <a:lnTo>
                    <a:pt x="897" y="469"/>
                  </a:lnTo>
                  <a:lnTo>
                    <a:pt x="907" y="488"/>
                  </a:lnTo>
                  <a:lnTo>
                    <a:pt x="916" y="498"/>
                  </a:lnTo>
                  <a:lnTo>
                    <a:pt x="916" y="508"/>
                  </a:lnTo>
                  <a:lnTo>
                    <a:pt x="897" y="527"/>
                  </a:lnTo>
                  <a:lnTo>
                    <a:pt x="877" y="547"/>
                  </a:lnTo>
                  <a:lnTo>
                    <a:pt x="877" y="576"/>
                  </a:lnTo>
                  <a:lnTo>
                    <a:pt x="868" y="596"/>
                  </a:lnTo>
                  <a:lnTo>
                    <a:pt x="868" y="615"/>
                  </a:lnTo>
                  <a:lnTo>
                    <a:pt x="887" y="615"/>
                  </a:lnTo>
                  <a:lnTo>
                    <a:pt x="907" y="625"/>
                  </a:lnTo>
                  <a:lnTo>
                    <a:pt x="907" y="615"/>
                  </a:lnTo>
                  <a:lnTo>
                    <a:pt x="916" y="615"/>
                  </a:lnTo>
                  <a:lnTo>
                    <a:pt x="926" y="625"/>
                  </a:lnTo>
                  <a:lnTo>
                    <a:pt x="955" y="635"/>
                  </a:lnTo>
                  <a:lnTo>
                    <a:pt x="965" y="625"/>
                  </a:lnTo>
                  <a:lnTo>
                    <a:pt x="1004" y="635"/>
                  </a:lnTo>
                  <a:lnTo>
                    <a:pt x="1004" y="625"/>
                  </a:lnTo>
                  <a:lnTo>
                    <a:pt x="1014" y="625"/>
                  </a:lnTo>
                  <a:lnTo>
                    <a:pt x="1024" y="635"/>
                  </a:lnTo>
                  <a:lnTo>
                    <a:pt x="1034" y="664"/>
                  </a:lnTo>
                  <a:lnTo>
                    <a:pt x="985" y="654"/>
                  </a:lnTo>
                  <a:lnTo>
                    <a:pt x="965" y="674"/>
                  </a:lnTo>
                  <a:lnTo>
                    <a:pt x="955" y="674"/>
                  </a:lnTo>
                  <a:lnTo>
                    <a:pt x="936" y="674"/>
                  </a:lnTo>
                  <a:lnTo>
                    <a:pt x="926" y="664"/>
                  </a:lnTo>
                  <a:lnTo>
                    <a:pt x="916" y="664"/>
                  </a:lnTo>
                  <a:lnTo>
                    <a:pt x="916" y="674"/>
                  </a:lnTo>
                  <a:lnTo>
                    <a:pt x="926" y="683"/>
                  </a:lnTo>
                  <a:lnTo>
                    <a:pt x="926" y="713"/>
                  </a:lnTo>
                  <a:lnTo>
                    <a:pt x="946" y="732"/>
                  </a:lnTo>
                  <a:lnTo>
                    <a:pt x="936" y="742"/>
                  </a:lnTo>
                  <a:lnTo>
                    <a:pt x="926" y="732"/>
                  </a:lnTo>
                  <a:lnTo>
                    <a:pt x="926" y="752"/>
                  </a:lnTo>
                  <a:lnTo>
                    <a:pt x="926" y="771"/>
                  </a:lnTo>
                  <a:lnTo>
                    <a:pt x="916" y="781"/>
                  </a:lnTo>
                  <a:lnTo>
                    <a:pt x="916" y="791"/>
                  </a:lnTo>
                  <a:lnTo>
                    <a:pt x="936" y="800"/>
                  </a:lnTo>
                  <a:lnTo>
                    <a:pt x="946" y="830"/>
                  </a:lnTo>
                  <a:lnTo>
                    <a:pt x="936" y="849"/>
                  </a:lnTo>
                  <a:lnTo>
                    <a:pt x="936" y="888"/>
                  </a:lnTo>
                  <a:lnTo>
                    <a:pt x="907" y="908"/>
                  </a:lnTo>
                  <a:lnTo>
                    <a:pt x="907" y="917"/>
                  </a:lnTo>
                  <a:lnTo>
                    <a:pt x="916" y="947"/>
                  </a:lnTo>
                  <a:lnTo>
                    <a:pt x="887" y="966"/>
                  </a:lnTo>
                  <a:lnTo>
                    <a:pt x="868" y="976"/>
                  </a:lnTo>
                  <a:lnTo>
                    <a:pt x="858" y="976"/>
                  </a:lnTo>
                  <a:lnTo>
                    <a:pt x="848" y="986"/>
                  </a:lnTo>
                  <a:lnTo>
                    <a:pt x="858" y="1005"/>
                  </a:lnTo>
                  <a:lnTo>
                    <a:pt x="848" y="1015"/>
                  </a:lnTo>
                  <a:lnTo>
                    <a:pt x="848" y="1035"/>
                  </a:lnTo>
                  <a:lnTo>
                    <a:pt x="848" y="1044"/>
                  </a:lnTo>
                  <a:lnTo>
                    <a:pt x="848" y="1054"/>
                  </a:lnTo>
                  <a:lnTo>
                    <a:pt x="848" y="1074"/>
                  </a:lnTo>
                  <a:lnTo>
                    <a:pt x="868" y="1093"/>
                  </a:lnTo>
                  <a:lnTo>
                    <a:pt x="887" y="1093"/>
                  </a:lnTo>
                  <a:lnTo>
                    <a:pt x="897" y="1103"/>
                  </a:lnTo>
                  <a:lnTo>
                    <a:pt x="907" y="1122"/>
                  </a:lnTo>
                  <a:lnTo>
                    <a:pt x="907" y="1142"/>
                  </a:lnTo>
                  <a:lnTo>
                    <a:pt x="887" y="1152"/>
                  </a:lnTo>
                  <a:lnTo>
                    <a:pt x="868" y="1161"/>
                  </a:lnTo>
                  <a:lnTo>
                    <a:pt x="868" y="1181"/>
                  </a:lnTo>
                  <a:lnTo>
                    <a:pt x="877" y="1181"/>
                  </a:lnTo>
                  <a:lnTo>
                    <a:pt x="897" y="1200"/>
                  </a:lnTo>
                  <a:lnTo>
                    <a:pt x="897" y="1210"/>
                  </a:lnTo>
                  <a:lnTo>
                    <a:pt x="907" y="1220"/>
                  </a:lnTo>
                  <a:lnTo>
                    <a:pt x="907" y="1230"/>
                  </a:lnTo>
                  <a:lnTo>
                    <a:pt x="877" y="1259"/>
                  </a:lnTo>
                  <a:lnTo>
                    <a:pt x="868" y="1269"/>
                  </a:lnTo>
                  <a:lnTo>
                    <a:pt x="877" y="1288"/>
                  </a:lnTo>
                  <a:lnTo>
                    <a:pt x="868" y="1298"/>
                  </a:lnTo>
                  <a:lnTo>
                    <a:pt x="848" y="1278"/>
                  </a:lnTo>
                  <a:lnTo>
                    <a:pt x="819" y="1278"/>
                  </a:lnTo>
                  <a:lnTo>
                    <a:pt x="819" y="1259"/>
                  </a:lnTo>
                  <a:lnTo>
                    <a:pt x="790" y="1259"/>
                  </a:lnTo>
                  <a:lnTo>
                    <a:pt x="770" y="1239"/>
                  </a:lnTo>
                  <a:lnTo>
                    <a:pt x="760" y="1259"/>
                  </a:lnTo>
                  <a:lnTo>
                    <a:pt x="741" y="1269"/>
                  </a:lnTo>
                  <a:lnTo>
                    <a:pt x="721" y="1220"/>
                  </a:lnTo>
                  <a:lnTo>
                    <a:pt x="731" y="1200"/>
                  </a:lnTo>
                  <a:lnTo>
                    <a:pt x="731" y="1181"/>
                  </a:lnTo>
                  <a:lnTo>
                    <a:pt x="721" y="1171"/>
                  </a:lnTo>
                  <a:lnTo>
                    <a:pt x="702" y="1181"/>
                  </a:lnTo>
                  <a:lnTo>
                    <a:pt x="692" y="1171"/>
                  </a:lnTo>
                  <a:lnTo>
                    <a:pt x="663" y="1161"/>
                  </a:lnTo>
                  <a:lnTo>
                    <a:pt x="634" y="1161"/>
                  </a:lnTo>
                  <a:lnTo>
                    <a:pt x="604" y="1161"/>
                  </a:lnTo>
                  <a:lnTo>
                    <a:pt x="565" y="1132"/>
                  </a:lnTo>
                  <a:lnTo>
                    <a:pt x="556" y="1132"/>
                  </a:lnTo>
                  <a:lnTo>
                    <a:pt x="546" y="1152"/>
                  </a:lnTo>
                  <a:lnTo>
                    <a:pt x="526" y="1161"/>
                  </a:lnTo>
                  <a:lnTo>
                    <a:pt x="497" y="1161"/>
                  </a:lnTo>
                  <a:lnTo>
                    <a:pt x="468" y="1161"/>
                  </a:lnTo>
                  <a:lnTo>
                    <a:pt x="448" y="1161"/>
                  </a:lnTo>
                  <a:lnTo>
                    <a:pt x="429" y="1161"/>
                  </a:lnTo>
                  <a:lnTo>
                    <a:pt x="419" y="1171"/>
                  </a:lnTo>
                  <a:lnTo>
                    <a:pt x="400" y="1181"/>
                  </a:lnTo>
                  <a:lnTo>
                    <a:pt x="351" y="1181"/>
                  </a:lnTo>
                  <a:lnTo>
                    <a:pt x="351" y="1171"/>
                  </a:lnTo>
                  <a:lnTo>
                    <a:pt x="331" y="1171"/>
                  </a:lnTo>
                  <a:lnTo>
                    <a:pt x="321" y="1181"/>
                  </a:lnTo>
                  <a:lnTo>
                    <a:pt x="312" y="1161"/>
                  </a:lnTo>
                  <a:lnTo>
                    <a:pt x="292" y="1171"/>
                  </a:lnTo>
                  <a:lnTo>
                    <a:pt x="292" y="1161"/>
                  </a:lnTo>
                  <a:lnTo>
                    <a:pt x="292" y="1103"/>
                  </a:lnTo>
                  <a:lnTo>
                    <a:pt x="302" y="1093"/>
                  </a:lnTo>
                  <a:lnTo>
                    <a:pt x="312" y="1064"/>
                  </a:lnTo>
                  <a:lnTo>
                    <a:pt x="312" y="1044"/>
                  </a:lnTo>
                  <a:lnTo>
                    <a:pt x="302" y="1025"/>
                  </a:lnTo>
                  <a:lnTo>
                    <a:pt x="282" y="1015"/>
                  </a:lnTo>
                  <a:lnTo>
                    <a:pt x="273" y="1005"/>
                  </a:lnTo>
                  <a:lnTo>
                    <a:pt x="243" y="1005"/>
                  </a:lnTo>
                  <a:lnTo>
                    <a:pt x="214" y="996"/>
                  </a:lnTo>
                  <a:lnTo>
                    <a:pt x="195" y="996"/>
                  </a:lnTo>
                  <a:lnTo>
                    <a:pt x="195" y="986"/>
                  </a:lnTo>
                  <a:lnTo>
                    <a:pt x="204" y="966"/>
                  </a:lnTo>
                  <a:lnTo>
                    <a:pt x="185" y="966"/>
                  </a:lnTo>
                  <a:lnTo>
                    <a:pt x="175" y="976"/>
                  </a:lnTo>
                  <a:lnTo>
                    <a:pt x="175" y="986"/>
                  </a:lnTo>
                  <a:lnTo>
                    <a:pt x="165" y="996"/>
                  </a:lnTo>
                  <a:lnTo>
                    <a:pt x="156" y="996"/>
                  </a:lnTo>
                  <a:lnTo>
                    <a:pt x="156" y="1005"/>
                  </a:lnTo>
                  <a:lnTo>
                    <a:pt x="146" y="1015"/>
                  </a:lnTo>
                  <a:lnTo>
                    <a:pt x="146" y="1005"/>
                  </a:lnTo>
                  <a:lnTo>
                    <a:pt x="126" y="1015"/>
                  </a:lnTo>
                  <a:lnTo>
                    <a:pt x="117" y="1025"/>
                  </a:lnTo>
                  <a:lnTo>
                    <a:pt x="107" y="1035"/>
                  </a:lnTo>
                  <a:lnTo>
                    <a:pt x="87" y="1035"/>
                  </a:lnTo>
                  <a:lnTo>
                    <a:pt x="87" y="1025"/>
                  </a:lnTo>
                  <a:lnTo>
                    <a:pt x="78" y="1005"/>
                  </a:lnTo>
                  <a:lnTo>
                    <a:pt x="58" y="986"/>
                  </a:lnTo>
                  <a:lnTo>
                    <a:pt x="39" y="947"/>
                  </a:lnTo>
                  <a:lnTo>
                    <a:pt x="58" y="917"/>
                  </a:lnTo>
                  <a:lnTo>
                    <a:pt x="58" y="888"/>
                  </a:lnTo>
                  <a:lnTo>
                    <a:pt x="19" y="849"/>
                  </a:lnTo>
                  <a:lnTo>
                    <a:pt x="78" y="830"/>
                  </a:lnTo>
                  <a:lnTo>
                    <a:pt x="87" y="810"/>
                  </a:lnTo>
                  <a:lnTo>
                    <a:pt x="107" y="791"/>
                  </a:lnTo>
                  <a:lnTo>
                    <a:pt x="136" y="781"/>
                  </a:lnTo>
                  <a:lnTo>
                    <a:pt x="146" y="742"/>
                  </a:lnTo>
                  <a:lnTo>
                    <a:pt x="146" y="722"/>
                  </a:lnTo>
                  <a:lnTo>
                    <a:pt x="136" y="722"/>
                  </a:lnTo>
                  <a:lnTo>
                    <a:pt x="136" y="703"/>
                  </a:lnTo>
                  <a:lnTo>
                    <a:pt x="156" y="693"/>
                  </a:lnTo>
                  <a:lnTo>
                    <a:pt x="165" y="674"/>
                  </a:lnTo>
                  <a:lnTo>
                    <a:pt x="165" y="654"/>
                  </a:lnTo>
                  <a:lnTo>
                    <a:pt x="156" y="635"/>
                  </a:lnTo>
                  <a:lnTo>
                    <a:pt x="146" y="615"/>
                  </a:lnTo>
                  <a:lnTo>
                    <a:pt x="126" y="615"/>
                  </a:lnTo>
                  <a:lnTo>
                    <a:pt x="117" y="615"/>
                  </a:lnTo>
                  <a:lnTo>
                    <a:pt x="107" y="605"/>
                  </a:lnTo>
                  <a:lnTo>
                    <a:pt x="107" y="586"/>
                  </a:lnTo>
                  <a:lnTo>
                    <a:pt x="97" y="576"/>
                  </a:lnTo>
                  <a:lnTo>
                    <a:pt x="87" y="596"/>
                  </a:lnTo>
                  <a:lnTo>
                    <a:pt x="78" y="596"/>
                  </a:lnTo>
                  <a:lnTo>
                    <a:pt x="78" y="586"/>
                  </a:lnTo>
                  <a:lnTo>
                    <a:pt x="78" y="576"/>
                  </a:lnTo>
                  <a:lnTo>
                    <a:pt x="68" y="576"/>
                  </a:lnTo>
                  <a:lnTo>
                    <a:pt x="39" y="566"/>
                  </a:lnTo>
                  <a:lnTo>
                    <a:pt x="19" y="556"/>
                  </a:lnTo>
                  <a:lnTo>
                    <a:pt x="39" y="478"/>
                  </a:lnTo>
                  <a:lnTo>
                    <a:pt x="0" y="469"/>
                  </a:lnTo>
                  <a:lnTo>
                    <a:pt x="19" y="430"/>
                  </a:lnTo>
                  <a:lnTo>
                    <a:pt x="48" y="420"/>
                  </a:lnTo>
                  <a:lnTo>
                    <a:pt x="58" y="381"/>
                  </a:lnTo>
                  <a:lnTo>
                    <a:pt x="68" y="371"/>
                  </a:lnTo>
                  <a:lnTo>
                    <a:pt x="97" y="361"/>
                  </a:lnTo>
                  <a:lnTo>
                    <a:pt x="107" y="352"/>
                  </a:lnTo>
                  <a:lnTo>
                    <a:pt x="126" y="332"/>
                  </a:lnTo>
                  <a:lnTo>
                    <a:pt x="146" y="313"/>
                  </a:lnTo>
                  <a:lnTo>
                    <a:pt x="156" y="303"/>
                  </a:lnTo>
                  <a:lnTo>
                    <a:pt x="165" y="283"/>
                  </a:lnTo>
                  <a:lnTo>
                    <a:pt x="175" y="264"/>
                  </a:lnTo>
                  <a:lnTo>
                    <a:pt x="185" y="264"/>
                  </a:lnTo>
                  <a:lnTo>
                    <a:pt x="214" y="244"/>
                  </a:lnTo>
                  <a:lnTo>
                    <a:pt x="224" y="225"/>
                  </a:lnTo>
                  <a:lnTo>
                    <a:pt x="234" y="215"/>
                  </a:lnTo>
                  <a:lnTo>
                    <a:pt x="243" y="205"/>
                  </a:lnTo>
                  <a:lnTo>
                    <a:pt x="253" y="186"/>
                  </a:lnTo>
                  <a:lnTo>
                    <a:pt x="263" y="176"/>
                  </a:lnTo>
                  <a:lnTo>
                    <a:pt x="273" y="166"/>
                  </a:lnTo>
                  <a:lnTo>
                    <a:pt x="282" y="166"/>
                  </a:lnTo>
                  <a:lnTo>
                    <a:pt x="312" y="166"/>
                  </a:lnTo>
                  <a:lnTo>
                    <a:pt x="331" y="147"/>
                  </a:lnTo>
                  <a:lnTo>
                    <a:pt x="341" y="127"/>
                  </a:lnTo>
                  <a:lnTo>
                    <a:pt x="360" y="117"/>
                  </a:lnTo>
                  <a:lnTo>
                    <a:pt x="360" y="88"/>
                  </a:lnTo>
                  <a:lnTo>
                    <a:pt x="370" y="69"/>
                  </a:lnTo>
                  <a:lnTo>
                    <a:pt x="380" y="69"/>
                  </a:lnTo>
                  <a:lnTo>
                    <a:pt x="409" y="59"/>
                  </a:lnTo>
                  <a:lnTo>
                    <a:pt x="439" y="30"/>
                  </a:lnTo>
                  <a:lnTo>
                    <a:pt x="458" y="30"/>
                  </a:lnTo>
                  <a:lnTo>
                    <a:pt x="468" y="20"/>
                  </a:lnTo>
                  <a:lnTo>
                    <a:pt x="487" y="20"/>
                  </a:lnTo>
                  <a:lnTo>
                    <a:pt x="497" y="10"/>
                  </a:lnTo>
                  <a:lnTo>
                    <a:pt x="536" y="20"/>
                  </a:lnTo>
                  <a:lnTo>
                    <a:pt x="565" y="0"/>
                  </a:lnTo>
                  <a:lnTo>
                    <a:pt x="575" y="10"/>
                  </a:lnTo>
                  <a:lnTo>
                    <a:pt x="595" y="30"/>
                  </a:lnTo>
                  <a:lnTo>
                    <a:pt x="585" y="49"/>
                  </a:lnTo>
                  <a:lnTo>
                    <a:pt x="595" y="49"/>
                  </a:lnTo>
                  <a:lnTo>
                    <a:pt x="604" y="39"/>
                  </a:lnTo>
                  <a:lnTo>
                    <a:pt x="643" y="49"/>
                  </a:lnTo>
                  <a:lnTo>
                    <a:pt x="663" y="39"/>
                  </a:lnTo>
                  <a:lnTo>
                    <a:pt x="673" y="49"/>
                  </a:lnTo>
                  <a:lnTo>
                    <a:pt x="673" y="59"/>
                  </a:lnTo>
                  <a:lnTo>
                    <a:pt x="692" y="69"/>
                  </a:lnTo>
                  <a:lnTo>
                    <a:pt x="721" y="69"/>
                  </a:lnTo>
                  <a:lnTo>
                    <a:pt x="741" y="78"/>
                  </a:lnTo>
                  <a:lnTo>
                    <a:pt x="760" y="59"/>
                  </a:lnTo>
                  <a:lnTo>
                    <a:pt x="760" y="49"/>
                  </a:lnTo>
                  <a:lnTo>
                    <a:pt x="799" y="49"/>
                  </a:lnTo>
                  <a:lnTo>
                    <a:pt x="799" y="59"/>
                  </a:lnTo>
                  <a:lnTo>
                    <a:pt x="809" y="69"/>
                  </a:lnTo>
                  <a:lnTo>
                    <a:pt x="829" y="39"/>
                  </a:lnTo>
                  <a:lnTo>
                    <a:pt x="848" y="39"/>
                  </a:lnTo>
                  <a:lnTo>
                    <a:pt x="838" y="59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9" name="Freeform 255"/>
            <p:cNvSpPr>
              <a:spLocks/>
            </p:cNvSpPr>
            <p:nvPr/>
          </p:nvSpPr>
          <p:spPr bwMode="auto">
            <a:xfrm>
              <a:off x="7677" y="3716"/>
              <a:ext cx="319" cy="226"/>
            </a:xfrm>
            <a:custGeom>
              <a:avLst/>
              <a:gdLst>
                <a:gd name="T0" fmla="*/ 0 w 321"/>
                <a:gd name="T1" fmla="*/ 127 h 225"/>
                <a:gd name="T2" fmla="*/ 0 w 321"/>
                <a:gd name="T3" fmla="*/ 108 h 225"/>
                <a:gd name="T4" fmla="*/ 0 w 321"/>
                <a:gd name="T5" fmla="*/ 88 h 225"/>
                <a:gd name="T6" fmla="*/ 9 w 321"/>
                <a:gd name="T7" fmla="*/ 69 h 225"/>
                <a:gd name="T8" fmla="*/ 19 w 321"/>
                <a:gd name="T9" fmla="*/ 69 h 225"/>
                <a:gd name="T10" fmla="*/ 29 w 321"/>
                <a:gd name="T11" fmla="*/ 59 h 225"/>
                <a:gd name="T12" fmla="*/ 39 w 321"/>
                <a:gd name="T13" fmla="*/ 49 h 225"/>
                <a:gd name="T14" fmla="*/ 39 w 321"/>
                <a:gd name="T15" fmla="*/ 49 h 225"/>
                <a:gd name="T16" fmla="*/ 68 w 321"/>
                <a:gd name="T17" fmla="*/ 39 h 225"/>
                <a:gd name="T18" fmla="*/ 68 w 321"/>
                <a:gd name="T19" fmla="*/ 20 h 225"/>
                <a:gd name="T20" fmla="*/ 87 w 321"/>
                <a:gd name="T21" fmla="*/ 20 h 225"/>
                <a:gd name="T22" fmla="*/ 87 w 321"/>
                <a:gd name="T23" fmla="*/ 30 h 225"/>
                <a:gd name="T24" fmla="*/ 97 w 321"/>
                <a:gd name="T25" fmla="*/ 39 h 225"/>
                <a:gd name="T26" fmla="*/ 107 w 321"/>
                <a:gd name="T27" fmla="*/ 20 h 225"/>
                <a:gd name="T28" fmla="*/ 126 w 321"/>
                <a:gd name="T29" fmla="*/ 20 h 225"/>
                <a:gd name="T30" fmla="*/ 136 w 321"/>
                <a:gd name="T31" fmla="*/ 20 h 225"/>
                <a:gd name="T32" fmla="*/ 156 w 321"/>
                <a:gd name="T33" fmla="*/ 20 h 225"/>
                <a:gd name="T34" fmla="*/ 165 w 321"/>
                <a:gd name="T35" fmla="*/ 20 h 225"/>
                <a:gd name="T36" fmla="*/ 175 w 321"/>
                <a:gd name="T37" fmla="*/ 30 h 225"/>
                <a:gd name="T38" fmla="*/ 185 w 321"/>
                <a:gd name="T39" fmla="*/ 39 h 225"/>
                <a:gd name="T40" fmla="*/ 204 w 321"/>
                <a:gd name="T41" fmla="*/ 30 h 225"/>
                <a:gd name="T42" fmla="*/ 234 w 321"/>
                <a:gd name="T43" fmla="*/ 30 h 225"/>
                <a:gd name="T44" fmla="*/ 243 w 321"/>
                <a:gd name="T45" fmla="*/ 30 h 225"/>
                <a:gd name="T46" fmla="*/ 263 w 321"/>
                <a:gd name="T47" fmla="*/ 20 h 225"/>
                <a:gd name="T48" fmla="*/ 263 w 321"/>
                <a:gd name="T49" fmla="*/ 10 h 225"/>
                <a:gd name="T50" fmla="*/ 273 w 321"/>
                <a:gd name="T51" fmla="*/ 10 h 225"/>
                <a:gd name="T52" fmla="*/ 282 w 321"/>
                <a:gd name="T53" fmla="*/ 20 h 225"/>
                <a:gd name="T54" fmla="*/ 302 w 321"/>
                <a:gd name="T55" fmla="*/ 0 h 225"/>
                <a:gd name="T56" fmla="*/ 312 w 321"/>
                <a:gd name="T57" fmla="*/ 0 h 225"/>
                <a:gd name="T58" fmla="*/ 321 w 321"/>
                <a:gd name="T59" fmla="*/ 20 h 225"/>
                <a:gd name="T60" fmla="*/ 321 w 321"/>
                <a:gd name="T61" fmla="*/ 30 h 225"/>
                <a:gd name="T62" fmla="*/ 302 w 321"/>
                <a:gd name="T63" fmla="*/ 30 h 225"/>
                <a:gd name="T64" fmla="*/ 292 w 321"/>
                <a:gd name="T65" fmla="*/ 39 h 225"/>
                <a:gd name="T66" fmla="*/ 292 w 321"/>
                <a:gd name="T67" fmla="*/ 39 h 225"/>
                <a:gd name="T68" fmla="*/ 273 w 321"/>
                <a:gd name="T69" fmla="*/ 49 h 225"/>
                <a:gd name="T70" fmla="*/ 263 w 321"/>
                <a:gd name="T71" fmla="*/ 69 h 225"/>
                <a:gd name="T72" fmla="*/ 243 w 321"/>
                <a:gd name="T73" fmla="*/ 98 h 225"/>
                <a:gd name="T74" fmla="*/ 224 w 321"/>
                <a:gd name="T75" fmla="*/ 108 h 225"/>
                <a:gd name="T76" fmla="*/ 204 w 321"/>
                <a:gd name="T77" fmla="*/ 127 h 225"/>
                <a:gd name="T78" fmla="*/ 195 w 321"/>
                <a:gd name="T79" fmla="*/ 147 h 225"/>
                <a:gd name="T80" fmla="*/ 185 w 321"/>
                <a:gd name="T81" fmla="*/ 176 h 225"/>
                <a:gd name="T82" fmla="*/ 165 w 321"/>
                <a:gd name="T83" fmla="*/ 186 h 225"/>
                <a:gd name="T84" fmla="*/ 146 w 321"/>
                <a:gd name="T85" fmla="*/ 205 h 225"/>
                <a:gd name="T86" fmla="*/ 126 w 321"/>
                <a:gd name="T87" fmla="*/ 215 h 225"/>
                <a:gd name="T88" fmla="*/ 117 w 321"/>
                <a:gd name="T89" fmla="*/ 215 h 225"/>
                <a:gd name="T90" fmla="*/ 97 w 321"/>
                <a:gd name="T91" fmla="*/ 225 h 225"/>
                <a:gd name="T92" fmla="*/ 78 w 321"/>
                <a:gd name="T93" fmla="*/ 225 h 225"/>
                <a:gd name="T94" fmla="*/ 68 w 321"/>
                <a:gd name="T95" fmla="*/ 205 h 225"/>
                <a:gd name="T96" fmla="*/ 58 w 321"/>
                <a:gd name="T97" fmla="*/ 205 h 225"/>
                <a:gd name="T98" fmla="*/ 39 w 321"/>
                <a:gd name="T99" fmla="*/ 205 h 225"/>
                <a:gd name="T100" fmla="*/ 39 w 321"/>
                <a:gd name="T101" fmla="*/ 176 h 225"/>
                <a:gd name="T102" fmla="*/ 19 w 321"/>
                <a:gd name="T103" fmla="*/ 156 h 225"/>
                <a:gd name="T104" fmla="*/ 9 w 321"/>
                <a:gd name="T105" fmla="*/ 147 h 225"/>
                <a:gd name="T106" fmla="*/ 9 w 321"/>
                <a:gd name="T107" fmla="*/ 127 h 225"/>
                <a:gd name="T108" fmla="*/ 0 w 321"/>
                <a:gd name="T109" fmla="*/ 127 h 2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1"/>
                <a:gd name="T166" fmla="*/ 0 h 225"/>
                <a:gd name="T167" fmla="*/ 321 w 321"/>
                <a:gd name="T168" fmla="*/ 225 h 2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1" h="225">
                  <a:moveTo>
                    <a:pt x="0" y="127"/>
                  </a:moveTo>
                  <a:lnTo>
                    <a:pt x="0" y="108"/>
                  </a:lnTo>
                  <a:lnTo>
                    <a:pt x="0" y="88"/>
                  </a:lnTo>
                  <a:lnTo>
                    <a:pt x="9" y="69"/>
                  </a:lnTo>
                  <a:lnTo>
                    <a:pt x="19" y="69"/>
                  </a:lnTo>
                  <a:lnTo>
                    <a:pt x="29" y="59"/>
                  </a:lnTo>
                  <a:lnTo>
                    <a:pt x="39" y="49"/>
                  </a:lnTo>
                  <a:lnTo>
                    <a:pt x="68" y="39"/>
                  </a:lnTo>
                  <a:lnTo>
                    <a:pt x="68" y="20"/>
                  </a:lnTo>
                  <a:lnTo>
                    <a:pt x="87" y="20"/>
                  </a:lnTo>
                  <a:lnTo>
                    <a:pt x="87" y="30"/>
                  </a:lnTo>
                  <a:lnTo>
                    <a:pt x="97" y="39"/>
                  </a:lnTo>
                  <a:lnTo>
                    <a:pt x="107" y="20"/>
                  </a:lnTo>
                  <a:lnTo>
                    <a:pt x="126" y="20"/>
                  </a:lnTo>
                  <a:lnTo>
                    <a:pt x="136" y="20"/>
                  </a:lnTo>
                  <a:lnTo>
                    <a:pt x="156" y="20"/>
                  </a:lnTo>
                  <a:lnTo>
                    <a:pt x="165" y="20"/>
                  </a:lnTo>
                  <a:lnTo>
                    <a:pt x="175" y="30"/>
                  </a:lnTo>
                  <a:lnTo>
                    <a:pt x="185" y="39"/>
                  </a:lnTo>
                  <a:lnTo>
                    <a:pt x="204" y="30"/>
                  </a:lnTo>
                  <a:lnTo>
                    <a:pt x="234" y="30"/>
                  </a:lnTo>
                  <a:lnTo>
                    <a:pt x="243" y="30"/>
                  </a:lnTo>
                  <a:lnTo>
                    <a:pt x="263" y="20"/>
                  </a:lnTo>
                  <a:lnTo>
                    <a:pt x="263" y="10"/>
                  </a:lnTo>
                  <a:lnTo>
                    <a:pt x="273" y="10"/>
                  </a:lnTo>
                  <a:lnTo>
                    <a:pt x="282" y="20"/>
                  </a:lnTo>
                  <a:lnTo>
                    <a:pt x="302" y="0"/>
                  </a:lnTo>
                  <a:lnTo>
                    <a:pt x="312" y="0"/>
                  </a:lnTo>
                  <a:lnTo>
                    <a:pt x="321" y="20"/>
                  </a:lnTo>
                  <a:lnTo>
                    <a:pt x="321" y="30"/>
                  </a:lnTo>
                  <a:lnTo>
                    <a:pt x="302" y="30"/>
                  </a:lnTo>
                  <a:lnTo>
                    <a:pt x="292" y="39"/>
                  </a:lnTo>
                  <a:lnTo>
                    <a:pt x="273" y="49"/>
                  </a:lnTo>
                  <a:lnTo>
                    <a:pt x="263" y="69"/>
                  </a:lnTo>
                  <a:lnTo>
                    <a:pt x="243" y="98"/>
                  </a:lnTo>
                  <a:lnTo>
                    <a:pt x="224" y="108"/>
                  </a:lnTo>
                  <a:lnTo>
                    <a:pt x="204" y="127"/>
                  </a:lnTo>
                  <a:lnTo>
                    <a:pt x="195" y="147"/>
                  </a:lnTo>
                  <a:lnTo>
                    <a:pt x="185" y="176"/>
                  </a:lnTo>
                  <a:lnTo>
                    <a:pt x="165" y="186"/>
                  </a:lnTo>
                  <a:lnTo>
                    <a:pt x="146" y="205"/>
                  </a:lnTo>
                  <a:lnTo>
                    <a:pt x="126" y="215"/>
                  </a:lnTo>
                  <a:lnTo>
                    <a:pt x="117" y="215"/>
                  </a:lnTo>
                  <a:lnTo>
                    <a:pt x="97" y="225"/>
                  </a:lnTo>
                  <a:lnTo>
                    <a:pt x="78" y="225"/>
                  </a:lnTo>
                  <a:lnTo>
                    <a:pt x="68" y="205"/>
                  </a:lnTo>
                  <a:lnTo>
                    <a:pt x="58" y="205"/>
                  </a:lnTo>
                  <a:lnTo>
                    <a:pt x="39" y="205"/>
                  </a:lnTo>
                  <a:lnTo>
                    <a:pt x="39" y="176"/>
                  </a:lnTo>
                  <a:lnTo>
                    <a:pt x="19" y="15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20" name="Group 252"/>
            <p:cNvGrpSpPr>
              <a:grpSpLocks/>
            </p:cNvGrpSpPr>
            <p:nvPr/>
          </p:nvGrpSpPr>
          <p:grpSpPr bwMode="auto">
            <a:xfrm>
              <a:off x="7676" y="3717"/>
              <a:ext cx="321" cy="225"/>
              <a:chOff x="7677" y="3717"/>
              <a:chExt cx="321" cy="225"/>
            </a:xfrm>
          </p:grpSpPr>
          <p:sp>
            <p:nvSpPr>
              <p:cNvPr id="350" name="Freeform 254"/>
              <p:cNvSpPr>
                <a:spLocks/>
              </p:cNvSpPr>
              <p:nvPr/>
            </p:nvSpPr>
            <p:spPr bwMode="auto">
              <a:xfrm>
                <a:off x="7678" y="3716"/>
                <a:ext cx="319" cy="226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1" name="Freeform 253"/>
              <p:cNvSpPr>
                <a:spLocks/>
              </p:cNvSpPr>
              <p:nvPr/>
            </p:nvSpPr>
            <p:spPr bwMode="auto">
              <a:xfrm>
                <a:off x="7678" y="3716"/>
                <a:ext cx="319" cy="226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1" name="Freeform 251"/>
            <p:cNvSpPr>
              <a:spLocks/>
            </p:cNvSpPr>
            <p:nvPr/>
          </p:nvSpPr>
          <p:spPr bwMode="auto">
            <a:xfrm>
              <a:off x="8083" y="889"/>
              <a:ext cx="704" cy="1307"/>
            </a:xfrm>
            <a:custGeom>
              <a:avLst/>
              <a:gdLst>
                <a:gd name="T0" fmla="*/ 88 w 703"/>
                <a:gd name="T1" fmla="*/ 244 h 1307"/>
                <a:gd name="T2" fmla="*/ 176 w 703"/>
                <a:gd name="T3" fmla="*/ 156 h 1307"/>
                <a:gd name="T4" fmla="*/ 273 w 703"/>
                <a:gd name="T5" fmla="*/ 127 h 1307"/>
                <a:gd name="T6" fmla="*/ 342 w 703"/>
                <a:gd name="T7" fmla="*/ 224 h 1307"/>
                <a:gd name="T8" fmla="*/ 449 w 703"/>
                <a:gd name="T9" fmla="*/ 185 h 1307"/>
                <a:gd name="T10" fmla="*/ 488 w 703"/>
                <a:gd name="T11" fmla="*/ 88 h 1307"/>
                <a:gd name="T12" fmla="*/ 537 w 703"/>
                <a:gd name="T13" fmla="*/ 10 h 1307"/>
                <a:gd name="T14" fmla="*/ 605 w 703"/>
                <a:gd name="T15" fmla="*/ 10 h 1307"/>
                <a:gd name="T16" fmla="*/ 615 w 703"/>
                <a:gd name="T17" fmla="*/ 58 h 1307"/>
                <a:gd name="T18" fmla="*/ 625 w 703"/>
                <a:gd name="T19" fmla="*/ 88 h 1307"/>
                <a:gd name="T20" fmla="*/ 625 w 703"/>
                <a:gd name="T21" fmla="*/ 117 h 1307"/>
                <a:gd name="T22" fmla="*/ 634 w 703"/>
                <a:gd name="T23" fmla="*/ 156 h 1307"/>
                <a:gd name="T24" fmla="*/ 644 w 703"/>
                <a:gd name="T25" fmla="*/ 175 h 1307"/>
                <a:gd name="T26" fmla="*/ 654 w 703"/>
                <a:gd name="T27" fmla="*/ 224 h 1307"/>
                <a:gd name="T28" fmla="*/ 654 w 703"/>
                <a:gd name="T29" fmla="*/ 273 h 1307"/>
                <a:gd name="T30" fmla="*/ 703 w 703"/>
                <a:gd name="T31" fmla="*/ 312 h 1307"/>
                <a:gd name="T32" fmla="*/ 625 w 703"/>
                <a:gd name="T33" fmla="*/ 322 h 1307"/>
                <a:gd name="T34" fmla="*/ 576 w 703"/>
                <a:gd name="T35" fmla="*/ 371 h 1307"/>
                <a:gd name="T36" fmla="*/ 556 w 703"/>
                <a:gd name="T37" fmla="*/ 449 h 1307"/>
                <a:gd name="T38" fmla="*/ 576 w 703"/>
                <a:gd name="T39" fmla="*/ 488 h 1307"/>
                <a:gd name="T40" fmla="*/ 556 w 703"/>
                <a:gd name="T41" fmla="*/ 507 h 1307"/>
                <a:gd name="T42" fmla="*/ 527 w 703"/>
                <a:gd name="T43" fmla="*/ 546 h 1307"/>
                <a:gd name="T44" fmla="*/ 537 w 703"/>
                <a:gd name="T45" fmla="*/ 595 h 1307"/>
                <a:gd name="T46" fmla="*/ 508 w 703"/>
                <a:gd name="T47" fmla="*/ 605 h 1307"/>
                <a:gd name="T48" fmla="*/ 488 w 703"/>
                <a:gd name="T49" fmla="*/ 634 h 1307"/>
                <a:gd name="T50" fmla="*/ 508 w 703"/>
                <a:gd name="T51" fmla="*/ 683 h 1307"/>
                <a:gd name="T52" fmla="*/ 556 w 703"/>
                <a:gd name="T53" fmla="*/ 712 h 1307"/>
                <a:gd name="T54" fmla="*/ 556 w 703"/>
                <a:gd name="T55" fmla="*/ 741 h 1307"/>
                <a:gd name="T56" fmla="*/ 605 w 703"/>
                <a:gd name="T57" fmla="*/ 849 h 1307"/>
                <a:gd name="T58" fmla="*/ 654 w 703"/>
                <a:gd name="T59" fmla="*/ 829 h 1307"/>
                <a:gd name="T60" fmla="*/ 683 w 703"/>
                <a:gd name="T61" fmla="*/ 790 h 1307"/>
                <a:gd name="T62" fmla="*/ 683 w 703"/>
                <a:gd name="T63" fmla="*/ 868 h 1307"/>
                <a:gd name="T64" fmla="*/ 605 w 703"/>
                <a:gd name="T65" fmla="*/ 937 h 1307"/>
                <a:gd name="T66" fmla="*/ 644 w 703"/>
                <a:gd name="T67" fmla="*/ 1015 h 1307"/>
                <a:gd name="T68" fmla="*/ 576 w 703"/>
                <a:gd name="T69" fmla="*/ 1102 h 1307"/>
                <a:gd name="T70" fmla="*/ 615 w 703"/>
                <a:gd name="T71" fmla="*/ 1151 h 1307"/>
                <a:gd name="T72" fmla="*/ 605 w 703"/>
                <a:gd name="T73" fmla="*/ 1239 h 1307"/>
                <a:gd name="T74" fmla="*/ 547 w 703"/>
                <a:gd name="T75" fmla="*/ 1307 h 1307"/>
                <a:gd name="T76" fmla="*/ 488 w 703"/>
                <a:gd name="T77" fmla="*/ 1210 h 1307"/>
                <a:gd name="T78" fmla="*/ 488 w 703"/>
                <a:gd name="T79" fmla="*/ 1151 h 1307"/>
                <a:gd name="T80" fmla="*/ 420 w 703"/>
                <a:gd name="T81" fmla="*/ 1083 h 1307"/>
                <a:gd name="T82" fmla="*/ 439 w 703"/>
                <a:gd name="T83" fmla="*/ 1034 h 1307"/>
                <a:gd name="T84" fmla="*/ 459 w 703"/>
                <a:gd name="T85" fmla="*/ 937 h 1307"/>
                <a:gd name="T86" fmla="*/ 429 w 703"/>
                <a:gd name="T87" fmla="*/ 868 h 1307"/>
                <a:gd name="T88" fmla="*/ 410 w 703"/>
                <a:gd name="T89" fmla="*/ 780 h 1307"/>
                <a:gd name="T90" fmla="*/ 381 w 703"/>
                <a:gd name="T91" fmla="*/ 673 h 1307"/>
                <a:gd name="T92" fmla="*/ 381 w 703"/>
                <a:gd name="T93" fmla="*/ 595 h 1307"/>
                <a:gd name="T94" fmla="*/ 371 w 703"/>
                <a:gd name="T95" fmla="*/ 546 h 1307"/>
                <a:gd name="T96" fmla="*/ 322 w 703"/>
                <a:gd name="T97" fmla="*/ 517 h 1307"/>
                <a:gd name="T98" fmla="*/ 273 w 703"/>
                <a:gd name="T99" fmla="*/ 449 h 1307"/>
                <a:gd name="T100" fmla="*/ 283 w 703"/>
                <a:gd name="T101" fmla="*/ 400 h 1307"/>
                <a:gd name="T102" fmla="*/ 244 w 703"/>
                <a:gd name="T103" fmla="*/ 449 h 1307"/>
                <a:gd name="T104" fmla="*/ 244 w 703"/>
                <a:gd name="T105" fmla="*/ 497 h 1307"/>
                <a:gd name="T106" fmla="*/ 303 w 703"/>
                <a:gd name="T107" fmla="*/ 536 h 1307"/>
                <a:gd name="T108" fmla="*/ 283 w 703"/>
                <a:gd name="T109" fmla="*/ 566 h 1307"/>
                <a:gd name="T110" fmla="*/ 234 w 703"/>
                <a:gd name="T111" fmla="*/ 536 h 1307"/>
                <a:gd name="T112" fmla="*/ 156 w 703"/>
                <a:gd name="T113" fmla="*/ 478 h 1307"/>
                <a:gd name="T114" fmla="*/ 108 w 703"/>
                <a:gd name="T115" fmla="*/ 410 h 1307"/>
                <a:gd name="T116" fmla="*/ 49 w 703"/>
                <a:gd name="T117" fmla="*/ 380 h 1307"/>
                <a:gd name="T118" fmla="*/ 0 w 703"/>
                <a:gd name="T119" fmla="*/ 312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03"/>
                <a:gd name="T181" fmla="*/ 0 h 1307"/>
                <a:gd name="T182" fmla="*/ 703 w 703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03" h="1307">
                  <a:moveTo>
                    <a:pt x="49" y="244"/>
                  </a:moveTo>
                  <a:lnTo>
                    <a:pt x="59" y="234"/>
                  </a:lnTo>
                  <a:lnTo>
                    <a:pt x="69" y="234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88" y="244"/>
                  </a:lnTo>
                  <a:lnTo>
                    <a:pt x="108" y="244"/>
                  </a:lnTo>
                  <a:lnTo>
                    <a:pt x="108" y="224"/>
                  </a:lnTo>
                  <a:lnTo>
                    <a:pt x="127" y="205"/>
                  </a:lnTo>
                  <a:lnTo>
                    <a:pt x="137" y="175"/>
                  </a:lnTo>
                  <a:lnTo>
                    <a:pt x="156" y="175"/>
                  </a:lnTo>
                  <a:lnTo>
                    <a:pt x="176" y="156"/>
                  </a:lnTo>
                  <a:lnTo>
                    <a:pt x="176" y="146"/>
                  </a:lnTo>
                  <a:lnTo>
                    <a:pt x="195" y="136"/>
                  </a:lnTo>
                  <a:lnTo>
                    <a:pt x="215" y="136"/>
                  </a:lnTo>
                  <a:lnTo>
                    <a:pt x="244" y="146"/>
                  </a:lnTo>
                  <a:lnTo>
                    <a:pt x="264" y="146"/>
                  </a:lnTo>
                  <a:lnTo>
                    <a:pt x="273" y="127"/>
                  </a:lnTo>
                  <a:lnTo>
                    <a:pt x="303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95"/>
                  </a:lnTo>
                  <a:lnTo>
                    <a:pt x="322" y="224"/>
                  </a:lnTo>
                  <a:lnTo>
                    <a:pt x="342" y="224"/>
                  </a:lnTo>
                  <a:lnTo>
                    <a:pt x="342" y="205"/>
                  </a:lnTo>
                  <a:lnTo>
                    <a:pt x="371" y="195"/>
                  </a:lnTo>
                  <a:lnTo>
                    <a:pt x="400" y="175"/>
                  </a:lnTo>
                  <a:lnTo>
                    <a:pt x="420" y="166"/>
                  </a:lnTo>
                  <a:lnTo>
                    <a:pt x="429" y="175"/>
                  </a:lnTo>
                  <a:lnTo>
                    <a:pt x="449" y="185"/>
                  </a:lnTo>
                  <a:lnTo>
                    <a:pt x="459" y="185"/>
                  </a:lnTo>
                  <a:lnTo>
                    <a:pt x="468" y="175"/>
                  </a:lnTo>
                  <a:lnTo>
                    <a:pt x="468" y="146"/>
                  </a:lnTo>
                  <a:lnTo>
                    <a:pt x="468" y="127"/>
                  </a:lnTo>
                  <a:lnTo>
                    <a:pt x="488" y="107"/>
                  </a:lnTo>
                  <a:lnTo>
                    <a:pt x="488" y="88"/>
                  </a:lnTo>
                  <a:lnTo>
                    <a:pt x="498" y="68"/>
                  </a:lnTo>
                  <a:lnTo>
                    <a:pt x="508" y="68"/>
                  </a:lnTo>
                  <a:lnTo>
                    <a:pt x="517" y="49"/>
                  </a:lnTo>
                  <a:lnTo>
                    <a:pt x="517" y="19"/>
                  </a:lnTo>
                  <a:lnTo>
                    <a:pt x="527" y="10"/>
                  </a:lnTo>
                  <a:lnTo>
                    <a:pt x="537" y="10"/>
                  </a:lnTo>
                  <a:lnTo>
                    <a:pt x="547" y="0"/>
                  </a:lnTo>
                  <a:lnTo>
                    <a:pt x="547" y="19"/>
                  </a:lnTo>
                  <a:lnTo>
                    <a:pt x="556" y="19"/>
                  </a:lnTo>
                  <a:lnTo>
                    <a:pt x="576" y="10"/>
                  </a:lnTo>
                  <a:lnTo>
                    <a:pt x="595" y="10"/>
                  </a:lnTo>
                  <a:lnTo>
                    <a:pt x="605" y="10"/>
                  </a:lnTo>
                  <a:lnTo>
                    <a:pt x="615" y="10"/>
                  </a:lnTo>
                  <a:lnTo>
                    <a:pt x="615" y="29"/>
                  </a:lnTo>
                  <a:lnTo>
                    <a:pt x="605" y="29"/>
                  </a:lnTo>
                  <a:lnTo>
                    <a:pt x="605" y="39"/>
                  </a:lnTo>
                  <a:lnTo>
                    <a:pt x="615" y="39"/>
                  </a:lnTo>
                  <a:lnTo>
                    <a:pt x="615" y="58"/>
                  </a:lnTo>
                  <a:lnTo>
                    <a:pt x="605" y="58"/>
                  </a:lnTo>
                  <a:lnTo>
                    <a:pt x="605" y="68"/>
                  </a:lnTo>
                  <a:lnTo>
                    <a:pt x="605" y="78"/>
                  </a:lnTo>
                  <a:lnTo>
                    <a:pt x="615" y="78"/>
                  </a:lnTo>
                  <a:lnTo>
                    <a:pt x="615" y="88"/>
                  </a:lnTo>
                  <a:lnTo>
                    <a:pt x="625" y="88"/>
                  </a:lnTo>
                  <a:lnTo>
                    <a:pt x="625" y="97"/>
                  </a:lnTo>
                  <a:lnTo>
                    <a:pt x="625" y="107"/>
                  </a:lnTo>
                  <a:lnTo>
                    <a:pt x="615" y="107"/>
                  </a:lnTo>
                  <a:lnTo>
                    <a:pt x="605" y="117"/>
                  </a:lnTo>
                  <a:lnTo>
                    <a:pt x="625" y="117"/>
                  </a:lnTo>
                  <a:lnTo>
                    <a:pt x="634" y="117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25" y="156"/>
                  </a:lnTo>
                  <a:lnTo>
                    <a:pt x="634" y="156"/>
                  </a:lnTo>
                  <a:lnTo>
                    <a:pt x="644" y="156"/>
                  </a:lnTo>
                  <a:lnTo>
                    <a:pt x="634" y="166"/>
                  </a:lnTo>
                  <a:lnTo>
                    <a:pt x="644" y="175"/>
                  </a:lnTo>
                  <a:lnTo>
                    <a:pt x="654" y="175"/>
                  </a:lnTo>
                  <a:lnTo>
                    <a:pt x="644" y="175"/>
                  </a:lnTo>
                  <a:lnTo>
                    <a:pt x="644" y="185"/>
                  </a:lnTo>
                  <a:lnTo>
                    <a:pt x="654" y="195"/>
                  </a:lnTo>
                  <a:lnTo>
                    <a:pt x="644" y="195"/>
                  </a:lnTo>
                  <a:lnTo>
                    <a:pt x="644" y="205"/>
                  </a:lnTo>
                  <a:lnTo>
                    <a:pt x="654" y="205"/>
                  </a:lnTo>
                  <a:lnTo>
                    <a:pt x="654" y="224"/>
                  </a:lnTo>
                  <a:lnTo>
                    <a:pt x="654" y="234"/>
                  </a:lnTo>
                  <a:lnTo>
                    <a:pt x="654" y="244"/>
                  </a:lnTo>
                  <a:lnTo>
                    <a:pt x="654" y="263"/>
                  </a:lnTo>
                  <a:lnTo>
                    <a:pt x="664" y="273"/>
                  </a:lnTo>
                  <a:lnTo>
                    <a:pt x="654" y="273"/>
                  </a:lnTo>
                  <a:lnTo>
                    <a:pt x="664" y="273"/>
                  </a:lnTo>
                  <a:lnTo>
                    <a:pt x="673" y="283"/>
                  </a:lnTo>
                  <a:lnTo>
                    <a:pt x="673" y="293"/>
                  </a:lnTo>
                  <a:lnTo>
                    <a:pt x="683" y="302"/>
                  </a:lnTo>
                  <a:lnTo>
                    <a:pt x="693" y="302"/>
                  </a:lnTo>
                  <a:lnTo>
                    <a:pt x="703" y="312"/>
                  </a:lnTo>
                  <a:lnTo>
                    <a:pt x="703" y="322"/>
                  </a:lnTo>
                  <a:lnTo>
                    <a:pt x="683" y="322"/>
                  </a:lnTo>
                  <a:lnTo>
                    <a:pt x="673" y="322"/>
                  </a:lnTo>
                  <a:lnTo>
                    <a:pt x="654" y="322"/>
                  </a:lnTo>
                  <a:lnTo>
                    <a:pt x="644" y="322"/>
                  </a:lnTo>
                  <a:lnTo>
                    <a:pt x="625" y="322"/>
                  </a:lnTo>
                  <a:lnTo>
                    <a:pt x="615" y="332"/>
                  </a:lnTo>
                  <a:lnTo>
                    <a:pt x="605" y="322"/>
                  </a:lnTo>
                  <a:lnTo>
                    <a:pt x="595" y="332"/>
                  </a:lnTo>
                  <a:lnTo>
                    <a:pt x="595" y="351"/>
                  </a:lnTo>
                  <a:lnTo>
                    <a:pt x="586" y="361"/>
                  </a:lnTo>
                  <a:lnTo>
                    <a:pt x="576" y="371"/>
                  </a:lnTo>
                  <a:lnTo>
                    <a:pt x="566" y="400"/>
                  </a:lnTo>
                  <a:lnTo>
                    <a:pt x="566" y="410"/>
                  </a:lnTo>
                  <a:lnTo>
                    <a:pt x="566" y="429"/>
                  </a:lnTo>
                  <a:lnTo>
                    <a:pt x="566" y="449"/>
                  </a:lnTo>
                  <a:lnTo>
                    <a:pt x="556" y="449"/>
                  </a:lnTo>
                  <a:lnTo>
                    <a:pt x="566" y="45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76" y="507"/>
                  </a:lnTo>
                  <a:lnTo>
                    <a:pt x="586" y="507"/>
                  </a:lnTo>
                  <a:lnTo>
                    <a:pt x="586" y="517"/>
                  </a:lnTo>
                  <a:lnTo>
                    <a:pt x="576" y="527"/>
                  </a:lnTo>
                  <a:lnTo>
                    <a:pt x="566" y="517"/>
                  </a:lnTo>
                  <a:lnTo>
                    <a:pt x="556" y="507"/>
                  </a:lnTo>
                  <a:lnTo>
                    <a:pt x="537" y="497"/>
                  </a:lnTo>
                  <a:lnTo>
                    <a:pt x="527" y="488"/>
                  </a:lnTo>
                  <a:lnTo>
                    <a:pt x="527" y="478"/>
                  </a:lnTo>
                  <a:lnTo>
                    <a:pt x="517" y="478"/>
                  </a:lnTo>
                  <a:lnTo>
                    <a:pt x="517" y="536"/>
                  </a:lnTo>
                  <a:lnTo>
                    <a:pt x="527" y="546"/>
                  </a:lnTo>
                  <a:lnTo>
                    <a:pt x="517" y="556"/>
                  </a:lnTo>
                  <a:lnTo>
                    <a:pt x="527" y="556"/>
                  </a:lnTo>
                  <a:lnTo>
                    <a:pt x="537" y="566"/>
                  </a:lnTo>
                  <a:lnTo>
                    <a:pt x="547" y="576"/>
                  </a:lnTo>
                  <a:lnTo>
                    <a:pt x="547" y="585"/>
                  </a:lnTo>
                  <a:lnTo>
                    <a:pt x="537" y="595"/>
                  </a:lnTo>
                  <a:lnTo>
                    <a:pt x="527" y="585"/>
                  </a:lnTo>
                  <a:lnTo>
                    <a:pt x="508" y="585"/>
                  </a:lnTo>
                  <a:lnTo>
                    <a:pt x="498" y="595"/>
                  </a:lnTo>
                  <a:lnTo>
                    <a:pt x="508" y="605"/>
                  </a:lnTo>
                  <a:lnTo>
                    <a:pt x="498" y="615"/>
                  </a:lnTo>
                  <a:lnTo>
                    <a:pt x="478" y="615"/>
                  </a:lnTo>
                  <a:lnTo>
                    <a:pt x="478" y="624"/>
                  </a:lnTo>
                  <a:lnTo>
                    <a:pt x="498" y="624"/>
                  </a:lnTo>
                  <a:lnTo>
                    <a:pt x="488" y="634"/>
                  </a:lnTo>
                  <a:lnTo>
                    <a:pt x="488" y="644"/>
                  </a:lnTo>
                  <a:lnTo>
                    <a:pt x="488" y="654"/>
                  </a:lnTo>
                  <a:lnTo>
                    <a:pt x="498" y="663"/>
                  </a:lnTo>
                  <a:lnTo>
                    <a:pt x="508" y="663"/>
                  </a:lnTo>
                  <a:lnTo>
                    <a:pt x="508" y="673"/>
                  </a:lnTo>
                  <a:lnTo>
                    <a:pt x="508" y="683"/>
                  </a:lnTo>
                  <a:lnTo>
                    <a:pt x="527" y="683"/>
                  </a:lnTo>
                  <a:lnTo>
                    <a:pt x="537" y="693"/>
                  </a:lnTo>
                  <a:lnTo>
                    <a:pt x="527" y="693"/>
                  </a:lnTo>
                  <a:lnTo>
                    <a:pt x="527" y="702"/>
                  </a:lnTo>
                  <a:lnTo>
                    <a:pt x="547" y="702"/>
                  </a:lnTo>
                  <a:lnTo>
                    <a:pt x="556" y="712"/>
                  </a:lnTo>
                  <a:lnTo>
                    <a:pt x="537" y="712"/>
                  </a:lnTo>
                  <a:lnTo>
                    <a:pt x="537" y="722"/>
                  </a:lnTo>
                  <a:lnTo>
                    <a:pt x="556" y="722"/>
                  </a:lnTo>
                  <a:lnTo>
                    <a:pt x="556" y="732"/>
                  </a:lnTo>
                  <a:lnTo>
                    <a:pt x="556" y="741"/>
                  </a:lnTo>
                  <a:lnTo>
                    <a:pt x="566" y="751"/>
                  </a:lnTo>
                  <a:lnTo>
                    <a:pt x="566" y="761"/>
                  </a:lnTo>
                  <a:lnTo>
                    <a:pt x="566" y="790"/>
                  </a:lnTo>
                  <a:lnTo>
                    <a:pt x="586" y="819"/>
                  </a:lnTo>
                  <a:lnTo>
                    <a:pt x="595" y="829"/>
                  </a:lnTo>
                  <a:lnTo>
                    <a:pt x="605" y="849"/>
                  </a:lnTo>
                  <a:lnTo>
                    <a:pt x="625" y="849"/>
                  </a:lnTo>
                  <a:lnTo>
                    <a:pt x="634" y="849"/>
                  </a:lnTo>
                  <a:lnTo>
                    <a:pt x="644" y="839"/>
                  </a:lnTo>
                  <a:lnTo>
                    <a:pt x="654" y="849"/>
                  </a:lnTo>
                  <a:lnTo>
                    <a:pt x="654" y="839"/>
                  </a:lnTo>
                  <a:lnTo>
                    <a:pt x="654" y="829"/>
                  </a:lnTo>
                  <a:lnTo>
                    <a:pt x="644" y="829"/>
                  </a:lnTo>
                  <a:lnTo>
                    <a:pt x="634" y="810"/>
                  </a:lnTo>
                  <a:lnTo>
                    <a:pt x="644" y="810"/>
                  </a:lnTo>
                  <a:lnTo>
                    <a:pt x="654" y="810"/>
                  </a:lnTo>
                  <a:lnTo>
                    <a:pt x="673" y="790"/>
                  </a:lnTo>
                  <a:lnTo>
                    <a:pt x="683" y="790"/>
                  </a:lnTo>
                  <a:lnTo>
                    <a:pt x="683" y="800"/>
                  </a:lnTo>
                  <a:lnTo>
                    <a:pt x="703" y="810"/>
                  </a:lnTo>
                  <a:lnTo>
                    <a:pt x="703" y="819"/>
                  </a:lnTo>
                  <a:lnTo>
                    <a:pt x="703" y="829"/>
                  </a:lnTo>
                  <a:lnTo>
                    <a:pt x="703" y="849"/>
                  </a:lnTo>
                  <a:lnTo>
                    <a:pt x="683" y="868"/>
                  </a:lnTo>
                  <a:lnTo>
                    <a:pt x="673" y="878"/>
                  </a:lnTo>
                  <a:lnTo>
                    <a:pt x="664" y="888"/>
                  </a:lnTo>
                  <a:lnTo>
                    <a:pt x="664" y="907"/>
                  </a:lnTo>
                  <a:lnTo>
                    <a:pt x="654" y="907"/>
                  </a:lnTo>
                  <a:lnTo>
                    <a:pt x="625" y="917"/>
                  </a:lnTo>
                  <a:lnTo>
                    <a:pt x="605" y="937"/>
                  </a:lnTo>
                  <a:lnTo>
                    <a:pt x="605" y="946"/>
                  </a:lnTo>
                  <a:lnTo>
                    <a:pt x="605" y="956"/>
                  </a:lnTo>
                  <a:lnTo>
                    <a:pt x="615" y="976"/>
                  </a:lnTo>
                  <a:lnTo>
                    <a:pt x="615" y="995"/>
                  </a:lnTo>
                  <a:lnTo>
                    <a:pt x="625" y="1005"/>
                  </a:lnTo>
                  <a:lnTo>
                    <a:pt x="644" y="1015"/>
                  </a:lnTo>
                  <a:lnTo>
                    <a:pt x="644" y="1034"/>
                  </a:lnTo>
                  <a:lnTo>
                    <a:pt x="625" y="1063"/>
                  </a:lnTo>
                  <a:lnTo>
                    <a:pt x="615" y="1093"/>
                  </a:lnTo>
                  <a:lnTo>
                    <a:pt x="605" y="1093"/>
                  </a:lnTo>
                  <a:lnTo>
                    <a:pt x="586" y="1093"/>
                  </a:lnTo>
                  <a:lnTo>
                    <a:pt x="576" y="1102"/>
                  </a:lnTo>
                  <a:lnTo>
                    <a:pt x="576" y="1122"/>
                  </a:lnTo>
                  <a:lnTo>
                    <a:pt x="576" y="1141"/>
                  </a:lnTo>
                  <a:lnTo>
                    <a:pt x="576" y="1151"/>
                  </a:lnTo>
                  <a:lnTo>
                    <a:pt x="586" y="1161"/>
                  </a:lnTo>
                  <a:lnTo>
                    <a:pt x="595" y="1161"/>
                  </a:lnTo>
                  <a:lnTo>
                    <a:pt x="615" y="1151"/>
                  </a:lnTo>
                  <a:lnTo>
                    <a:pt x="634" y="1141"/>
                  </a:lnTo>
                  <a:lnTo>
                    <a:pt x="644" y="1141"/>
                  </a:lnTo>
                  <a:lnTo>
                    <a:pt x="644" y="1210"/>
                  </a:lnTo>
                  <a:lnTo>
                    <a:pt x="625" y="1219"/>
                  </a:lnTo>
                  <a:lnTo>
                    <a:pt x="615" y="1229"/>
                  </a:lnTo>
                  <a:lnTo>
                    <a:pt x="605" y="1239"/>
                  </a:lnTo>
                  <a:lnTo>
                    <a:pt x="595" y="1249"/>
                  </a:lnTo>
                  <a:lnTo>
                    <a:pt x="595" y="1278"/>
                  </a:lnTo>
                  <a:lnTo>
                    <a:pt x="586" y="1288"/>
                  </a:lnTo>
                  <a:lnTo>
                    <a:pt x="566" y="1288"/>
                  </a:lnTo>
                  <a:lnTo>
                    <a:pt x="556" y="1298"/>
                  </a:lnTo>
                  <a:lnTo>
                    <a:pt x="547" y="1307"/>
                  </a:lnTo>
                  <a:lnTo>
                    <a:pt x="527" y="1288"/>
                  </a:lnTo>
                  <a:lnTo>
                    <a:pt x="527" y="1278"/>
                  </a:lnTo>
                  <a:lnTo>
                    <a:pt x="517" y="1258"/>
                  </a:lnTo>
                  <a:lnTo>
                    <a:pt x="508" y="1249"/>
                  </a:lnTo>
                  <a:lnTo>
                    <a:pt x="498" y="1229"/>
                  </a:lnTo>
                  <a:lnTo>
                    <a:pt x="488" y="1210"/>
                  </a:lnTo>
                  <a:lnTo>
                    <a:pt x="488" y="1200"/>
                  </a:lnTo>
                  <a:lnTo>
                    <a:pt x="488" y="1190"/>
                  </a:lnTo>
                  <a:lnTo>
                    <a:pt x="478" y="1171"/>
                  </a:lnTo>
                  <a:lnTo>
                    <a:pt x="468" y="1161"/>
                  </a:lnTo>
                  <a:lnTo>
                    <a:pt x="488" y="1151"/>
                  </a:lnTo>
                  <a:lnTo>
                    <a:pt x="468" y="1141"/>
                  </a:lnTo>
                  <a:lnTo>
                    <a:pt x="468" y="1122"/>
                  </a:lnTo>
                  <a:lnTo>
                    <a:pt x="459" y="1112"/>
                  </a:lnTo>
                  <a:lnTo>
                    <a:pt x="439" y="1102"/>
                  </a:lnTo>
                  <a:lnTo>
                    <a:pt x="429" y="1093"/>
                  </a:lnTo>
                  <a:lnTo>
                    <a:pt x="420" y="1083"/>
                  </a:lnTo>
                  <a:lnTo>
                    <a:pt x="429" y="1083"/>
                  </a:lnTo>
                  <a:lnTo>
                    <a:pt x="439" y="1073"/>
                  </a:lnTo>
                  <a:lnTo>
                    <a:pt x="449" y="1073"/>
                  </a:lnTo>
                  <a:lnTo>
                    <a:pt x="449" y="1054"/>
                  </a:lnTo>
                  <a:lnTo>
                    <a:pt x="439" y="1044"/>
                  </a:lnTo>
                  <a:lnTo>
                    <a:pt x="439" y="1034"/>
                  </a:lnTo>
                  <a:lnTo>
                    <a:pt x="449" y="1024"/>
                  </a:lnTo>
                  <a:lnTo>
                    <a:pt x="459" y="1015"/>
                  </a:lnTo>
                  <a:lnTo>
                    <a:pt x="449" y="995"/>
                  </a:lnTo>
                  <a:lnTo>
                    <a:pt x="449" y="985"/>
                  </a:lnTo>
                  <a:lnTo>
                    <a:pt x="449" y="946"/>
                  </a:lnTo>
                  <a:lnTo>
                    <a:pt x="459" y="937"/>
                  </a:lnTo>
                  <a:lnTo>
                    <a:pt x="449" y="927"/>
                  </a:lnTo>
                  <a:lnTo>
                    <a:pt x="449" y="907"/>
                  </a:lnTo>
                  <a:lnTo>
                    <a:pt x="449" y="897"/>
                  </a:lnTo>
                  <a:lnTo>
                    <a:pt x="449" y="888"/>
                  </a:lnTo>
                  <a:lnTo>
                    <a:pt x="429" y="878"/>
                  </a:lnTo>
                  <a:lnTo>
                    <a:pt x="429" y="868"/>
                  </a:lnTo>
                  <a:lnTo>
                    <a:pt x="420" y="849"/>
                  </a:lnTo>
                  <a:lnTo>
                    <a:pt x="420" y="839"/>
                  </a:lnTo>
                  <a:lnTo>
                    <a:pt x="420" y="819"/>
                  </a:lnTo>
                  <a:lnTo>
                    <a:pt x="420" y="810"/>
                  </a:lnTo>
                  <a:lnTo>
                    <a:pt x="420" y="800"/>
                  </a:lnTo>
                  <a:lnTo>
                    <a:pt x="410" y="780"/>
                  </a:lnTo>
                  <a:lnTo>
                    <a:pt x="410" y="761"/>
                  </a:lnTo>
                  <a:lnTo>
                    <a:pt x="410" y="751"/>
                  </a:lnTo>
                  <a:lnTo>
                    <a:pt x="400" y="741"/>
                  </a:lnTo>
                  <a:lnTo>
                    <a:pt x="400" y="712"/>
                  </a:lnTo>
                  <a:lnTo>
                    <a:pt x="400" y="693"/>
                  </a:lnTo>
                  <a:lnTo>
                    <a:pt x="381" y="673"/>
                  </a:lnTo>
                  <a:lnTo>
                    <a:pt x="371" y="654"/>
                  </a:lnTo>
                  <a:lnTo>
                    <a:pt x="381" y="634"/>
                  </a:lnTo>
                  <a:lnTo>
                    <a:pt x="381" y="624"/>
                  </a:lnTo>
                  <a:lnTo>
                    <a:pt x="381" y="615"/>
                  </a:lnTo>
                  <a:lnTo>
                    <a:pt x="381" y="605"/>
                  </a:lnTo>
                  <a:lnTo>
                    <a:pt x="381" y="595"/>
                  </a:lnTo>
                  <a:lnTo>
                    <a:pt x="390" y="595"/>
                  </a:lnTo>
                  <a:lnTo>
                    <a:pt x="390" y="585"/>
                  </a:lnTo>
                  <a:lnTo>
                    <a:pt x="390" y="566"/>
                  </a:lnTo>
                  <a:lnTo>
                    <a:pt x="371" y="566"/>
                  </a:lnTo>
                  <a:lnTo>
                    <a:pt x="371" y="556"/>
                  </a:lnTo>
                  <a:lnTo>
                    <a:pt x="371" y="546"/>
                  </a:lnTo>
                  <a:lnTo>
                    <a:pt x="371" y="536"/>
                  </a:lnTo>
                  <a:lnTo>
                    <a:pt x="361" y="527"/>
                  </a:lnTo>
                  <a:lnTo>
                    <a:pt x="351" y="527"/>
                  </a:lnTo>
                  <a:lnTo>
                    <a:pt x="342" y="527"/>
                  </a:lnTo>
                  <a:lnTo>
                    <a:pt x="332" y="517"/>
                  </a:lnTo>
                  <a:lnTo>
                    <a:pt x="322" y="517"/>
                  </a:lnTo>
                  <a:lnTo>
                    <a:pt x="322" y="497"/>
                  </a:lnTo>
                  <a:lnTo>
                    <a:pt x="312" y="497"/>
                  </a:lnTo>
                  <a:lnTo>
                    <a:pt x="303" y="488"/>
                  </a:lnTo>
                  <a:lnTo>
                    <a:pt x="293" y="478"/>
                  </a:lnTo>
                  <a:lnTo>
                    <a:pt x="273" y="458"/>
                  </a:lnTo>
                  <a:lnTo>
                    <a:pt x="273" y="449"/>
                  </a:lnTo>
                  <a:lnTo>
                    <a:pt x="273" y="429"/>
                  </a:lnTo>
                  <a:lnTo>
                    <a:pt x="283" y="410"/>
                  </a:lnTo>
                  <a:lnTo>
                    <a:pt x="293" y="410"/>
                  </a:lnTo>
                  <a:lnTo>
                    <a:pt x="293" y="400"/>
                  </a:lnTo>
                  <a:lnTo>
                    <a:pt x="293" y="390"/>
                  </a:lnTo>
                  <a:lnTo>
                    <a:pt x="283" y="400"/>
                  </a:lnTo>
                  <a:lnTo>
                    <a:pt x="273" y="410"/>
                  </a:lnTo>
                  <a:lnTo>
                    <a:pt x="264" y="410"/>
                  </a:lnTo>
                  <a:lnTo>
                    <a:pt x="254" y="410"/>
                  </a:lnTo>
                  <a:lnTo>
                    <a:pt x="244" y="429"/>
                  </a:lnTo>
                  <a:lnTo>
                    <a:pt x="244" y="449"/>
                  </a:lnTo>
                  <a:lnTo>
                    <a:pt x="234" y="458"/>
                  </a:lnTo>
                  <a:lnTo>
                    <a:pt x="225" y="458"/>
                  </a:lnTo>
                  <a:lnTo>
                    <a:pt x="225" y="478"/>
                  </a:lnTo>
                  <a:lnTo>
                    <a:pt x="234" y="488"/>
                  </a:lnTo>
                  <a:lnTo>
                    <a:pt x="244" y="488"/>
                  </a:lnTo>
                  <a:lnTo>
                    <a:pt x="244" y="497"/>
                  </a:lnTo>
                  <a:lnTo>
                    <a:pt x="254" y="507"/>
                  </a:lnTo>
                  <a:lnTo>
                    <a:pt x="264" y="507"/>
                  </a:lnTo>
                  <a:lnTo>
                    <a:pt x="273" y="517"/>
                  </a:lnTo>
                  <a:lnTo>
                    <a:pt x="273" y="527"/>
                  </a:lnTo>
                  <a:lnTo>
                    <a:pt x="283" y="536"/>
                  </a:lnTo>
                  <a:lnTo>
                    <a:pt x="303" y="536"/>
                  </a:lnTo>
                  <a:lnTo>
                    <a:pt x="312" y="536"/>
                  </a:lnTo>
                  <a:lnTo>
                    <a:pt x="312" y="556"/>
                  </a:lnTo>
                  <a:lnTo>
                    <a:pt x="303" y="556"/>
                  </a:lnTo>
                  <a:lnTo>
                    <a:pt x="293" y="556"/>
                  </a:lnTo>
                  <a:lnTo>
                    <a:pt x="283" y="566"/>
                  </a:lnTo>
                  <a:lnTo>
                    <a:pt x="283" y="576"/>
                  </a:lnTo>
                  <a:lnTo>
                    <a:pt x="254" y="556"/>
                  </a:lnTo>
                  <a:lnTo>
                    <a:pt x="264" y="536"/>
                  </a:lnTo>
                  <a:lnTo>
                    <a:pt x="254" y="536"/>
                  </a:lnTo>
                  <a:lnTo>
                    <a:pt x="234" y="536"/>
                  </a:lnTo>
                  <a:lnTo>
                    <a:pt x="234" y="527"/>
                  </a:lnTo>
                  <a:lnTo>
                    <a:pt x="225" y="517"/>
                  </a:lnTo>
                  <a:lnTo>
                    <a:pt x="215" y="497"/>
                  </a:lnTo>
                  <a:lnTo>
                    <a:pt x="195" y="488"/>
                  </a:lnTo>
                  <a:lnTo>
                    <a:pt x="156" y="478"/>
                  </a:lnTo>
                  <a:lnTo>
                    <a:pt x="156" y="449"/>
                  </a:ln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17" y="410"/>
                  </a:lnTo>
                  <a:lnTo>
                    <a:pt x="108" y="410"/>
                  </a:lnTo>
                  <a:lnTo>
                    <a:pt x="98" y="410"/>
                  </a:lnTo>
                  <a:lnTo>
                    <a:pt x="78" y="410"/>
                  </a:lnTo>
                  <a:lnTo>
                    <a:pt x="78" y="400"/>
                  </a:lnTo>
                  <a:lnTo>
                    <a:pt x="78" y="390"/>
                  </a:lnTo>
                  <a:lnTo>
                    <a:pt x="59" y="380"/>
                  </a:lnTo>
                  <a:lnTo>
                    <a:pt x="49" y="380"/>
                  </a:lnTo>
                  <a:lnTo>
                    <a:pt x="59" y="371"/>
                  </a:lnTo>
                  <a:lnTo>
                    <a:pt x="49" y="351"/>
                  </a:lnTo>
                  <a:lnTo>
                    <a:pt x="30" y="351"/>
                  </a:lnTo>
                  <a:lnTo>
                    <a:pt x="20" y="332"/>
                  </a:lnTo>
                  <a:lnTo>
                    <a:pt x="10" y="322"/>
                  </a:lnTo>
                  <a:lnTo>
                    <a:pt x="0" y="312"/>
                  </a:lnTo>
                  <a:lnTo>
                    <a:pt x="20" y="293"/>
                  </a:lnTo>
                  <a:lnTo>
                    <a:pt x="30" y="273"/>
                  </a:lnTo>
                  <a:lnTo>
                    <a:pt x="39" y="263"/>
                  </a:lnTo>
                  <a:lnTo>
                    <a:pt x="59" y="263"/>
                  </a:lnTo>
                  <a:lnTo>
                    <a:pt x="49" y="24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22" name="Group 248"/>
            <p:cNvGrpSpPr>
              <a:grpSpLocks/>
            </p:cNvGrpSpPr>
            <p:nvPr/>
          </p:nvGrpSpPr>
          <p:grpSpPr bwMode="auto">
            <a:xfrm>
              <a:off x="8085" y="888"/>
              <a:ext cx="703" cy="1307"/>
              <a:chOff x="8086" y="888"/>
              <a:chExt cx="703" cy="1307"/>
            </a:xfrm>
          </p:grpSpPr>
          <p:sp>
            <p:nvSpPr>
              <p:cNvPr id="348" name="Freeform 250"/>
              <p:cNvSpPr>
                <a:spLocks/>
              </p:cNvSpPr>
              <p:nvPr/>
            </p:nvSpPr>
            <p:spPr bwMode="auto">
              <a:xfrm>
                <a:off x="8087" y="889"/>
                <a:ext cx="704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  <a:lnTo>
                      <a:pt x="49" y="244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9" name="Freeform 249"/>
              <p:cNvSpPr>
                <a:spLocks/>
              </p:cNvSpPr>
              <p:nvPr/>
            </p:nvSpPr>
            <p:spPr bwMode="auto">
              <a:xfrm>
                <a:off x="8087" y="889"/>
                <a:ext cx="704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3" name="Freeform 247"/>
            <p:cNvSpPr>
              <a:spLocks/>
            </p:cNvSpPr>
            <p:nvPr/>
          </p:nvSpPr>
          <p:spPr bwMode="auto">
            <a:xfrm>
              <a:off x="7607" y="0"/>
              <a:ext cx="1151" cy="1297"/>
            </a:xfrm>
            <a:custGeom>
              <a:avLst/>
              <a:gdLst>
                <a:gd name="T0" fmla="*/ 59 w 1151"/>
                <a:gd name="T1" fmla="*/ 849 h 1298"/>
                <a:gd name="T2" fmla="*/ 117 w 1151"/>
                <a:gd name="T3" fmla="*/ 732 h 1298"/>
                <a:gd name="T4" fmla="*/ 215 w 1151"/>
                <a:gd name="T5" fmla="*/ 722 h 1298"/>
                <a:gd name="T6" fmla="*/ 264 w 1151"/>
                <a:gd name="T7" fmla="*/ 683 h 1298"/>
                <a:gd name="T8" fmla="*/ 195 w 1151"/>
                <a:gd name="T9" fmla="*/ 644 h 1298"/>
                <a:gd name="T10" fmla="*/ 137 w 1151"/>
                <a:gd name="T11" fmla="*/ 624 h 1298"/>
                <a:gd name="T12" fmla="*/ 186 w 1151"/>
                <a:gd name="T13" fmla="*/ 566 h 1298"/>
                <a:gd name="T14" fmla="*/ 234 w 1151"/>
                <a:gd name="T15" fmla="*/ 527 h 1298"/>
                <a:gd name="T16" fmla="*/ 273 w 1151"/>
                <a:gd name="T17" fmla="*/ 439 h 1298"/>
                <a:gd name="T18" fmla="*/ 351 w 1151"/>
                <a:gd name="T19" fmla="*/ 390 h 1298"/>
                <a:gd name="T20" fmla="*/ 400 w 1151"/>
                <a:gd name="T21" fmla="*/ 351 h 1298"/>
                <a:gd name="T22" fmla="*/ 508 w 1151"/>
                <a:gd name="T23" fmla="*/ 293 h 1298"/>
                <a:gd name="T24" fmla="*/ 576 w 1151"/>
                <a:gd name="T25" fmla="*/ 244 h 1298"/>
                <a:gd name="T26" fmla="*/ 644 w 1151"/>
                <a:gd name="T27" fmla="*/ 224 h 1298"/>
                <a:gd name="T28" fmla="*/ 683 w 1151"/>
                <a:gd name="T29" fmla="*/ 205 h 1298"/>
                <a:gd name="T30" fmla="*/ 761 w 1151"/>
                <a:gd name="T31" fmla="*/ 205 h 1298"/>
                <a:gd name="T32" fmla="*/ 810 w 1151"/>
                <a:gd name="T33" fmla="*/ 185 h 1298"/>
                <a:gd name="T34" fmla="*/ 751 w 1151"/>
                <a:gd name="T35" fmla="*/ 176 h 1298"/>
                <a:gd name="T36" fmla="*/ 761 w 1151"/>
                <a:gd name="T37" fmla="*/ 137 h 1298"/>
                <a:gd name="T38" fmla="*/ 771 w 1151"/>
                <a:gd name="T39" fmla="*/ 68 h 1298"/>
                <a:gd name="T40" fmla="*/ 868 w 1151"/>
                <a:gd name="T41" fmla="*/ 29 h 1298"/>
                <a:gd name="T42" fmla="*/ 917 w 1151"/>
                <a:gd name="T43" fmla="*/ 49 h 1298"/>
                <a:gd name="T44" fmla="*/ 927 w 1151"/>
                <a:gd name="T45" fmla="*/ 88 h 1298"/>
                <a:gd name="T46" fmla="*/ 917 w 1151"/>
                <a:gd name="T47" fmla="*/ 146 h 1298"/>
                <a:gd name="T48" fmla="*/ 966 w 1151"/>
                <a:gd name="T49" fmla="*/ 146 h 1298"/>
                <a:gd name="T50" fmla="*/ 1005 w 1151"/>
                <a:gd name="T51" fmla="*/ 185 h 1298"/>
                <a:gd name="T52" fmla="*/ 1064 w 1151"/>
                <a:gd name="T53" fmla="*/ 195 h 1298"/>
                <a:gd name="T54" fmla="*/ 1054 w 1151"/>
                <a:gd name="T55" fmla="*/ 244 h 1298"/>
                <a:gd name="T56" fmla="*/ 976 w 1151"/>
                <a:gd name="T57" fmla="*/ 293 h 1298"/>
                <a:gd name="T58" fmla="*/ 907 w 1151"/>
                <a:gd name="T59" fmla="*/ 312 h 1298"/>
                <a:gd name="T60" fmla="*/ 859 w 1151"/>
                <a:gd name="T61" fmla="*/ 381 h 1298"/>
                <a:gd name="T62" fmla="*/ 781 w 1151"/>
                <a:gd name="T63" fmla="*/ 400 h 1298"/>
                <a:gd name="T64" fmla="*/ 742 w 1151"/>
                <a:gd name="T65" fmla="*/ 420 h 1298"/>
                <a:gd name="T66" fmla="*/ 771 w 1151"/>
                <a:gd name="T67" fmla="*/ 449 h 1298"/>
                <a:gd name="T68" fmla="*/ 820 w 1151"/>
                <a:gd name="T69" fmla="*/ 488 h 1298"/>
                <a:gd name="T70" fmla="*/ 868 w 1151"/>
                <a:gd name="T71" fmla="*/ 517 h 1298"/>
                <a:gd name="T72" fmla="*/ 859 w 1151"/>
                <a:gd name="T73" fmla="*/ 615 h 1298"/>
                <a:gd name="T74" fmla="*/ 800 w 1151"/>
                <a:gd name="T75" fmla="*/ 654 h 1298"/>
                <a:gd name="T76" fmla="*/ 829 w 1151"/>
                <a:gd name="T77" fmla="*/ 644 h 1298"/>
                <a:gd name="T78" fmla="*/ 820 w 1151"/>
                <a:gd name="T79" fmla="*/ 673 h 1298"/>
                <a:gd name="T80" fmla="*/ 849 w 1151"/>
                <a:gd name="T81" fmla="*/ 644 h 1298"/>
                <a:gd name="T82" fmla="*/ 917 w 1151"/>
                <a:gd name="T83" fmla="*/ 605 h 1298"/>
                <a:gd name="T84" fmla="*/ 995 w 1151"/>
                <a:gd name="T85" fmla="*/ 644 h 1298"/>
                <a:gd name="T86" fmla="*/ 1044 w 1151"/>
                <a:gd name="T87" fmla="*/ 615 h 1298"/>
                <a:gd name="T88" fmla="*/ 1112 w 1151"/>
                <a:gd name="T89" fmla="*/ 624 h 1298"/>
                <a:gd name="T90" fmla="*/ 1151 w 1151"/>
                <a:gd name="T91" fmla="*/ 654 h 1298"/>
                <a:gd name="T92" fmla="*/ 1083 w 1151"/>
                <a:gd name="T93" fmla="*/ 722 h 1298"/>
                <a:gd name="T94" fmla="*/ 1064 w 1151"/>
                <a:gd name="T95" fmla="*/ 732 h 1298"/>
                <a:gd name="T96" fmla="*/ 1083 w 1151"/>
                <a:gd name="T97" fmla="*/ 771 h 1298"/>
                <a:gd name="T98" fmla="*/ 1093 w 1151"/>
                <a:gd name="T99" fmla="*/ 868 h 1298"/>
                <a:gd name="T100" fmla="*/ 1025 w 1151"/>
                <a:gd name="T101" fmla="*/ 907 h 1298"/>
                <a:gd name="T102" fmla="*/ 966 w 1151"/>
                <a:gd name="T103" fmla="*/ 976 h 1298"/>
                <a:gd name="T104" fmla="*/ 898 w 1151"/>
                <a:gd name="T105" fmla="*/ 1054 h 1298"/>
                <a:gd name="T106" fmla="*/ 790 w 1151"/>
                <a:gd name="T107" fmla="*/ 1024 h 1298"/>
                <a:gd name="T108" fmla="*/ 654 w 1151"/>
                <a:gd name="T109" fmla="*/ 1044 h 1298"/>
                <a:gd name="T110" fmla="*/ 556 w 1151"/>
                <a:gd name="T111" fmla="*/ 1112 h 1298"/>
                <a:gd name="T112" fmla="*/ 478 w 1151"/>
                <a:gd name="T113" fmla="*/ 1200 h 1298"/>
                <a:gd name="T114" fmla="*/ 381 w 1151"/>
                <a:gd name="T115" fmla="*/ 1268 h 1298"/>
                <a:gd name="T116" fmla="*/ 264 w 1151"/>
                <a:gd name="T117" fmla="*/ 1298 h 1298"/>
                <a:gd name="T118" fmla="*/ 127 w 1151"/>
                <a:gd name="T119" fmla="*/ 1220 h 1298"/>
                <a:gd name="T120" fmla="*/ 49 w 1151"/>
                <a:gd name="T121" fmla="*/ 1112 h 1298"/>
                <a:gd name="T122" fmla="*/ 108 w 1151"/>
                <a:gd name="T123" fmla="*/ 976 h 12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1"/>
                <a:gd name="T187" fmla="*/ 0 h 1298"/>
                <a:gd name="T188" fmla="*/ 1151 w 1151"/>
                <a:gd name="T189" fmla="*/ 1298 h 12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1" h="1298">
                  <a:moveTo>
                    <a:pt x="10" y="937"/>
                  </a:moveTo>
                  <a:lnTo>
                    <a:pt x="10" y="917"/>
                  </a:lnTo>
                  <a:lnTo>
                    <a:pt x="0" y="907"/>
                  </a:lnTo>
                  <a:lnTo>
                    <a:pt x="20" y="878"/>
                  </a:lnTo>
                  <a:lnTo>
                    <a:pt x="30" y="868"/>
                  </a:lnTo>
                  <a:lnTo>
                    <a:pt x="30" y="849"/>
                  </a:lnTo>
                  <a:lnTo>
                    <a:pt x="39" y="849"/>
                  </a:lnTo>
                  <a:lnTo>
                    <a:pt x="59" y="849"/>
                  </a:lnTo>
                  <a:lnTo>
                    <a:pt x="69" y="839"/>
                  </a:lnTo>
                  <a:lnTo>
                    <a:pt x="78" y="820"/>
                  </a:lnTo>
                  <a:lnTo>
                    <a:pt x="88" y="810"/>
                  </a:lnTo>
                  <a:lnTo>
                    <a:pt x="108" y="800"/>
                  </a:lnTo>
                  <a:lnTo>
                    <a:pt x="108" y="790"/>
                  </a:lnTo>
                  <a:lnTo>
                    <a:pt x="117" y="781"/>
                  </a:lnTo>
                  <a:lnTo>
                    <a:pt x="117" y="761"/>
                  </a:lnTo>
                  <a:lnTo>
                    <a:pt x="117" y="732"/>
                  </a:lnTo>
                  <a:lnTo>
                    <a:pt x="117" y="722"/>
                  </a:lnTo>
                  <a:lnTo>
                    <a:pt x="127" y="732"/>
                  </a:lnTo>
                  <a:lnTo>
                    <a:pt x="156" y="732"/>
                  </a:lnTo>
                  <a:lnTo>
                    <a:pt x="166" y="742"/>
                  </a:lnTo>
                  <a:lnTo>
                    <a:pt x="186" y="742"/>
                  </a:lnTo>
                  <a:lnTo>
                    <a:pt x="186" y="732"/>
                  </a:lnTo>
                  <a:lnTo>
                    <a:pt x="195" y="722"/>
                  </a:lnTo>
                  <a:lnTo>
                    <a:pt x="215" y="722"/>
                  </a:lnTo>
                  <a:lnTo>
                    <a:pt x="234" y="722"/>
                  </a:lnTo>
                  <a:lnTo>
                    <a:pt x="244" y="732"/>
                  </a:lnTo>
                  <a:lnTo>
                    <a:pt x="254" y="722"/>
                  </a:lnTo>
                  <a:lnTo>
                    <a:pt x="264" y="722"/>
                  </a:lnTo>
                  <a:lnTo>
                    <a:pt x="264" y="702"/>
                  </a:lnTo>
                  <a:lnTo>
                    <a:pt x="273" y="693"/>
                  </a:lnTo>
                  <a:lnTo>
                    <a:pt x="264" y="683"/>
                  </a:lnTo>
                  <a:lnTo>
                    <a:pt x="254" y="673"/>
                  </a:lnTo>
                  <a:lnTo>
                    <a:pt x="254" y="663"/>
                  </a:lnTo>
                  <a:lnTo>
                    <a:pt x="244" y="663"/>
                  </a:lnTo>
                  <a:lnTo>
                    <a:pt x="244" y="654"/>
                  </a:lnTo>
                  <a:lnTo>
                    <a:pt x="225" y="65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95" y="654"/>
                  </a:lnTo>
                  <a:lnTo>
                    <a:pt x="176" y="654"/>
                  </a:lnTo>
                  <a:lnTo>
                    <a:pt x="176" y="644"/>
                  </a:lnTo>
                  <a:lnTo>
                    <a:pt x="176" y="634"/>
                  </a:lnTo>
                  <a:lnTo>
                    <a:pt x="156" y="624"/>
                  </a:lnTo>
                  <a:lnTo>
                    <a:pt x="137" y="624"/>
                  </a:lnTo>
                  <a:lnTo>
                    <a:pt x="137" y="615"/>
                  </a:lnTo>
                  <a:lnTo>
                    <a:pt x="147" y="605"/>
                  </a:lnTo>
                  <a:lnTo>
                    <a:pt x="156" y="595"/>
                  </a:lnTo>
                  <a:lnTo>
                    <a:pt x="166" y="585"/>
                  </a:lnTo>
                  <a:lnTo>
                    <a:pt x="176" y="585"/>
                  </a:lnTo>
                  <a:lnTo>
                    <a:pt x="176" y="576"/>
                  </a:lnTo>
                  <a:lnTo>
                    <a:pt x="186" y="566"/>
                  </a:lnTo>
                  <a:lnTo>
                    <a:pt x="195" y="546"/>
                  </a:lnTo>
                  <a:lnTo>
                    <a:pt x="205" y="546"/>
                  </a:lnTo>
                  <a:lnTo>
                    <a:pt x="215" y="546"/>
                  </a:lnTo>
                  <a:lnTo>
                    <a:pt x="234" y="546"/>
                  </a:lnTo>
                  <a:lnTo>
                    <a:pt x="234" y="527"/>
                  </a:lnTo>
                  <a:lnTo>
                    <a:pt x="215" y="527"/>
                  </a:lnTo>
                  <a:lnTo>
                    <a:pt x="234" y="527"/>
                  </a:lnTo>
                  <a:lnTo>
                    <a:pt x="234" y="507"/>
                  </a:lnTo>
                  <a:lnTo>
                    <a:pt x="234" y="498"/>
                  </a:lnTo>
                  <a:lnTo>
                    <a:pt x="244" y="478"/>
                  </a:lnTo>
                  <a:lnTo>
                    <a:pt x="254" y="468"/>
                  </a:lnTo>
                  <a:lnTo>
                    <a:pt x="264" y="459"/>
                  </a:lnTo>
                  <a:lnTo>
                    <a:pt x="273" y="449"/>
                  </a:lnTo>
                  <a:lnTo>
                    <a:pt x="273" y="439"/>
                  </a:lnTo>
                  <a:lnTo>
                    <a:pt x="254" y="449"/>
                  </a:lnTo>
                  <a:lnTo>
                    <a:pt x="254" y="439"/>
                  </a:lnTo>
                  <a:lnTo>
                    <a:pt x="264" y="439"/>
                  </a:lnTo>
                  <a:lnTo>
                    <a:pt x="283" y="429"/>
                  </a:lnTo>
                  <a:lnTo>
                    <a:pt x="303" y="420"/>
                  </a:lnTo>
                  <a:lnTo>
                    <a:pt x="312" y="410"/>
                  </a:lnTo>
                  <a:lnTo>
                    <a:pt x="332" y="390"/>
                  </a:lnTo>
                  <a:lnTo>
                    <a:pt x="351" y="390"/>
                  </a:lnTo>
                  <a:lnTo>
                    <a:pt x="351" y="371"/>
                  </a:lnTo>
                  <a:lnTo>
                    <a:pt x="351" y="361"/>
                  </a:lnTo>
                  <a:lnTo>
                    <a:pt x="361" y="361"/>
                  </a:lnTo>
                  <a:lnTo>
                    <a:pt x="381" y="351"/>
                  </a:lnTo>
                  <a:lnTo>
                    <a:pt x="371" y="361"/>
                  </a:lnTo>
                  <a:lnTo>
                    <a:pt x="371" y="371"/>
                  </a:lnTo>
                  <a:lnTo>
                    <a:pt x="381" y="371"/>
                  </a:lnTo>
                  <a:lnTo>
                    <a:pt x="400" y="351"/>
                  </a:lnTo>
                  <a:lnTo>
                    <a:pt x="410" y="341"/>
                  </a:lnTo>
                  <a:lnTo>
                    <a:pt x="430" y="341"/>
                  </a:lnTo>
                  <a:lnTo>
                    <a:pt x="449" y="322"/>
                  </a:lnTo>
                  <a:lnTo>
                    <a:pt x="459" y="312"/>
                  </a:lnTo>
                  <a:lnTo>
                    <a:pt x="469" y="312"/>
                  </a:lnTo>
                  <a:lnTo>
                    <a:pt x="478" y="302"/>
                  </a:lnTo>
                  <a:lnTo>
                    <a:pt x="498" y="302"/>
                  </a:lnTo>
                  <a:lnTo>
                    <a:pt x="508" y="293"/>
                  </a:lnTo>
                  <a:lnTo>
                    <a:pt x="517" y="293"/>
                  </a:lnTo>
                  <a:lnTo>
                    <a:pt x="527" y="283"/>
                  </a:lnTo>
                  <a:lnTo>
                    <a:pt x="537" y="283"/>
                  </a:lnTo>
                  <a:lnTo>
                    <a:pt x="547" y="273"/>
                  </a:lnTo>
                  <a:lnTo>
                    <a:pt x="556" y="273"/>
                  </a:lnTo>
                  <a:lnTo>
                    <a:pt x="556" y="254"/>
                  </a:lnTo>
                  <a:lnTo>
                    <a:pt x="566" y="254"/>
                  </a:lnTo>
                  <a:lnTo>
                    <a:pt x="576" y="244"/>
                  </a:lnTo>
                  <a:lnTo>
                    <a:pt x="586" y="244"/>
                  </a:lnTo>
                  <a:lnTo>
                    <a:pt x="595" y="254"/>
                  </a:lnTo>
                  <a:lnTo>
                    <a:pt x="605" y="244"/>
                  </a:lnTo>
                  <a:lnTo>
                    <a:pt x="615" y="234"/>
                  </a:lnTo>
                  <a:lnTo>
                    <a:pt x="615" y="224"/>
                  </a:lnTo>
                  <a:lnTo>
                    <a:pt x="625" y="224"/>
                  </a:lnTo>
                  <a:lnTo>
                    <a:pt x="634" y="234"/>
                  </a:lnTo>
                  <a:lnTo>
                    <a:pt x="644" y="224"/>
                  </a:lnTo>
                  <a:lnTo>
                    <a:pt x="654" y="224"/>
                  </a:lnTo>
                  <a:lnTo>
                    <a:pt x="644" y="224"/>
                  </a:lnTo>
                  <a:lnTo>
                    <a:pt x="634" y="224"/>
                  </a:lnTo>
                  <a:lnTo>
                    <a:pt x="625" y="215"/>
                  </a:lnTo>
                  <a:lnTo>
                    <a:pt x="634" y="215"/>
                  </a:lnTo>
                  <a:lnTo>
                    <a:pt x="644" y="195"/>
                  </a:lnTo>
                  <a:lnTo>
                    <a:pt x="664" y="195"/>
                  </a:lnTo>
                  <a:lnTo>
                    <a:pt x="683" y="205"/>
                  </a:lnTo>
                  <a:lnTo>
                    <a:pt x="673" y="195"/>
                  </a:lnTo>
                  <a:lnTo>
                    <a:pt x="683" y="185"/>
                  </a:lnTo>
                  <a:lnTo>
                    <a:pt x="703" y="185"/>
                  </a:lnTo>
                  <a:lnTo>
                    <a:pt x="703" y="195"/>
                  </a:lnTo>
                  <a:lnTo>
                    <a:pt x="712" y="205"/>
                  </a:lnTo>
                  <a:lnTo>
                    <a:pt x="732" y="205"/>
                  </a:lnTo>
                  <a:lnTo>
                    <a:pt x="751" y="195"/>
                  </a:lnTo>
                  <a:lnTo>
                    <a:pt x="761" y="205"/>
                  </a:lnTo>
                  <a:lnTo>
                    <a:pt x="761" y="215"/>
                  </a:lnTo>
                  <a:lnTo>
                    <a:pt x="781" y="215"/>
                  </a:lnTo>
                  <a:lnTo>
                    <a:pt x="781" y="205"/>
                  </a:lnTo>
                  <a:lnTo>
                    <a:pt x="800" y="205"/>
                  </a:lnTo>
                  <a:lnTo>
                    <a:pt x="810" y="205"/>
                  </a:lnTo>
                  <a:lnTo>
                    <a:pt x="800" y="205"/>
                  </a:lnTo>
                  <a:lnTo>
                    <a:pt x="800" y="195"/>
                  </a:lnTo>
                  <a:lnTo>
                    <a:pt x="810" y="185"/>
                  </a:lnTo>
                  <a:lnTo>
                    <a:pt x="820" y="195"/>
                  </a:lnTo>
                  <a:lnTo>
                    <a:pt x="820" y="176"/>
                  </a:lnTo>
                  <a:lnTo>
                    <a:pt x="810" y="176"/>
                  </a:lnTo>
                  <a:lnTo>
                    <a:pt x="800" y="185"/>
                  </a:lnTo>
                  <a:lnTo>
                    <a:pt x="790" y="185"/>
                  </a:lnTo>
                  <a:lnTo>
                    <a:pt x="781" y="176"/>
                  </a:lnTo>
                  <a:lnTo>
                    <a:pt x="761" y="176"/>
                  </a:lnTo>
                  <a:lnTo>
                    <a:pt x="751" y="176"/>
                  </a:lnTo>
                  <a:lnTo>
                    <a:pt x="742" y="176"/>
                  </a:lnTo>
                  <a:lnTo>
                    <a:pt x="722" y="185"/>
                  </a:lnTo>
                  <a:lnTo>
                    <a:pt x="722" y="176"/>
                  </a:lnTo>
                  <a:lnTo>
                    <a:pt x="732" y="156"/>
                  </a:lnTo>
                  <a:lnTo>
                    <a:pt x="732" y="146"/>
                  </a:lnTo>
                  <a:lnTo>
                    <a:pt x="742" y="137"/>
                  </a:lnTo>
                  <a:lnTo>
                    <a:pt x="751" y="137"/>
                  </a:lnTo>
                  <a:lnTo>
                    <a:pt x="761" y="137"/>
                  </a:lnTo>
                  <a:lnTo>
                    <a:pt x="761" y="127"/>
                  </a:lnTo>
                  <a:lnTo>
                    <a:pt x="771" y="117"/>
                  </a:lnTo>
                  <a:lnTo>
                    <a:pt x="771" y="107"/>
                  </a:lnTo>
                  <a:lnTo>
                    <a:pt x="761" y="117"/>
                  </a:lnTo>
                  <a:lnTo>
                    <a:pt x="751" y="117"/>
                  </a:lnTo>
                  <a:lnTo>
                    <a:pt x="761" y="98"/>
                  </a:lnTo>
                  <a:lnTo>
                    <a:pt x="771" y="68"/>
                  </a:lnTo>
                  <a:lnTo>
                    <a:pt x="781" y="68"/>
                  </a:lnTo>
                  <a:lnTo>
                    <a:pt x="800" y="68"/>
                  </a:lnTo>
                  <a:lnTo>
                    <a:pt x="810" y="59"/>
                  </a:lnTo>
                  <a:lnTo>
                    <a:pt x="829" y="59"/>
                  </a:lnTo>
                  <a:lnTo>
                    <a:pt x="849" y="49"/>
                  </a:lnTo>
                  <a:lnTo>
                    <a:pt x="859" y="39"/>
                  </a:lnTo>
                  <a:lnTo>
                    <a:pt x="868" y="39"/>
                  </a:lnTo>
                  <a:lnTo>
                    <a:pt x="868" y="29"/>
                  </a:lnTo>
                  <a:lnTo>
                    <a:pt x="878" y="29"/>
                  </a:lnTo>
                  <a:lnTo>
                    <a:pt x="888" y="29"/>
                  </a:lnTo>
                  <a:lnTo>
                    <a:pt x="888" y="20"/>
                  </a:lnTo>
                  <a:lnTo>
                    <a:pt x="888" y="0"/>
                  </a:lnTo>
                  <a:lnTo>
                    <a:pt x="907" y="10"/>
                  </a:lnTo>
                  <a:lnTo>
                    <a:pt x="907" y="29"/>
                  </a:lnTo>
                  <a:lnTo>
                    <a:pt x="907" y="39"/>
                  </a:lnTo>
                  <a:lnTo>
                    <a:pt x="917" y="49"/>
                  </a:lnTo>
                  <a:lnTo>
                    <a:pt x="937" y="59"/>
                  </a:lnTo>
                  <a:lnTo>
                    <a:pt x="946" y="59"/>
                  </a:lnTo>
                  <a:lnTo>
                    <a:pt x="937" y="78"/>
                  </a:lnTo>
                  <a:lnTo>
                    <a:pt x="917" y="88"/>
                  </a:lnTo>
                  <a:lnTo>
                    <a:pt x="927" y="88"/>
                  </a:lnTo>
                  <a:lnTo>
                    <a:pt x="946" y="78"/>
                  </a:lnTo>
                  <a:lnTo>
                    <a:pt x="956" y="88"/>
                  </a:lnTo>
                  <a:lnTo>
                    <a:pt x="946" y="88"/>
                  </a:lnTo>
                  <a:lnTo>
                    <a:pt x="946" y="117"/>
                  </a:lnTo>
                  <a:lnTo>
                    <a:pt x="937" y="127"/>
                  </a:lnTo>
                  <a:lnTo>
                    <a:pt x="927" y="137"/>
                  </a:lnTo>
                  <a:lnTo>
                    <a:pt x="917" y="137"/>
                  </a:lnTo>
                  <a:lnTo>
                    <a:pt x="917" y="146"/>
                  </a:lnTo>
                  <a:lnTo>
                    <a:pt x="917" y="137"/>
                  </a:lnTo>
                  <a:lnTo>
                    <a:pt x="937" y="137"/>
                  </a:lnTo>
                  <a:lnTo>
                    <a:pt x="946" y="146"/>
                  </a:lnTo>
                  <a:lnTo>
                    <a:pt x="946" y="137"/>
                  </a:lnTo>
                  <a:lnTo>
                    <a:pt x="956" y="137"/>
                  </a:lnTo>
                  <a:lnTo>
                    <a:pt x="956" y="156"/>
                  </a:lnTo>
                  <a:lnTo>
                    <a:pt x="966" y="156"/>
                  </a:lnTo>
                  <a:lnTo>
                    <a:pt x="966" y="146"/>
                  </a:lnTo>
                  <a:lnTo>
                    <a:pt x="986" y="146"/>
                  </a:lnTo>
                  <a:lnTo>
                    <a:pt x="1005" y="156"/>
                  </a:lnTo>
                  <a:lnTo>
                    <a:pt x="1005" y="176"/>
                  </a:lnTo>
                  <a:lnTo>
                    <a:pt x="1005" y="185"/>
                  </a:lnTo>
                  <a:lnTo>
                    <a:pt x="995" y="195"/>
                  </a:lnTo>
                  <a:lnTo>
                    <a:pt x="1005" y="205"/>
                  </a:lnTo>
                  <a:lnTo>
                    <a:pt x="1005" y="195"/>
                  </a:lnTo>
                  <a:lnTo>
                    <a:pt x="1005" y="185"/>
                  </a:lnTo>
                  <a:lnTo>
                    <a:pt x="1025" y="195"/>
                  </a:lnTo>
                  <a:lnTo>
                    <a:pt x="1044" y="185"/>
                  </a:lnTo>
                  <a:lnTo>
                    <a:pt x="1044" y="176"/>
                  </a:lnTo>
                  <a:lnTo>
                    <a:pt x="1064" y="176"/>
                  </a:lnTo>
                  <a:lnTo>
                    <a:pt x="1064" y="185"/>
                  </a:lnTo>
                  <a:lnTo>
                    <a:pt x="1044" y="195"/>
                  </a:lnTo>
                  <a:lnTo>
                    <a:pt x="1044" y="205"/>
                  </a:lnTo>
                  <a:lnTo>
                    <a:pt x="1064" y="195"/>
                  </a:lnTo>
                  <a:lnTo>
                    <a:pt x="1064" y="215"/>
                  </a:lnTo>
                  <a:lnTo>
                    <a:pt x="1064" y="224"/>
                  </a:lnTo>
                  <a:lnTo>
                    <a:pt x="1054" y="224"/>
                  </a:lnTo>
                  <a:lnTo>
                    <a:pt x="1044" y="215"/>
                  </a:lnTo>
                  <a:lnTo>
                    <a:pt x="1025" y="224"/>
                  </a:lnTo>
                  <a:lnTo>
                    <a:pt x="1034" y="224"/>
                  </a:lnTo>
                  <a:lnTo>
                    <a:pt x="1044" y="234"/>
                  </a:lnTo>
                  <a:lnTo>
                    <a:pt x="1054" y="244"/>
                  </a:lnTo>
                  <a:lnTo>
                    <a:pt x="1044" y="244"/>
                  </a:lnTo>
                  <a:lnTo>
                    <a:pt x="1034" y="254"/>
                  </a:lnTo>
                  <a:lnTo>
                    <a:pt x="1015" y="254"/>
                  </a:lnTo>
                  <a:lnTo>
                    <a:pt x="1005" y="263"/>
                  </a:lnTo>
                  <a:lnTo>
                    <a:pt x="995" y="273"/>
                  </a:lnTo>
                  <a:lnTo>
                    <a:pt x="976" y="283"/>
                  </a:lnTo>
                  <a:lnTo>
                    <a:pt x="976" y="293"/>
                  </a:lnTo>
                  <a:lnTo>
                    <a:pt x="976" y="302"/>
                  </a:lnTo>
                  <a:lnTo>
                    <a:pt x="966" y="302"/>
                  </a:lnTo>
                  <a:lnTo>
                    <a:pt x="956" y="312"/>
                  </a:lnTo>
                  <a:lnTo>
                    <a:pt x="937" y="322"/>
                  </a:lnTo>
                  <a:lnTo>
                    <a:pt x="927" y="312"/>
                  </a:lnTo>
                  <a:lnTo>
                    <a:pt x="917" y="312"/>
                  </a:lnTo>
                  <a:lnTo>
                    <a:pt x="907" y="312"/>
                  </a:lnTo>
                  <a:lnTo>
                    <a:pt x="898" y="302"/>
                  </a:lnTo>
                  <a:lnTo>
                    <a:pt x="888" y="302"/>
                  </a:lnTo>
                  <a:lnTo>
                    <a:pt x="878" y="312"/>
                  </a:lnTo>
                  <a:lnTo>
                    <a:pt x="868" y="332"/>
                  </a:lnTo>
                  <a:lnTo>
                    <a:pt x="859" y="341"/>
                  </a:lnTo>
                  <a:lnTo>
                    <a:pt x="859" y="351"/>
                  </a:lnTo>
                  <a:lnTo>
                    <a:pt x="859" y="361"/>
                  </a:lnTo>
                  <a:lnTo>
                    <a:pt x="859" y="381"/>
                  </a:lnTo>
                  <a:lnTo>
                    <a:pt x="849" y="400"/>
                  </a:lnTo>
                  <a:lnTo>
                    <a:pt x="839" y="410"/>
                  </a:lnTo>
                  <a:lnTo>
                    <a:pt x="829" y="410"/>
                  </a:lnTo>
                  <a:lnTo>
                    <a:pt x="820" y="410"/>
                  </a:lnTo>
                  <a:lnTo>
                    <a:pt x="810" y="410"/>
                  </a:lnTo>
                  <a:lnTo>
                    <a:pt x="771" y="410"/>
                  </a:lnTo>
                  <a:lnTo>
                    <a:pt x="781" y="400"/>
                  </a:lnTo>
                  <a:lnTo>
                    <a:pt x="771" y="400"/>
                  </a:lnTo>
                  <a:lnTo>
                    <a:pt x="761" y="390"/>
                  </a:lnTo>
                  <a:lnTo>
                    <a:pt x="751" y="381"/>
                  </a:lnTo>
                  <a:lnTo>
                    <a:pt x="751" y="390"/>
                  </a:lnTo>
                  <a:lnTo>
                    <a:pt x="761" y="400"/>
                  </a:lnTo>
                  <a:lnTo>
                    <a:pt x="761" y="410"/>
                  </a:lnTo>
                  <a:lnTo>
                    <a:pt x="751" y="410"/>
                  </a:lnTo>
                  <a:lnTo>
                    <a:pt x="742" y="420"/>
                  </a:lnTo>
                  <a:lnTo>
                    <a:pt x="732" y="429"/>
                  </a:lnTo>
                  <a:lnTo>
                    <a:pt x="742" y="429"/>
                  </a:lnTo>
                  <a:lnTo>
                    <a:pt x="751" y="420"/>
                  </a:lnTo>
                  <a:lnTo>
                    <a:pt x="761" y="429"/>
                  </a:lnTo>
                  <a:lnTo>
                    <a:pt x="761" y="439"/>
                  </a:lnTo>
                  <a:lnTo>
                    <a:pt x="751" y="439"/>
                  </a:lnTo>
                  <a:lnTo>
                    <a:pt x="761" y="449"/>
                  </a:lnTo>
                  <a:lnTo>
                    <a:pt x="771" y="449"/>
                  </a:lnTo>
                  <a:lnTo>
                    <a:pt x="781" y="459"/>
                  </a:lnTo>
                  <a:lnTo>
                    <a:pt x="790" y="459"/>
                  </a:lnTo>
                  <a:lnTo>
                    <a:pt x="810" y="449"/>
                  </a:lnTo>
                  <a:lnTo>
                    <a:pt x="820" y="449"/>
                  </a:lnTo>
                  <a:lnTo>
                    <a:pt x="829" y="459"/>
                  </a:lnTo>
                  <a:lnTo>
                    <a:pt x="829" y="468"/>
                  </a:lnTo>
                  <a:lnTo>
                    <a:pt x="820" y="468"/>
                  </a:lnTo>
                  <a:lnTo>
                    <a:pt x="820" y="488"/>
                  </a:lnTo>
                  <a:lnTo>
                    <a:pt x="829" y="488"/>
                  </a:lnTo>
                  <a:lnTo>
                    <a:pt x="829" y="478"/>
                  </a:lnTo>
                  <a:lnTo>
                    <a:pt x="839" y="468"/>
                  </a:lnTo>
                  <a:lnTo>
                    <a:pt x="849" y="468"/>
                  </a:lnTo>
                  <a:lnTo>
                    <a:pt x="849" y="478"/>
                  </a:lnTo>
                  <a:lnTo>
                    <a:pt x="859" y="488"/>
                  </a:lnTo>
                  <a:lnTo>
                    <a:pt x="859" y="507"/>
                  </a:lnTo>
                  <a:lnTo>
                    <a:pt x="868" y="517"/>
                  </a:lnTo>
                  <a:lnTo>
                    <a:pt x="878" y="527"/>
                  </a:lnTo>
                  <a:lnTo>
                    <a:pt x="878" y="546"/>
                  </a:lnTo>
                  <a:lnTo>
                    <a:pt x="878" y="556"/>
                  </a:lnTo>
                  <a:lnTo>
                    <a:pt x="888" y="585"/>
                  </a:lnTo>
                  <a:lnTo>
                    <a:pt x="878" y="585"/>
                  </a:lnTo>
                  <a:lnTo>
                    <a:pt x="868" y="595"/>
                  </a:lnTo>
                  <a:lnTo>
                    <a:pt x="868" y="605"/>
                  </a:lnTo>
                  <a:lnTo>
                    <a:pt x="859" y="615"/>
                  </a:lnTo>
                  <a:lnTo>
                    <a:pt x="839" y="624"/>
                  </a:lnTo>
                  <a:lnTo>
                    <a:pt x="829" y="624"/>
                  </a:lnTo>
                  <a:lnTo>
                    <a:pt x="810" y="624"/>
                  </a:lnTo>
                  <a:lnTo>
                    <a:pt x="800" y="624"/>
                  </a:lnTo>
                  <a:lnTo>
                    <a:pt x="800" y="644"/>
                  </a:lnTo>
                  <a:lnTo>
                    <a:pt x="800" y="654"/>
                  </a:lnTo>
                  <a:lnTo>
                    <a:pt x="790" y="654"/>
                  </a:lnTo>
                  <a:lnTo>
                    <a:pt x="790" y="663"/>
                  </a:lnTo>
                  <a:lnTo>
                    <a:pt x="800" y="654"/>
                  </a:lnTo>
                  <a:lnTo>
                    <a:pt x="800" y="644"/>
                  </a:lnTo>
                  <a:lnTo>
                    <a:pt x="810" y="634"/>
                  </a:lnTo>
                  <a:lnTo>
                    <a:pt x="820" y="634"/>
                  </a:lnTo>
                  <a:lnTo>
                    <a:pt x="829" y="634"/>
                  </a:lnTo>
                  <a:lnTo>
                    <a:pt x="829" y="644"/>
                  </a:lnTo>
                  <a:lnTo>
                    <a:pt x="829" y="654"/>
                  </a:lnTo>
                  <a:lnTo>
                    <a:pt x="820" y="654"/>
                  </a:lnTo>
                  <a:lnTo>
                    <a:pt x="820" y="663"/>
                  </a:lnTo>
                  <a:lnTo>
                    <a:pt x="810" y="663"/>
                  </a:lnTo>
                  <a:lnTo>
                    <a:pt x="800" y="673"/>
                  </a:lnTo>
                  <a:lnTo>
                    <a:pt x="800" y="683"/>
                  </a:lnTo>
                  <a:lnTo>
                    <a:pt x="820" y="673"/>
                  </a:lnTo>
                  <a:lnTo>
                    <a:pt x="829" y="683"/>
                  </a:lnTo>
                  <a:lnTo>
                    <a:pt x="839" y="683"/>
                  </a:lnTo>
                  <a:lnTo>
                    <a:pt x="839" y="663"/>
                  </a:lnTo>
                  <a:lnTo>
                    <a:pt x="849" y="673"/>
                  </a:lnTo>
                  <a:lnTo>
                    <a:pt x="849" y="663"/>
                  </a:lnTo>
                  <a:lnTo>
                    <a:pt x="849" y="654"/>
                  </a:lnTo>
                  <a:lnTo>
                    <a:pt x="849" y="644"/>
                  </a:lnTo>
                  <a:lnTo>
                    <a:pt x="859" y="634"/>
                  </a:lnTo>
                  <a:lnTo>
                    <a:pt x="868" y="644"/>
                  </a:lnTo>
                  <a:lnTo>
                    <a:pt x="888" y="644"/>
                  </a:lnTo>
                  <a:lnTo>
                    <a:pt x="907" y="634"/>
                  </a:lnTo>
                  <a:lnTo>
                    <a:pt x="917" y="634"/>
                  </a:lnTo>
                  <a:lnTo>
                    <a:pt x="917" y="624"/>
                  </a:lnTo>
                  <a:lnTo>
                    <a:pt x="917" y="615"/>
                  </a:lnTo>
                  <a:lnTo>
                    <a:pt x="917" y="605"/>
                  </a:lnTo>
                  <a:lnTo>
                    <a:pt x="946" y="605"/>
                  </a:lnTo>
                  <a:lnTo>
                    <a:pt x="946" y="624"/>
                  </a:lnTo>
                  <a:lnTo>
                    <a:pt x="956" y="615"/>
                  </a:lnTo>
                  <a:lnTo>
                    <a:pt x="966" y="605"/>
                  </a:lnTo>
                  <a:lnTo>
                    <a:pt x="986" y="615"/>
                  </a:lnTo>
                  <a:lnTo>
                    <a:pt x="995" y="624"/>
                  </a:lnTo>
                  <a:lnTo>
                    <a:pt x="995" y="644"/>
                  </a:lnTo>
                  <a:lnTo>
                    <a:pt x="1005" y="644"/>
                  </a:lnTo>
                  <a:lnTo>
                    <a:pt x="1005" y="634"/>
                  </a:lnTo>
                  <a:lnTo>
                    <a:pt x="1005" y="624"/>
                  </a:lnTo>
                  <a:lnTo>
                    <a:pt x="1005" y="634"/>
                  </a:lnTo>
                  <a:lnTo>
                    <a:pt x="1015" y="634"/>
                  </a:lnTo>
                  <a:lnTo>
                    <a:pt x="1025" y="624"/>
                  </a:lnTo>
                  <a:lnTo>
                    <a:pt x="1034" y="624"/>
                  </a:lnTo>
                  <a:lnTo>
                    <a:pt x="1044" y="615"/>
                  </a:lnTo>
                  <a:lnTo>
                    <a:pt x="1064" y="605"/>
                  </a:lnTo>
                  <a:lnTo>
                    <a:pt x="1073" y="615"/>
                  </a:lnTo>
                  <a:lnTo>
                    <a:pt x="1064" y="634"/>
                  </a:lnTo>
                  <a:lnTo>
                    <a:pt x="1083" y="634"/>
                  </a:lnTo>
                  <a:lnTo>
                    <a:pt x="1083" y="624"/>
                  </a:lnTo>
                  <a:lnTo>
                    <a:pt x="1093" y="624"/>
                  </a:lnTo>
                  <a:lnTo>
                    <a:pt x="1103" y="615"/>
                  </a:lnTo>
                  <a:lnTo>
                    <a:pt x="1112" y="624"/>
                  </a:lnTo>
                  <a:lnTo>
                    <a:pt x="1122" y="624"/>
                  </a:lnTo>
                  <a:lnTo>
                    <a:pt x="1122" y="634"/>
                  </a:lnTo>
                  <a:lnTo>
                    <a:pt x="1132" y="634"/>
                  </a:lnTo>
                  <a:lnTo>
                    <a:pt x="1132" y="644"/>
                  </a:lnTo>
                  <a:lnTo>
                    <a:pt x="1122" y="654"/>
                  </a:lnTo>
                  <a:lnTo>
                    <a:pt x="1142" y="654"/>
                  </a:lnTo>
                  <a:lnTo>
                    <a:pt x="1151" y="654"/>
                  </a:lnTo>
                  <a:lnTo>
                    <a:pt x="1151" y="663"/>
                  </a:lnTo>
                  <a:lnTo>
                    <a:pt x="1142" y="663"/>
                  </a:lnTo>
                  <a:lnTo>
                    <a:pt x="1132" y="683"/>
                  </a:lnTo>
                  <a:lnTo>
                    <a:pt x="1103" y="693"/>
                  </a:lnTo>
                  <a:lnTo>
                    <a:pt x="1103" y="702"/>
                  </a:lnTo>
                  <a:lnTo>
                    <a:pt x="1093" y="712"/>
                  </a:lnTo>
                  <a:lnTo>
                    <a:pt x="1083" y="712"/>
                  </a:lnTo>
                  <a:lnTo>
                    <a:pt x="1083" y="722"/>
                  </a:lnTo>
                  <a:lnTo>
                    <a:pt x="1083" y="732"/>
                  </a:lnTo>
                  <a:lnTo>
                    <a:pt x="1073" y="732"/>
                  </a:lnTo>
                  <a:lnTo>
                    <a:pt x="1064" y="722"/>
                  </a:lnTo>
                  <a:lnTo>
                    <a:pt x="1054" y="722"/>
                  </a:lnTo>
                  <a:lnTo>
                    <a:pt x="1064" y="722"/>
                  </a:lnTo>
                  <a:lnTo>
                    <a:pt x="1064" y="732"/>
                  </a:lnTo>
                  <a:lnTo>
                    <a:pt x="1044" y="732"/>
                  </a:lnTo>
                  <a:lnTo>
                    <a:pt x="1044" y="742"/>
                  </a:lnTo>
                  <a:lnTo>
                    <a:pt x="1064" y="742"/>
                  </a:lnTo>
                  <a:lnTo>
                    <a:pt x="1073" y="742"/>
                  </a:lnTo>
                  <a:lnTo>
                    <a:pt x="1073" y="761"/>
                  </a:lnTo>
                  <a:lnTo>
                    <a:pt x="1073" y="771"/>
                  </a:lnTo>
                  <a:lnTo>
                    <a:pt x="1083" y="771"/>
                  </a:lnTo>
                  <a:lnTo>
                    <a:pt x="1083" y="790"/>
                  </a:lnTo>
                  <a:lnTo>
                    <a:pt x="1083" y="820"/>
                  </a:lnTo>
                  <a:lnTo>
                    <a:pt x="1083" y="839"/>
                  </a:lnTo>
                  <a:lnTo>
                    <a:pt x="1093" y="849"/>
                  </a:lnTo>
                  <a:lnTo>
                    <a:pt x="1083" y="849"/>
                  </a:lnTo>
                  <a:lnTo>
                    <a:pt x="1093" y="859"/>
                  </a:lnTo>
                  <a:lnTo>
                    <a:pt x="1093" y="868"/>
                  </a:lnTo>
                  <a:lnTo>
                    <a:pt x="1093" y="888"/>
                  </a:lnTo>
                  <a:lnTo>
                    <a:pt x="1083" y="888"/>
                  </a:lnTo>
                  <a:lnTo>
                    <a:pt x="1103" y="898"/>
                  </a:lnTo>
                  <a:lnTo>
                    <a:pt x="1083" y="898"/>
                  </a:lnTo>
                  <a:lnTo>
                    <a:pt x="1073" y="898"/>
                  </a:lnTo>
                  <a:lnTo>
                    <a:pt x="1064" y="898"/>
                  </a:lnTo>
                  <a:lnTo>
                    <a:pt x="1034" y="907"/>
                  </a:lnTo>
                  <a:lnTo>
                    <a:pt x="1025" y="907"/>
                  </a:lnTo>
                  <a:lnTo>
                    <a:pt x="1025" y="888"/>
                  </a:lnTo>
                  <a:lnTo>
                    <a:pt x="1015" y="898"/>
                  </a:lnTo>
                  <a:lnTo>
                    <a:pt x="1005" y="898"/>
                  </a:lnTo>
                  <a:lnTo>
                    <a:pt x="1005" y="907"/>
                  </a:lnTo>
                  <a:lnTo>
                    <a:pt x="995" y="937"/>
                  </a:lnTo>
                  <a:lnTo>
                    <a:pt x="995" y="956"/>
                  </a:lnTo>
                  <a:lnTo>
                    <a:pt x="976" y="956"/>
                  </a:lnTo>
                  <a:lnTo>
                    <a:pt x="966" y="976"/>
                  </a:lnTo>
                  <a:lnTo>
                    <a:pt x="966" y="995"/>
                  </a:lnTo>
                  <a:lnTo>
                    <a:pt x="956" y="1015"/>
                  </a:lnTo>
                  <a:lnTo>
                    <a:pt x="956" y="1034"/>
                  </a:lnTo>
                  <a:lnTo>
                    <a:pt x="946" y="1063"/>
                  </a:lnTo>
                  <a:lnTo>
                    <a:pt x="946" y="1073"/>
                  </a:lnTo>
                  <a:lnTo>
                    <a:pt x="927" y="1073"/>
                  </a:lnTo>
                  <a:lnTo>
                    <a:pt x="917" y="1063"/>
                  </a:lnTo>
                  <a:lnTo>
                    <a:pt x="898" y="1054"/>
                  </a:lnTo>
                  <a:lnTo>
                    <a:pt x="878" y="1063"/>
                  </a:lnTo>
                  <a:lnTo>
                    <a:pt x="849" y="1083"/>
                  </a:lnTo>
                  <a:lnTo>
                    <a:pt x="820" y="1093"/>
                  </a:lnTo>
                  <a:lnTo>
                    <a:pt x="820" y="1112"/>
                  </a:lnTo>
                  <a:lnTo>
                    <a:pt x="800" y="1112"/>
                  </a:lnTo>
                  <a:lnTo>
                    <a:pt x="800" y="1083"/>
                  </a:lnTo>
                  <a:lnTo>
                    <a:pt x="790" y="1044"/>
                  </a:lnTo>
                  <a:lnTo>
                    <a:pt x="790" y="1024"/>
                  </a:lnTo>
                  <a:lnTo>
                    <a:pt x="781" y="1015"/>
                  </a:lnTo>
                  <a:lnTo>
                    <a:pt x="751" y="1015"/>
                  </a:lnTo>
                  <a:lnTo>
                    <a:pt x="742" y="1034"/>
                  </a:lnTo>
                  <a:lnTo>
                    <a:pt x="722" y="1034"/>
                  </a:lnTo>
                  <a:lnTo>
                    <a:pt x="693" y="1024"/>
                  </a:lnTo>
                  <a:lnTo>
                    <a:pt x="673" y="1024"/>
                  </a:lnTo>
                  <a:lnTo>
                    <a:pt x="654" y="1034"/>
                  </a:lnTo>
                  <a:lnTo>
                    <a:pt x="654" y="1044"/>
                  </a:lnTo>
                  <a:lnTo>
                    <a:pt x="634" y="1063"/>
                  </a:lnTo>
                  <a:lnTo>
                    <a:pt x="615" y="1063"/>
                  </a:lnTo>
                  <a:lnTo>
                    <a:pt x="615" y="1093"/>
                  </a:lnTo>
                  <a:lnTo>
                    <a:pt x="586" y="1112"/>
                  </a:lnTo>
                  <a:lnTo>
                    <a:pt x="586" y="1132"/>
                  </a:lnTo>
                  <a:lnTo>
                    <a:pt x="566" y="1132"/>
                  </a:lnTo>
                  <a:lnTo>
                    <a:pt x="566" y="1112"/>
                  </a:lnTo>
                  <a:lnTo>
                    <a:pt x="556" y="1112"/>
                  </a:lnTo>
                  <a:lnTo>
                    <a:pt x="556" y="1122"/>
                  </a:lnTo>
                  <a:lnTo>
                    <a:pt x="537" y="1122"/>
                  </a:lnTo>
                  <a:lnTo>
                    <a:pt x="527" y="1132"/>
                  </a:lnTo>
                  <a:lnTo>
                    <a:pt x="537" y="1151"/>
                  </a:lnTo>
                  <a:lnTo>
                    <a:pt x="517" y="1151"/>
                  </a:lnTo>
                  <a:lnTo>
                    <a:pt x="508" y="1161"/>
                  </a:lnTo>
                  <a:lnTo>
                    <a:pt x="498" y="1181"/>
                  </a:lnTo>
                  <a:lnTo>
                    <a:pt x="478" y="1200"/>
                  </a:lnTo>
                  <a:lnTo>
                    <a:pt x="488" y="1210"/>
                  </a:lnTo>
                  <a:lnTo>
                    <a:pt x="498" y="1220"/>
                  </a:lnTo>
                  <a:lnTo>
                    <a:pt x="469" y="1220"/>
                  </a:lnTo>
                  <a:lnTo>
                    <a:pt x="459" y="1229"/>
                  </a:lnTo>
                  <a:lnTo>
                    <a:pt x="430" y="1249"/>
                  </a:lnTo>
                  <a:lnTo>
                    <a:pt x="410" y="1259"/>
                  </a:lnTo>
                  <a:lnTo>
                    <a:pt x="390" y="1259"/>
                  </a:lnTo>
                  <a:lnTo>
                    <a:pt x="381" y="1268"/>
                  </a:lnTo>
                  <a:lnTo>
                    <a:pt x="371" y="1288"/>
                  </a:lnTo>
                  <a:lnTo>
                    <a:pt x="351" y="1288"/>
                  </a:lnTo>
                  <a:lnTo>
                    <a:pt x="342" y="1288"/>
                  </a:lnTo>
                  <a:lnTo>
                    <a:pt x="332" y="1288"/>
                  </a:lnTo>
                  <a:lnTo>
                    <a:pt x="312" y="1298"/>
                  </a:lnTo>
                  <a:lnTo>
                    <a:pt x="303" y="1298"/>
                  </a:lnTo>
                  <a:lnTo>
                    <a:pt x="293" y="1298"/>
                  </a:lnTo>
                  <a:lnTo>
                    <a:pt x="264" y="1298"/>
                  </a:lnTo>
                  <a:lnTo>
                    <a:pt x="244" y="1288"/>
                  </a:lnTo>
                  <a:lnTo>
                    <a:pt x="244" y="1278"/>
                  </a:lnTo>
                  <a:lnTo>
                    <a:pt x="234" y="1268"/>
                  </a:lnTo>
                  <a:lnTo>
                    <a:pt x="186" y="1268"/>
                  </a:lnTo>
                  <a:lnTo>
                    <a:pt x="166" y="1259"/>
                  </a:lnTo>
                  <a:lnTo>
                    <a:pt x="166" y="1239"/>
                  </a:lnTo>
                  <a:lnTo>
                    <a:pt x="156" y="1220"/>
                  </a:lnTo>
                  <a:lnTo>
                    <a:pt x="127" y="1220"/>
                  </a:lnTo>
                  <a:lnTo>
                    <a:pt x="88" y="1220"/>
                  </a:lnTo>
                  <a:lnTo>
                    <a:pt x="59" y="1220"/>
                  </a:lnTo>
                  <a:lnTo>
                    <a:pt x="49" y="1200"/>
                  </a:lnTo>
                  <a:lnTo>
                    <a:pt x="49" y="1181"/>
                  </a:lnTo>
                  <a:lnTo>
                    <a:pt x="39" y="1171"/>
                  </a:lnTo>
                  <a:lnTo>
                    <a:pt x="39" y="1161"/>
                  </a:lnTo>
                  <a:lnTo>
                    <a:pt x="39" y="1142"/>
                  </a:lnTo>
                  <a:lnTo>
                    <a:pt x="49" y="1112"/>
                  </a:lnTo>
                  <a:lnTo>
                    <a:pt x="69" y="1103"/>
                  </a:lnTo>
                  <a:lnTo>
                    <a:pt x="69" y="1093"/>
                  </a:lnTo>
                  <a:lnTo>
                    <a:pt x="88" y="1073"/>
                  </a:lnTo>
                  <a:lnTo>
                    <a:pt x="88" y="1044"/>
                  </a:lnTo>
                  <a:lnTo>
                    <a:pt x="88" y="1034"/>
                  </a:lnTo>
                  <a:lnTo>
                    <a:pt x="108" y="1005"/>
                  </a:lnTo>
                  <a:lnTo>
                    <a:pt x="117" y="995"/>
                  </a:lnTo>
                  <a:lnTo>
                    <a:pt x="108" y="976"/>
                  </a:lnTo>
                  <a:lnTo>
                    <a:pt x="98" y="976"/>
                  </a:lnTo>
                  <a:lnTo>
                    <a:pt x="78" y="976"/>
                  </a:lnTo>
                  <a:lnTo>
                    <a:pt x="78" y="956"/>
                  </a:lnTo>
                  <a:lnTo>
                    <a:pt x="49" y="946"/>
                  </a:lnTo>
                  <a:lnTo>
                    <a:pt x="49" y="937"/>
                  </a:lnTo>
                  <a:lnTo>
                    <a:pt x="30" y="927"/>
                  </a:lnTo>
                  <a:lnTo>
                    <a:pt x="10" y="93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24" name="Group 244"/>
            <p:cNvGrpSpPr>
              <a:grpSpLocks/>
            </p:cNvGrpSpPr>
            <p:nvPr/>
          </p:nvGrpSpPr>
          <p:grpSpPr bwMode="auto">
            <a:xfrm>
              <a:off x="7607" y="0"/>
              <a:ext cx="1151" cy="1298"/>
              <a:chOff x="7608" y="0"/>
              <a:chExt cx="1151" cy="1298"/>
            </a:xfrm>
          </p:grpSpPr>
          <p:sp>
            <p:nvSpPr>
              <p:cNvPr id="346" name="Freeform 246"/>
              <p:cNvSpPr>
                <a:spLocks/>
              </p:cNvSpPr>
              <p:nvPr/>
            </p:nvSpPr>
            <p:spPr bwMode="auto">
              <a:xfrm>
                <a:off x="7608" y="0"/>
                <a:ext cx="1151" cy="1297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  <a:lnTo>
                      <a:pt x="10" y="937"/>
                    </a:lnTo>
                    <a:close/>
                  </a:path>
                </a:pathLst>
              </a:custGeom>
              <a:solidFill>
                <a:srgbClr val="FEE95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7" name="Freeform 245"/>
              <p:cNvSpPr>
                <a:spLocks/>
              </p:cNvSpPr>
              <p:nvPr/>
            </p:nvSpPr>
            <p:spPr bwMode="auto">
              <a:xfrm>
                <a:off x="7608" y="0"/>
                <a:ext cx="1151" cy="1297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5" name="Freeform 243"/>
            <p:cNvSpPr>
              <a:spLocks/>
            </p:cNvSpPr>
            <p:nvPr/>
          </p:nvSpPr>
          <p:spPr bwMode="auto">
            <a:xfrm>
              <a:off x="8613" y="158"/>
              <a:ext cx="19" cy="19"/>
            </a:xfrm>
            <a:custGeom>
              <a:avLst/>
              <a:gdLst>
                <a:gd name="T0" fmla="*/ 0 w 20"/>
                <a:gd name="T1" fmla="*/ 0 h 20"/>
                <a:gd name="T2" fmla="*/ 10 w 20"/>
                <a:gd name="T3" fmla="*/ 0 h 20"/>
                <a:gd name="T4" fmla="*/ 20 w 20"/>
                <a:gd name="T5" fmla="*/ 0 h 20"/>
                <a:gd name="T6" fmla="*/ 20 w 20"/>
                <a:gd name="T7" fmla="*/ 20 h 20"/>
                <a:gd name="T8" fmla="*/ 20 w 20"/>
                <a:gd name="T9" fmla="*/ 20 h 20"/>
                <a:gd name="T10" fmla="*/ 0 w 20"/>
                <a:gd name="T11" fmla="*/ 20 h 20"/>
                <a:gd name="T12" fmla="*/ 0 w 20"/>
                <a:gd name="T13" fmla="*/ 10 h 20"/>
                <a:gd name="T14" fmla="*/ 0 w 20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0"/>
                <a:gd name="T26" fmla="*/ 20 w 20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0">
                  <a:moveTo>
                    <a:pt x="0" y="0"/>
                  </a:moveTo>
                  <a:lnTo>
                    <a:pt x="10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26" name="Group 240"/>
            <p:cNvGrpSpPr>
              <a:grpSpLocks/>
            </p:cNvGrpSpPr>
            <p:nvPr/>
          </p:nvGrpSpPr>
          <p:grpSpPr bwMode="auto">
            <a:xfrm>
              <a:off x="8612" y="156"/>
              <a:ext cx="20" cy="20"/>
              <a:chOff x="8613" y="156"/>
              <a:chExt cx="20" cy="20"/>
            </a:xfrm>
          </p:grpSpPr>
          <p:sp>
            <p:nvSpPr>
              <p:cNvPr id="344" name="Freeform 242"/>
              <p:cNvSpPr>
                <a:spLocks/>
              </p:cNvSpPr>
              <p:nvPr/>
            </p:nvSpPr>
            <p:spPr bwMode="auto">
              <a:xfrm>
                <a:off x="8614" y="155"/>
                <a:ext cx="19" cy="21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5" name="Freeform 241"/>
              <p:cNvSpPr>
                <a:spLocks/>
              </p:cNvSpPr>
              <p:nvPr/>
            </p:nvSpPr>
            <p:spPr bwMode="auto">
              <a:xfrm>
                <a:off x="8614" y="155"/>
                <a:ext cx="19" cy="21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 239"/>
            <p:cNvSpPr>
              <a:spLocks/>
            </p:cNvSpPr>
            <p:nvPr/>
          </p:nvSpPr>
          <p:spPr bwMode="auto">
            <a:xfrm>
              <a:off x="760" y="2654"/>
              <a:ext cx="138" cy="186"/>
            </a:xfrm>
            <a:custGeom>
              <a:avLst/>
              <a:gdLst>
                <a:gd name="T0" fmla="*/ 49 w 136"/>
                <a:gd name="T1" fmla="*/ 136 h 185"/>
                <a:gd name="T2" fmla="*/ 58 w 136"/>
                <a:gd name="T3" fmla="*/ 127 h 185"/>
                <a:gd name="T4" fmla="*/ 68 w 136"/>
                <a:gd name="T5" fmla="*/ 117 h 185"/>
                <a:gd name="T6" fmla="*/ 88 w 136"/>
                <a:gd name="T7" fmla="*/ 107 h 185"/>
                <a:gd name="T8" fmla="*/ 97 w 136"/>
                <a:gd name="T9" fmla="*/ 97 h 185"/>
                <a:gd name="T10" fmla="*/ 97 w 136"/>
                <a:gd name="T11" fmla="*/ 88 h 185"/>
                <a:gd name="T12" fmla="*/ 97 w 136"/>
                <a:gd name="T13" fmla="*/ 78 h 185"/>
                <a:gd name="T14" fmla="*/ 78 w 136"/>
                <a:gd name="T15" fmla="*/ 49 h 185"/>
                <a:gd name="T16" fmla="*/ 68 w 136"/>
                <a:gd name="T17" fmla="*/ 49 h 185"/>
                <a:gd name="T18" fmla="*/ 58 w 136"/>
                <a:gd name="T19" fmla="*/ 39 h 185"/>
                <a:gd name="T20" fmla="*/ 49 w 136"/>
                <a:gd name="T21" fmla="*/ 29 h 185"/>
                <a:gd name="T22" fmla="*/ 49 w 136"/>
                <a:gd name="T23" fmla="*/ 19 h 185"/>
                <a:gd name="T24" fmla="*/ 39 w 136"/>
                <a:gd name="T25" fmla="*/ 10 h 185"/>
                <a:gd name="T26" fmla="*/ 49 w 136"/>
                <a:gd name="T27" fmla="*/ 0 h 185"/>
                <a:gd name="T28" fmla="*/ 49 w 136"/>
                <a:gd name="T29" fmla="*/ 10 h 185"/>
                <a:gd name="T30" fmla="*/ 68 w 136"/>
                <a:gd name="T31" fmla="*/ 29 h 185"/>
                <a:gd name="T32" fmla="*/ 78 w 136"/>
                <a:gd name="T33" fmla="*/ 39 h 185"/>
                <a:gd name="T34" fmla="*/ 88 w 136"/>
                <a:gd name="T35" fmla="*/ 49 h 185"/>
                <a:gd name="T36" fmla="*/ 107 w 136"/>
                <a:gd name="T37" fmla="*/ 49 h 185"/>
                <a:gd name="T38" fmla="*/ 117 w 136"/>
                <a:gd name="T39" fmla="*/ 49 h 185"/>
                <a:gd name="T40" fmla="*/ 117 w 136"/>
                <a:gd name="T41" fmla="*/ 68 h 185"/>
                <a:gd name="T42" fmla="*/ 136 w 136"/>
                <a:gd name="T43" fmla="*/ 97 h 185"/>
                <a:gd name="T44" fmla="*/ 127 w 136"/>
                <a:gd name="T45" fmla="*/ 117 h 185"/>
                <a:gd name="T46" fmla="*/ 127 w 136"/>
                <a:gd name="T47" fmla="*/ 127 h 185"/>
                <a:gd name="T48" fmla="*/ 127 w 136"/>
                <a:gd name="T49" fmla="*/ 146 h 185"/>
                <a:gd name="T50" fmla="*/ 107 w 136"/>
                <a:gd name="T51" fmla="*/ 166 h 185"/>
                <a:gd name="T52" fmla="*/ 97 w 136"/>
                <a:gd name="T53" fmla="*/ 175 h 185"/>
                <a:gd name="T54" fmla="*/ 88 w 136"/>
                <a:gd name="T55" fmla="*/ 175 h 185"/>
                <a:gd name="T56" fmla="*/ 88 w 136"/>
                <a:gd name="T57" fmla="*/ 166 h 185"/>
                <a:gd name="T58" fmla="*/ 88 w 136"/>
                <a:gd name="T59" fmla="*/ 156 h 185"/>
                <a:gd name="T60" fmla="*/ 97 w 136"/>
                <a:gd name="T61" fmla="*/ 146 h 185"/>
                <a:gd name="T62" fmla="*/ 107 w 136"/>
                <a:gd name="T63" fmla="*/ 136 h 185"/>
                <a:gd name="T64" fmla="*/ 97 w 136"/>
                <a:gd name="T65" fmla="*/ 136 h 185"/>
                <a:gd name="T66" fmla="*/ 88 w 136"/>
                <a:gd name="T67" fmla="*/ 136 h 185"/>
                <a:gd name="T68" fmla="*/ 78 w 136"/>
                <a:gd name="T69" fmla="*/ 146 h 185"/>
                <a:gd name="T70" fmla="*/ 68 w 136"/>
                <a:gd name="T71" fmla="*/ 156 h 185"/>
                <a:gd name="T72" fmla="*/ 49 w 136"/>
                <a:gd name="T73" fmla="*/ 175 h 185"/>
                <a:gd name="T74" fmla="*/ 39 w 136"/>
                <a:gd name="T75" fmla="*/ 185 h 185"/>
                <a:gd name="T76" fmla="*/ 29 w 136"/>
                <a:gd name="T77" fmla="*/ 185 h 185"/>
                <a:gd name="T78" fmla="*/ 19 w 136"/>
                <a:gd name="T79" fmla="*/ 175 h 185"/>
                <a:gd name="T80" fmla="*/ 19 w 136"/>
                <a:gd name="T81" fmla="*/ 175 h 185"/>
                <a:gd name="T82" fmla="*/ 10 w 136"/>
                <a:gd name="T83" fmla="*/ 166 h 185"/>
                <a:gd name="T84" fmla="*/ 0 w 136"/>
                <a:gd name="T85" fmla="*/ 156 h 185"/>
                <a:gd name="T86" fmla="*/ 0 w 136"/>
                <a:gd name="T87" fmla="*/ 146 h 185"/>
                <a:gd name="T88" fmla="*/ 19 w 136"/>
                <a:gd name="T89" fmla="*/ 136 h 185"/>
                <a:gd name="T90" fmla="*/ 29 w 136"/>
                <a:gd name="T91" fmla="*/ 136 h 185"/>
                <a:gd name="T92" fmla="*/ 29 w 136"/>
                <a:gd name="T93" fmla="*/ 136 h 185"/>
                <a:gd name="T94" fmla="*/ 39 w 136"/>
                <a:gd name="T95" fmla="*/ 146 h 185"/>
                <a:gd name="T96" fmla="*/ 49 w 136"/>
                <a:gd name="T97" fmla="*/ 146 h 185"/>
                <a:gd name="T98" fmla="*/ 49 w 136"/>
                <a:gd name="T99" fmla="*/ 136 h 1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6"/>
                <a:gd name="T151" fmla="*/ 0 h 185"/>
                <a:gd name="T152" fmla="*/ 136 w 136"/>
                <a:gd name="T153" fmla="*/ 185 h 1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6" h="185">
                  <a:moveTo>
                    <a:pt x="49" y="136"/>
                  </a:moveTo>
                  <a:lnTo>
                    <a:pt x="58" y="127"/>
                  </a:lnTo>
                  <a:lnTo>
                    <a:pt x="68" y="117"/>
                  </a:lnTo>
                  <a:lnTo>
                    <a:pt x="88" y="107"/>
                  </a:lnTo>
                  <a:lnTo>
                    <a:pt x="97" y="97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78" y="49"/>
                  </a:lnTo>
                  <a:lnTo>
                    <a:pt x="68" y="49"/>
                  </a:lnTo>
                  <a:lnTo>
                    <a:pt x="58" y="39"/>
                  </a:lnTo>
                  <a:lnTo>
                    <a:pt x="49" y="29"/>
                  </a:lnTo>
                  <a:lnTo>
                    <a:pt x="49" y="19"/>
                  </a:lnTo>
                  <a:lnTo>
                    <a:pt x="39" y="10"/>
                  </a:lnTo>
                  <a:lnTo>
                    <a:pt x="49" y="0"/>
                  </a:lnTo>
                  <a:lnTo>
                    <a:pt x="49" y="10"/>
                  </a:lnTo>
                  <a:lnTo>
                    <a:pt x="68" y="29"/>
                  </a:lnTo>
                  <a:lnTo>
                    <a:pt x="78" y="39"/>
                  </a:lnTo>
                  <a:lnTo>
                    <a:pt x="88" y="49"/>
                  </a:lnTo>
                  <a:lnTo>
                    <a:pt x="107" y="49"/>
                  </a:lnTo>
                  <a:lnTo>
                    <a:pt x="117" y="49"/>
                  </a:lnTo>
                  <a:lnTo>
                    <a:pt x="117" y="68"/>
                  </a:lnTo>
                  <a:lnTo>
                    <a:pt x="136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27" y="146"/>
                  </a:lnTo>
                  <a:lnTo>
                    <a:pt x="107" y="166"/>
                  </a:lnTo>
                  <a:lnTo>
                    <a:pt x="97" y="175"/>
                  </a:lnTo>
                  <a:lnTo>
                    <a:pt x="88" y="175"/>
                  </a:lnTo>
                  <a:lnTo>
                    <a:pt x="88" y="166"/>
                  </a:lnTo>
                  <a:lnTo>
                    <a:pt x="88" y="156"/>
                  </a:lnTo>
                  <a:lnTo>
                    <a:pt x="97" y="146"/>
                  </a:lnTo>
                  <a:lnTo>
                    <a:pt x="107" y="136"/>
                  </a:lnTo>
                  <a:lnTo>
                    <a:pt x="97" y="136"/>
                  </a:lnTo>
                  <a:lnTo>
                    <a:pt x="88" y="136"/>
                  </a:lnTo>
                  <a:lnTo>
                    <a:pt x="78" y="146"/>
                  </a:lnTo>
                  <a:lnTo>
                    <a:pt x="68" y="156"/>
                  </a:lnTo>
                  <a:lnTo>
                    <a:pt x="49" y="175"/>
                  </a:lnTo>
                  <a:lnTo>
                    <a:pt x="39" y="185"/>
                  </a:lnTo>
                  <a:lnTo>
                    <a:pt x="29" y="185"/>
                  </a:lnTo>
                  <a:lnTo>
                    <a:pt x="19" y="175"/>
                  </a:lnTo>
                  <a:lnTo>
                    <a:pt x="10" y="166"/>
                  </a:lnTo>
                  <a:lnTo>
                    <a:pt x="0" y="156"/>
                  </a:lnTo>
                  <a:lnTo>
                    <a:pt x="0" y="146"/>
                  </a:lnTo>
                  <a:lnTo>
                    <a:pt x="19" y="136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46"/>
                  </a:lnTo>
                  <a:lnTo>
                    <a:pt x="49" y="13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28" name="Group 236"/>
            <p:cNvGrpSpPr>
              <a:grpSpLocks/>
            </p:cNvGrpSpPr>
            <p:nvPr/>
          </p:nvGrpSpPr>
          <p:grpSpPr bwMode="auto">
            <a:xfrm>
              <a:off x="761" y="2654"/>
              <a:ext cx="136" cy="185"/>
              <a:chOff x="761" y="2654"/>
              <a:chExt cx="136" cy="185"/>
            </a:xfrm>
          </p:grpSpPr>
          <p:sp>
            <p:nvSpPr>
              <p:cNvPr id="342" name="Freeform 238"/>
              <p:cNvSpPr>
                <a:spLocks/>
              </p:cNvSpPr>
              <p:nvPr/>
            </p:nvSpPr>
            <p:spPr bwMode="auto">
              <a:xfrm>
                <a:off x="763" y="2654"/>
                <a:ext cx="135" cy="186"/>
              </a:xfrm>
              <a:custGeom>
                <a:avLst/>
                <a:gdLst>
                  <a:gd name="T0" fmla="*/ 49 w 136"/>
                  <a:gd name="T1" fmla="*/ 136 h 185"/>
                  <a:gd name="T2" fmla="*/ 58 w 136"/>
                  <a:gd name="T3" fmla="*/ 127 h 185"/>
                  <a:gd name="T4" fmla="*/ 68 w 136"/>
                  <a:gd name="T5" fmla="*/ 117 h 185"/>
                  <a:gd name="T6" fmla="*/ 88 w 136"/>
                  <a:gd name="T7" fmla="*/ 107 h 185"/>
                  <a:gd name="T8" fmla="*/ 97 w 136"/>
                  <a:gd name="T9" fmla="*/ 97 h 185"/>
                  <a:gd name="T10" fmla="*/ 97 w 136"/>
                  <a:gd name="T11" fmla="*/ 88 h 185"/>
                  <a:gd name="T12" fmla="*/ 97 w 136"/>
                  <a:gd name="T13" fmla="*/ 78 h 185"/>
                  <a:gd name="T14" fmla="*/ 78 w 136"/>
                  <a:gd name="T15" fmla="*/ 49 h 185"/>
                  <a:gd name="T16" fmla="*/ 68 w 136"/>
                  <a:gd name="T17" fmla="*/ 49 h 185"/>
                  <a:gd name="T18" fmla="*/ 58 w 136"/>
                  <a:gd name="T19" fmla="*/ 39 h 185"/>
                  <a:gd name="T20" fmla="*/ 49 w 136"/>
                  <a:gd name="T21" fmla="*/ 29 h 185"/>
                  <a:gd name="T22" fmla="*/ 49 w 136"/>
                  <a:gd name="T23" fmla="*/ 19 h 185"/>
                  <a:gd name="T24" fmla="*/ 39 w 136"/>
                  <a:gd name="T25" fmla="*/ 10 h 185"/>
                  <a:gd name="T26" fmla="*/ 49 w 136"/>
                  <a:gd name="T27" fmla="*/ 0 h 185"/>
                  <a:gd name="T28" fmla="*/ 49 w 136"/>
                  <a:gd name="T29" fmla="*/ 10 h 185"/>
                  <a:gd name="T30" fmla="*/ 68 w 136"/>
                  <a:gd name="T31" fmla="*/ 29 h 185"/>
                  <a:gd name="T32" fmla="*/ 78 w 136"/>
                  <a:gd name="T33" fmla="*/ 39 h 185"/>
                  <a:gd name="T34" fmla="*/ 88 w 136"/>
                  <a:gd name="T35" fmla="*/ 49 h 185"/>
                  <a:gd name="T36" fmla="*/ 107 w 136"/>
                  <a:gd name="T37" fmla="*/ 49 h 185"/>
                  <a:gd name="T38" fmla="*/ 117 w 136"/>
                  <a:gd name="T39" fmla="*/ 49 h 185"/>
                  <a:gd name="T40" fmla="*/ 117 w 136"/>
                  <a:gd name="T41" fmla="*/ 68 h 185"/>
                  <a:gd name="T42" fmla="*/ 136 w 136"/>
                  <a:gd name="T43" fmla="*/ 97 h 185"/>
                  <a:gd name="T44" fmla="*/ 127 w 136"/>
                  <a:gd name="T45" fmla="*/ 117 h 185"/>
                  <a:gd name="T46" fmla="*/ 127 w 136"/>
                  <a:gd name="T47" fmla="*/ 127 h 185"/>
                  <a:gd name="T48" fmla="*/ 127 w 136"/>
                  <a:gd name="T49" fmla="*/ 146 h 185"/>
                  <a:gd name="T50" fmla="*/ 107 w 136"/>
                  <a:gd name="T51" fmla="*/ 166 h 185"/>
                  <a:gd name="T52" fmla="*/ 97 w 136"/>
                  <a:gd name="T53" fmla="*/ 175 h 185"/>
                  <a:gd name="T54" fmla="*/ 88 w 136"/>
                  <a:gd name="T55" fmla="*/ 175 h 185"/>
                  <a:gd name="T56" fmla="*/ 88 w 136"/>
                  <a:gd name="T57" fmla="*/ 166 h 185"/>
                  <a:gd name="T58" fmla="*/ 88 w 136"/>
                  <a:gd name="T59" fmla="*/ 156 h 185"/>
                  <a:gd name="T60" fmla="*/ 97 w 136"/>
                  <a:gd name="T61" fmla="*/ 146 h 185"/>
                  <a:gd name="T62" fmla="*/ 107 w 136"/>
                  <a:gd name="T63" fmla="*/ 136 h 185"/>
                  <a:gd name="T64" fmla="*/ 97 w 136"/>
                  <a:gd name="T65" fmla="*/ 136 h 185"/>
                  <a:gd name="T66" fmla="*/ 88 w 136"/>
                  <a:gd name="T67" fmla="*/ 136 h 185"/>
                  <a:gd name="T68" fmla="*/ 78 w 136"/>
                  <a:gd name="T69" fmla="*/ 146 h 185"/>
                  <a:gd name="T70" fmla="*/ 68 w 136"/>
                  <a:gd name="T71" fmla="*/ 156 h 185"/>
                  <a:gd name="T72" fmla="*/ 49 w 136"/>
                  <a:gd name="T73" fmla="*/ 175 h 185"/>
                  <a:gd name="T74" fmla="*/ 29 w 136"/>
                  <a:gd name="T75" fmla="*/ 185 h 185"/>
                  <a:gd name="T76" fmla="*/ 29 w 136"/>
                  <a:gd name="T77" fmla="*/ 185 h 185"/>
                  <a:gd name="T78" fmla="*/ 19 w 136"/>
                  <a:gd name="T79" fmla="*/ 175 h 185"/>
                  <a:gd name="T80" fmla="*/ 19 w 136"/>
                  <a:gd name="T81" fmla="*/ 175 h 185"/>
                  <a:gd name="T82" fmla="*/ 10 w 136"/>
                  <a:gd name="T83" fmla="*/ 166 h 185"/>
                  <a:gd name="T84" fmla="*/ 0 w 136"/>
                  <a:gd name="T85" fmla="*/ 156 h 185"/>
                  <a:gd name="T86" fmla="*/ 0 w 136"/>
                  <a:gd name="T87" fmla="*/ 146 h 185"/>
                  <a:gd name="T88" fmla="*/ 19 w 136"/>
                  <a:gd name="T89" fmla="*/ 136 h 185"/>
                  <a:gd name="T90" fmla="*/ 29 w 136"/>
                  <a:gd name="T91" fmla="*/ 136 h 185"/>
                  <a:gd name="T92" fmla="*/ 29 w 136"/>
                  <a:gd name="T93" fmla="*/ 136 h 185"/>
                  <a:gd name="T94" fmla="*/ 39 w 136"/>
                  <a:gd name="T95" fmla="*/ 146 h 185"/>
                  <a:gd name="T96" fmla="*/ 49 w 136"/>
                  <a:gd name="T97" fmla="*/ 146 h 185"/>
                  <a:gd name="T98" fmla="*/ 49 w 136"/>
                  <a:gd name="T99" fmla="*/ 136 h 185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6"/>
                  <a:gd name="T151" fmla="*/ 0 h 185"/>
                  <a:gd name="T152" fmla="*/ 136 w 136"/>
                  <a:gd name="T153" fmla="*/ 185 h 185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  <a:lnTo>
                      <a:pt x="49" y="136"/>
                    </a:lnTo>
                    <a:close/>
                  </a:path>
                </a:pathLst>
              </a:custGeom>
              <a:solidFill>
                <a:srgbClr val="99C7B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3" name="Freeform 237"/>
              <p:cNvSpPr>
                <a:spLocks/>
              </p:cNvSpPr>
              <p:nvPr/>
            </p:nvSpPr>
            <p:spPr bwMode="auto">
              <a:xfrm>
                <a:off x="763" y="2654"/>
                <a:ext cx="135" cy="186"/>
              </a:xfrm>
              <a:custGeom>
                <a:avLst/>
                <a:gdLst>
                  <a:gd name="T0" fmla="*/ 49 w 136"/>
                  <a:gd name="T1" fmla="*/ 136 h 185"/>
                  <a:gd name="T2" fmla="*/ 58 w 136"/>
                  <a:gd name="T3" fmla="*/ 127 h 185"/>
                  <a:gd name="T4" fmla="*/ 68 w 136"/>
                  <a:gd name="T5" fmla="*/ 117 h 185"/>
                  <a:gd name="T6" fmla="*/ 88 w 136"/>
                  <a:gd name="T7" fmla="*/ 107 h 185"/>
                  <a:gd name="T8" fmla="*/ 97 w 136"/>
                  <a:gd name="T9" fmla="*/ 97 h 185"/>
                  <a:gd name="T10" fmla="*/ 97 w 136"/>
                  <a:gd name="T11" fmla="*/ 88 h 185"/>
                  <a:gd name="T12" fmla="*/ 97 w 136"/>
                  <a:gd name="T13" fmla="*/ 78 h 185"/>
                  <a:gd name="T14" fmla="*/ 78 w 136"/>
                  <a:gd name="T15" fmla="*/ 49 h 185"/>
                  <a:gd name="T16" fmla="*/ 68 w 136"/>
                  <a:gd name="T17" fmla="*/ 49 h 185"/>
                  <a:gd name="T18" fmla="*/ 58 w 136"/>
                  <a:gd name="T19" fmla="*/ 39 h 185"/>
                  <a:gd name="T20" fmla="*/ 49 w 136"/>
                  <a:gd name="T21" fmla="*/ 29 h 185"/>
                  <a:gd name="T22" fmla="*/ 49 w 136"/>
                  <a:gd name="T23" fmla="*/ 19 h 185"/>
                  <a:gd name="T24" fmla="*/ 39 w 136"/>
                  <a:gd name="T25" fmla="*/ 10 h 185"/>
                  <a:gd name="T26" fmla="*/ 49 w 136"/>
                  <a:gd name="T27" fmla="*/ 0 h 185"/>
                  <a:gd name="T28" fmla="*/ 49 w 136"/>
                  <a:gd name="T29" fmla="*/ 10 h 185"/>
                  <a:gd name="T30" fmla="*/ 68 w 136"/>
                  <a:gd name="T31" fmla="*/ 29 h 185"/>
                  <a:gd name="T32" fmla="*/ 78 w 136"/>
                  <a:gd name="T33" fmla="*/ 39 h 185"/>
                  <a:gd name="T34" fmla="*/ 88 w 136"/>
                  <a:gd name="T35" fmla="*/ 49 h 185"/>
                  <a:gd name="T36" fmla="*/ 107 w 136"/>
                  <a:gd name="T37" fmla="*/ 49 h 185"/>
                  <a:gd name="T38" fmla="*/ 117 w 136"/>
                  <a:gd name="T39" fmla="*/ 49 h 185"/>
                  <a:gd name="T40" fmla="*/ 117 w 136"/>
                  <a:gd name="T41" fmla="*/ 68 h 185"/>
                  <a:gd name="T42" fmla="*/ 136 w 136"/>
                  <a:gd name="T43" fmla="*/ 97 h 185"/>
                  <a:gd name="T44" fmla="*/ 127 w 136"/>
                  <a:gd name="T45" fmla="*/ 117 h 185"/>
                  <a:gd name="T46" fmla="*/ 127 w 136"/>
                  <a:gd name="T47" fmla="*/ 127 h 185"/>
                  <a:gd name="T48" fmla="*/ 127 w 136"/>
                  <a:gd name="T49" fmla="*/ 146 h 185"/>
                  <a:gd name="T50" fmla="*/ 107 w 136"/>
                  <a:gd name="T51" fmla="*/ 166 h 185"/>
                  <a:gd name="T52" fmla="*/ 97 w 136"/>
                  <a:gd name="T53" fmla="*/ 175 h 185"/>
                  <a:gd name="T54" fmla="*/ 88 w 136"/>
                  <a:gd name="T55" fmla="*/ 175 h 185"/>
                  <a:gd name="T56" fmla="*/ 88 w 136"/>
                  <a:gd name="T57" fmla="*/ 166 h 185"/>
                  <a:gd name="T58" fmla="*/ 88 w 136"/>
                  <a:gd name="T59" fmla="*/ 156 h 185"/>
                  <a:gd name="T60" fmla="*/ 97 w 136"/>
                  <a:gd name="T61" fmla="*/ 146 h 185"/>
                  <a:gd name="T62" fmla="*/ 107 w 136"/>
                  <a:gd name="T63" fmla="*/ 136 h 185"/>
                  <a:gd name="T64" fmla="*/ 97 w 136"/>
                  <a:gd name="T65" fmla="*/ 136 h 185"/>
                  <a:gd name="T66" fmla="*/ 88 w 136"/>
                  <a:gd name="T67" fmla="*/ 136 h 185"/>
                  <a:gd name="T68" fmla="*/ 78 w 136"/>
                  <a:gd name="T69" fmla="*/ 146 h 185"/>
                  <a:gd name="T70" fmla="*/ 68 w 136"/>
                  <a:gd name="T71" fmla="*/ 156 h 185"/>
                  <a:gd name="T72" fmla="*/ 49 w 136"/>
                  <a:gd name="T73" fmla="*/ 175 h 185"/>
                  <a:gd name="T74" fmla="*/ 29 w 136"/>
                  <a:gd name="T75" fmla="*/ 185 h 185"/>
                  <a:gd name="T76" fmla="*/ 29 w 136"/>
                  <a:gd name="T77" fmla="*/ 185 h 185"/>
                  <a:gd name="T78" fmla="*/ 19 w 136"/>
                  <a:gd name="T79" fmla="*/ 175 h 185"/>
                  <a:gd name="T80" fmla="*/ 19 w 136"/>
                  <a:gd name="T81" fmla="*/ 175 h 185"/>
                  <a:gd name="T82" fmla="*/ 10 w 136"/>
                  <a:gd name="T83" fmla="*/ 166 h 185"/>
                  <a:gd name="T84" fmla="*/ 0 w 136"/>
                  <a:gd name="T85" fmla="*/ 156 h 185"/>
                  <a:gd name="T86" fmla="*/ 0 w 136"/>
                  <a:gd name="T87" fmla="*/ 146 h 185"/>
                  <a:gd name="T88" fmla="*/ 19 w 136"/>
                  <a:gd name="T89" fmla="*/ 136 h 185"/>
                  <a:gd name="T90" fmla="*/ 29 w 136"/>
                  <a:gd name="T91" fmla="*/ 136 h 185"/>
                  <a:gd name="T92" fmla="*/ 29 w 136"/>
                  <a:gd name="T93" fmla="*/ 136 h 185"/>
                  <a:gd name="T94" fmla="*/ 39 w 136"/>
                  <a:gd name="T95" fmla="*/ 146 h 185"/>
                  <a:gd name="T96" fmla="*/ 49 w 136"/>
                  <a:gd name="T97" fmla="*/ 146 h 18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36"/>
                  <a:gd name="T148" fmla="*/ 0 h 185"/>
                  <a:gd name="T149" fmla="*/ 136 w 136"/>
                  <a:gd name="T150" fmla="*/ 185 h 18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9" name="Freeform 235"/>
            <p:cNvSpPr>
              <a:spLocks/>
            </p:cNvSpPr>
            <p:nvPr/>
          </p:nvSpPr>
          <p:spPr bwMode="auto">
            <a:xfrm>
              <a:off x="4458" y="3542"/>
              <a:ext cx="324" cy="449"/>
            </a:xfrm>
            <a:custGeom>
              <a:avLst/>
              <a:gdLst>
                <a:gd name="T0" fmla="*/ 126 w 322"/>
                <a:gd name="T1" fmla="*/ 136 h 449"/>
                <a:gd name="T2" fmla="*/ 117 w 322"/>
                <a:gd name="T3" fmla="*/ 107 h 449"/>
                <a:gd name="T4" fmla="*/ 97 w 322"/>
                <a:gd name="T5" fmla="*/ 127 h 449"/>
                <a:gd name="T6" fmla="*/ 97 w 322"/>
                <a:gd name="T7" fmla="*/ 117 h 449"/>
                <a:gd name="T8" fmla="*/ 117 w 322"/>
                <a:gd name="T9" fmla="*/ 78 h 449"/>
                <a:gd name="T10" fmla="*/ 117 w 322"/>
                <a:gd name="T11" fmla="*/ 19 h 449"/>
                <a:gd name="T12" fmla="*/ 126 w 322"/>
                <a:gd name="T13" fmla="*/ 19 h 449"/>
                <a:gd name="T14" fmla="*/ 146 w 322"/>
                <a:gd name="T15" fmla="*/ 19 h 449"/>
                <a:gd name="T16" fmla="*/ 156 w 322"/>
                <a:gd name="T17" fmla="*/ 39 h 449"/>
                <a:gd name="T18" fmla="*/ 166 w 322"/>
                <a:gd name="T19" fmla="*/ 68 h 449"/>
                <a:gd name="T20" fmla="*/ 205 w 322"/>
                <a:gd name="T21" fmla="*/ 68 h 449"/>
                <a:gd name="T22" fmla="*/ 205 w 322"/>
                <a:gd name="T23" fmla="*/ 39 h 449"/>
                <a:gd name="T24" fmla="*/ 224 w 322"/>
                <a:gd name="T25" fmla="*/ 48 h 449"/>
                <a:gd name="T26" fmla="*/ 244 w 322"/>
                <a:gd name="T27" fmla="*/ 68 h 449"/>
                <a:gd name="T28" fmla="*/ 273 w 322"/>
                <a:gd name="T29" fmla="*/ 68 h 449"/>
                <a:gd name="T30" fmla="*/ 283 w 322"/>
                <a:gd name="T31" fmla="*/ 78 h 449"/>
                <a:gd name="T32" fmla="*/ 302 w 322"/>
                <a:gd name="T33" fmla="*/ 88 h 449"/>
                <a:gd name="T34" fmla="*/ 302 w 322"/>
                <a:gd name="T35" fmla="*/ 97 h 449"/>
                <a:gd name="T36" fmla="*/ 302 w 322"/>
                <a:gd name="T37" fmla="*/ 117 h 449"/>
                <a:gd name="T38" fmla="*/ 312 w 322"/>
                <a:gd name="T39" fmla="*/ 136 h 449"/>
                <a:gd name="T40" fmla="*/ 322 w 322"/>
                <a:gd name="T41" fmla="*/ 166 h 449"/>
                <a:gd name="T42" fmla="*/ 312 w 322"/>
                <a:gd name="T43" fmla="*/ 205 h 449"/>
                <a:gd name="T44" fmla="*/ 302 w 322"/>
                <a:gd name="T45" fmla="*/ 234 h 449"/>
                <a:gd name="T46" fmla="*/ 322 w 322"/>
                <a:gd name="T47" fmla="*/ 263 h 449"/>
                <a:gd name="T48" fmla="*/ 312 w 322"/>
                <a:gd name="T49" fmla="*/ 292 h 449"/>
                <a:gd name="T50" fmla="*/ 292 w 322"/>
                <a:gd name="T51" fmla="*/ 312 h 449"/>
                <a:gd name="T52" fmla="*/ 273 w 322"/>
                <a:gd name="T53" fmla="*/ 331 h 449"/>
                <a:gd name="T54" fmla="*/ 244 w 322"/>
                <a:gd name="T55" fmla="*/ 341 h 449"/>
                <a:gd name="T56" fmla="*/ 214 w 322"/>
                <a:gd name="T57" fmla="*/ 361 h 449"/>
                <a:gd name="T58" fmla="*/ 195 w 322"/>
                <a:gd name="T59" fmla="*/ 380 h 449"/>
                <a:gd name="T60" fmla="*/ 185 w 322"/>
                <a:gd name="T61" fmla="*/ 390 h 449"/>
                <a:gd name="T62" fmla="*/ 156 w 322"/>
                <a:gd name="T63" fmla="*/ 390 h 449"/>
                <a:gd name="T64" fmla="*/ 136 w 322"/>
                <a:gd name="T65" fmla="*/ 429 h 449"/>
                <a:gd name="T66" fmla="*/ 107 w 322"/>
                <a:gd name="T67" fmla="*/ 429 h 449"/>
                <a:gd name="T68" fmla="*/ 87 w 322"/>
                <a:gd name="T69" fmla="*/ 419 h 449"/>
                <a:gd name="T70" fmla="*/ 48 w 322"/>
                <a:gd name="T71" fmla="*/ 429 h 449"/>
                <a:gd name="T72" fmla="*/ 68 w 322"/>
                <a:gd name="T73" fmla="*/ 449 h 449"/>
                <a:gd name="T74" fmla="*/ 29 w 322"/>
                <a:gd name="T75" fmla="*/ 449 h 449"/>
                <a:gd name="T76" fmla="*/ 0 w 322"/>
                <a:gd name="T77" fmla="*/ 419 h 449"/>
                <a:gd name="T78" fmla="*/ 9 w 322"/>
                <a:gd name="T79" fmla="*/ 400 h 449"/>
                <a:gd name="T80" fmla="*/ 0 w 322"/>
                <a:gd name="T81" fmla="*/ 380 h 449"/>
                <a:gd name="T82" fmla="*/ 29 w 322"/>
                <a:gd name="T83" fmla="*/ 370 h 449"/>
                <a:gd name="T84" fmla="*/ 48 w 322"/>
                <a:gd name="T85" fmla="*/ 351 h 449"/>
                <a:gd name="T86" fmla="*/ 68 w 322"/>
                <a:gd name="T87" fmla="*/ 351 h 449"/>
                <a:gd name="T88" fmla="*/ 87 w 322"/>
                <a:gd name="T89" fmla="*/ 322 h 449"/>
                <a:gd name="T90" fmla="*/ 117 w 322"/>
                <a:gd name="T91" fmla="*/ 302 h 449"/>
                <a:gd name="T92" fmla="*/ 97 w 322"/>
                <a:gd name="T93" fmla="*/ 283 h 449"/>
                <a:gd name="T94" fmla="*/ 87 w 322"/>
                <a:gd name="T95" fmla="*/ 263 h 449"/>
                <a:gd name="T96" fmla="*/ 107 w 322"/>
                <a:gd name="T97" fmla="*/ 263 h 449"/>
                <a:gd name="T98" fmla="*/ 107 w 322"/>
                <a:gd name="T99" fmla="*/ 234 h 449"/>
                <a:gd name="T100" fmla="*/ 97 w 322"/>
                <a:gd name="T101" fmla="*/ 224 h 449"/>
                <a:gd name="T102" fmla="*/ 117 w 322"/>
                <a:gd name="T103" fmla="*/ 195 h 449"/>
                <a:gd name="T104" fmla="*/ 126 w 322"/>
                <a:gd name="T105" fmla="*/ 166 h 449"/>
                <a:gd name="T106" fmla="*/ 126 w 322"/>
                <a:gd name="T107" fmla="*/ 156 h 449"/>
                <a:gd name="T108" fmla="*/ 136 w 322"/>
                <a:gd name="T109" fmla="*/ 136 h 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2"/>
                <a:gd name="T166" fmla="*/ 0 h 449"/>
                <a:gd name="T167" fmla="*/ 322 w 322"/>
                <a:gd name="T168" fmla="*/ 449 h 44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2" h="449">
                  <a:moveTo>
                    <a:pt x="136" y="136"/>
                  </a:moveTo>
                  <a:lnTo>
                    <a:pt x="126" y="136"/>
                  </a:lnTo>
                  <a:lnTo>
                    <a:pt x="126" y="127"/>
                  </a:lnTo>
                  <a:lnTo>
                    <a:pt x="117" y="107"/>
                  </a:lnTo>
                  <a:lnTo>
                    <a:pt x="107" y="127"/>
                  </a:lnTo>
                  <a:lnTo>
                    <a:pt x="97" y="127"/>
                  </a:lnTo>
                  <a:lnTo>
                    <a:pt x="97" y="117"/>
                  </a:lnTo>
                  <a:lnTo>
                    <a:pt x="117" y="97"/>
                  </a:lnTo>
                  <a:lnTo>
                    <a:pt x="117" y="78"/>
                  </a:lnTo>
                  <a:lnTo>
                    <a:pt x="126" y="68"/>
                  </a:lnTo>
                  <a:lnTo>
                    <a:pt x="117" y="19"/>
                  </a:lnTo>
                  <a:lnTo>
                    <a:pt x="126" y="19"/>
                  </a:lnTo>
                  <a:lnTo>
                    <a:pt x="136" y="0"/>
                  </a:lnTo>
                  <a:lnTo>
                    <a:pt x="146" y="19"/>
                  </a:lnTo>
                  <a:lnTo>
                    <a:pt x="146" y="3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85" y="68"/>
                  </a:lnTo>
                  <a:lnTo>
                    <a:pt x="205" y="68"/>
                  </a:lnTo>
                  <a:lnTo>
                    <a:pt x="205" y="58"/>
                  </a:lnTo>
                  <a:lnTo>
                    <a:pt x="205" y="39"/>
                  </a:lnTo>
                  <a:lnTo>
                    <a:pt x="214" y="39"/>
                  </a:lnTo>
                  <a:lnTo>
                    <a:pt x="224" y="48"/>
                  </a:lnTo>
                  <a:lnTo>
                    <a:pt x="234" y="68"/>
                  </a:lnTo>
                  <a:lnTo>
                    <a:pt x="244" y="68"/>
                  </a:lnTo>
                  <a:lnTo>
                    <a:pt x="263" y="68"/>
                  </a:lnTo>
                  <a:lnTo>
                    <a:pt x="273" y="68"/>
                  </a:lnTo>
                  <a:lnTo>
                    <a:pt x="273" y="78"/>
                  </a:lnTo>
                  <a:lnTo>
                    <a:pt x="283" y="78"/>
                  </a:lnTo>
                  <a:lnTo>
                    <a:pt x="292" y="88"/>
                  </a:lnTo>
                  <a:lnTo>
                    <a:pt x="302" y="88"/>
                  </a:lnTo>
                  <a:lnTo>
                    <a:pt x="302" y="97"/>
                  </a:lnTo>
                  <a:lnTo>
                    <a:pt x="292" y="107"/>
                  </a:lnTo>
                  <a:lnTo>
                    <a:pt x="302" y="117"/>
                  </a:lnTo>
                  <a:lnTo>
                    <a:pt x="302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66"/>
                  </a:lnTo>
                  <a:lnTo>
                    <a:pt x="312" y="185"/>
                  </a:lnTo>
                  <a:lnTo>
                    <a:pt x="312" y="205"/>
                  </a:lnTo>
                  <a:lnTo>
                    <a:pt x="302" y="224"/>
                  </a:lnTo>
                  <a:lnTo>
                    <a:pt x="302" y="234"/>
                  </a:lnTo>
                  <a:lnTo>
                    <a:pt x="312" y="263"/>
                  </a:lnTo>
                  <a:lnTo>
                    <a:pt x="322" y="263"/>
                  </a:lnTo>
                  <a:lnTo>
                    <a:pt x="322" y="283"/>
                  </a:lnTo>
                  <a:lnTo>
                    <a:pt x="312" y="292"/>
                  </a:lnTo>
                  <a:lnTo>
                    <a:pt x="292" y="292"/>
                  </a:lnTo>
                  <a:lnTo>
                    <a:pt x="292" y="312"/>
                  </a:lnTo>
                  <a:lnTo>
                    <a:pt x="283" y="322"/>
                  </a:lnTo>
                  <a:lnTo>
                    <a:pt x="273" y="331"/>
                  </a:lnTo>
                  <a:lnTo>
                    <a:pt x="253" y="341"/>
                  </a:lnTo>
                  <a:lnTo>
                    <a:pt x="244" y="341"/>
                  </a:lnTo>
                  <a:lnTo>
                    <a:pt x="224" y="351"/>
                  </a:lnTo>
                  <a:lnTo>
                    <a:pt x="214" y="361"/>
                  </a:lnTo>
                  <a:lnTo>
                    <a:pt x="195" y="370"/>
                  </a:lnTo>
                  <a:lnTo>
                    <a:pt x="195" y="380"/>
                  </a:lnTo>
                  <a:lnTo>
                    <a:pt x="195" y="390"/>
                  </a:lnTo>
                  <a:lnTo>
                    <a:pt x="185" y="390"/>
                  </a:lnTo>
                  <a:lnTo>
                    <a:pt x="166" y="390"/>
                  </a:lnTo>
                  <a:lnTo>
                    <a:pt x="156" y="390"/>
                  </a:lnTo>
                  <a:lnTo>
                    <a:pt x="156" y="419"/>
                  </a:lnTo>
                  <a:lnTo>
                    <a:pt x="136" y="429"/>
                  </a:lnTo>
                  <a:lnTo>
                    <a:pt x="126" y="439"/>
                  </a:lnTo>
                  <a:lnTo>
                    <a:pt x="107" y="429"/>
                  </a:lnTo>
                  <a:lnTo>
                    <a:pt x="87" y="429"/>
                  </a:lnTo>
                  <a:lnTo>
                    <a:pt x="87" y="419"/>
                  </a:lnTo>
                  <a:lnTo>
                    <a:pt x="68" y="419"/>
                  </a:lnTo>
                  <a:lnTo>
                    <a:pt x="48" y="429"/>
                  </a:lnTo>
                  <a:lnTo>
                    <a:pt x="58" y="439"/>
                  </a:lnTo>
                  <a:lnTo>
                    <a:pt x="68" y="449"/>
                  </a:lnTo>
                  <a:lnTo>
                    <a:pt x="39" y="439"/>
                  </a:lnTo>
                  <a:lnTo>
                    <a:pt x="29" y="449"/>
                  </a:lnTo>
                  <a:lnTo>
                    <a:pt x="0" y="429"/>
                  </a:lnTo>
                  <a:lnTo>
                    <a:pt x="0" y="419"/>
                  </a:lnTo>
                  <a:lnTo>
                    <a:pt x="19" y="409"/>
                  </a:lnTo>
                  <a:lnTo>
                    <a:pt x="9" y="400"/>
                  </a:lnTo>
                  <a:lnTo>
                    <a:pt x="0" y="390"/>
                  </a:lnTo>
                  <a:lnTo>
                    <a:pt x="0" y="380"/>
                  </a:lnTo>
                  <a:lnTo>
                    <a:pt x="19" y="370"/>
                  </a:lnTo>
                  <a:lnTo>
                    <a:pt x="29" y="370"/>
                  </a:lnTo>
                  <a:lnTo>
                    <a:pt x="48" y="351"/>
                  </a:lnTo>
                  <a:lnTo>
                    <a:pt x="58" y="351"/>
                  </a:lnTo>
                  <a:lnTo>
                    <a:pt x="68" y="351"/>
                  </a:lnTo>
                  <a:lnTo>
                    <a:pt x="78" y="341"/>
                  </a:lnTo>
                  <a:lnTo>
                    <a:pt x="87" y="322"/>
                  </a:lnTo>
                  <a:lnTo>
                    <a:pt x="97" y="312"/>
                  </a:lnTo>
                  <a:lnTo>
                    <a:pt x="117" y="302"/>
                  </a:lnTo>
                  <a:lnTo>
                    <a:pt x="117" y="292"/>
                  </a:lnTo>
                  <a:lnTo>
                    <a:pt x="97" y="283"/>
                  </a:lnTo>
                  <a:lnTo>
                    <a:pt x="87" y="273"/>
                  </a:lnTo>
                  <a:lnTo>
                    <a:pt x="87" y="263"/>
                  </a:lnTo>
                  <a:lnTo>
                    <a:pt x="97" y="263"/>
                  </a:lnTo>
                  <a:lnTo>
                    <a:pt x="107" y="263"/>
                  </a:lnTo>
                  <a:lnTo>
                    <a:pt x="107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97" y="224"/>
                  </a:lnTo>
                  <a:lnTo>
                    <a:pt x="97" y="205"/>
                  </a:lnTo>
                  <a:lnTo>
                    <a:pt x="117" y="195"/>
                  </a:lnTo>
                  <a:lnTo>
                    <a:pt x="126" y="195"/>
                  </a:lnTo>
                  <a:lnTo>
                    <a:pt x="126" y="166"/>
                  </a:lnTo>
                  <a:lnTo>
                    <a:pt x="126" y="156"/>
                  </a:lnTo>
                  <a:lnTo>
                    <a:pt x="136" y="146"/>
                  </a:lnTo>
                  <a:lnTo>
                    <a:pt x="136" y="136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234"/>
            <p:cNvSpPr>
              <a:spLocks/>
            </p:cNvSpPr>
            <p:nvPr/>
          </p:nvSpPr>
          <p:spPr bwMode="auto">
            <a:xfrm>
              <a:off x="1892" y="1650"/>
              <a:ext cx="273" cy="233"/>
            </a:xfrm>
            <a:custGeom>
              <a:avLst/>
              <a:gdLst>
                <a:gd name="T0" fmla="*/ 273 w 273"/>
                <a:gd name="T1" fmla="*/ 156 h 234"/>
                <a:gd name="T2" fmla="*/ 264 w 273"/>
                <a:gd name="T3" fmla="*/ 166 h 234"/>
                <a:gd name="T4" fmla="*/ 244 w 273"/>
                <a:gd name="T5" fmla="*/ 176 h 234"/>
                <a:gd name="T6" fmla="*/ 225 w 273"/>
                <a:gd name="T7" fmla="*/ 176 h 234"/>
                <a:gd name="T8" fmla="*/ 215 w 273"/>
                <a:gd name="T9" fmla="*/ 185 h 234"/>
                <a:gd name="T10" fmla="*/ 205 w 273"/>
                <a:gd name="T11" fmla="*/ 195 h 234"/>
                <a:gd name="T12" fmla="*/ 195 w 273"/>
                <a:gd name="T13" fmla="*/ 195 h 234"/>
                <a:gd name="T14" fmla="*/ 186 w 273"/>
                <a:gd name="T15" fmla="*/ 195 h 234"/>
                <a:gd name="T16" fmla="*/ 176 w 273"/>
                <a:gd name="T17" fmla="*/ 215 h 234"/>
                <a:gd name="T18" fmla="*/ 166 w 273"/>
                <a:gd name="T19" fmla="*/ 224 h 234"/>
                <a:gd name="T20" fmla="*/ 156 w 273"/>
                <a:gd name="T21" fmla="*/ 224 h 234"/>
                <a:gd name="T22" fmla="*/ 147 w 273"/>
                <a:gd name="T23" fmla="*/ 224 h 234"/>
                <a:gd name="T24" fmla="*/ 137 w 273"/>
                <a:gd name="T25" fmla="*/ 234 h 234"/>
                <a:gd name="T26" fmla="*/ 127 w 273"/>
                <a:gd name="T27" fmla="*/ 234 h 234"/>
                <a:gd name="T28" fmla="*/ 127 w 273"/>
                <a:gd name="T29" fmla="*/ 215 h 234"/>
                <a:gd name="T30" fmla="*/ 108 w 273"/>
                <a:gd name="T31" fmla="*/ 205 h 234"/>
                <a:gd name="T32" fmla="*/ 98 w 273"/>
                <a:gd name="T33" fmla="*/ 205 h 234"/>
                <a:gd name="T34" fmla="*/ 88 w 273"/>
                <a:gd name="T35" fmla="*/ 205 h 234"/>
                <a:gd name="T36" fmla="*/ 78 w 273"/>
                <a:gd name="T37" fmla="*/ 215 h 234"/>
                <a:gd name="T38" fmla="*/ 59 w 273"/>
                <a:gd name="T39" fmla="*/ 215 h 234"/>
                <a:gd name="T40" fmla="*/ 49 w 273"/>
                <a:gd name="T41" fmla="*/ 215 h 234"/>
                <a:gd name="T42" fmla="*/ 30 w 273"/>
                <a:gd name="T43" fmla="*/ 215 h 234"/>
                <a:gd name="T44" fmla="*/ 0 w 273"/>
                <a:gd name="T45" fmla="*/ 185 h 234"/>
                <a:gd name="T46" fmla="*/ 0 w 273"/>
                <a:gd name="T47" fmla="*/ 176 h 234"/>
                <a:gd name="T48" fmla="*/ 0 w 273"/>
                <a:gd name="T49" fmla="*/ 166 h 234"/>
                <a:gd name="T50" fmla="*/ 30 w 273"/>
                <a:gd name="T51" fmla="*/ 146 h 234"/>
                <a:gd name="T52" fmla="*/ 49 w 273"/>
                <a:gd name="T53" fmla="*/ 127 h 234"/>
                <a:gd name="T54" fmla="*/ 59 w 273"/>
                <a:gd name="T55" fmla="*/ 127 h 234"/>
                <a:gd name="T56" fmla="*/ 69 w 273"/>
                <a:gd name="T57" fmla="*/ 117 h 234"/>
                <a:gd name="T58" fmla="*/ 59 w 273"/>
                <a:gd name="T59" fmla="*/ 107 h 234"/>
                <a:gd name="T60" fmla="*/ 59 w 273"/>
                <a:gd name="T61" fmla="*/ 88 h 234"/>
                <a:gd name="T62" fmla="*/ 78 w 273"/>
                <a:gd name="T63" fmla="*/ 68 h 234"/>
                <a:gd name="T64" fmla="*/ 88 w 273"/>
                <a:gd name="T65" fmla="*/ 58 h 234"/>
                <a:gd name="T66" fmla="*/ 88 w 273"/>
                <a:gd name="T67" fmla="*/ 29 h 234"/>
                <a:gd name="T68" fmla="*/ 108 w 273"/>
                <a:gd name="T69" fmla="*/ 29 h 234"/>
                <a:gd name="T70" fmla="*/ 117 w 273"/>
                <a:gd name="T71" fmla="*/ 29 h 234"/>
                <a:gd name="T72" fmla="*/ 108 w 273"/>
                <a:gd name="T73" fmla="*/ 19 h 234"/>
                <a:gd name="T74" fmla="*/ 127 w 273"/>
                <a:gd name="T75" fmla="*/ 10 h 234"/>
                <a:gd name="T76" fmla="*/ 147 w 273"/>
                <a:gd name="T77" fmla="*/ 0 h 234"/>
                <a:gd name="T78" fmla="*/ 137 w 273"/>
                <a:gd name="T79" fmla="*/ 10 h 234"/>
                <a:gd name="T80" fmla="*/ 147 w 273"/>
                <a:gd name="T81" fmla="*/ 19 h 234"/>
                <a:gd name="T82" fmla="*/ 156 w 273"/>
                <a:gd name="T83" fmla="*/ 19 h 234"/>
                <a:gd name="T84" fmla="*/ 166 w 273"/>
                <a:gd name="T85" fmla="*/ 19 h 234"/>
                <a:gd name="T86" fmla="*/ 176 w 273"/>
                <a:gd name="T87" fmla="*/ 19 h 234"/>
                <a:gd name="T88" fmla="*/ 195 w 273"/>
                <a:gd name="T89" fmla="*/ 29 h 234"/>
                <a:gd name="T90" fmla="*/ 215 w 273"/>
                <a:gd name="T91" fmla="*/ 39 h 234"/>
                <a:gd name="T92" fmla="*/ 225 w 273"/>
                <a:gd name="T93" fmla="*/ 58 h 234"/>
                <a:gd name="T94" fmla="*/ 225 w 273"/>
                <a:gd name="T95" fmla="*/ 58 h 234"/>
                <a:gd name="T96" fmla="*/ 244 w 273"/>
                <a:gd name="T97" fmla="*/ 58 h 234"/>
                <a:gd name="T98" fmla="*/ 254 w 273"/>
                <a:gd name="T99" fmla="*/ 58 h 234"/>
                <a:gd name="T100" fmla="*/ 264 w 273"/>
                <a:gd name="T101" fmla="*/ 78 h 234"/>
                <a:gd name="T102" fmla="*/ 264 w 273"/>
                <a:gd name="T103" fmla="*/ 97 h 234"/>
                <a:gd name="T104" fmla="*/ 254 w 273"/>
                <a:gd name="T105" fmla="*/ 127 h 234"/>
                <a:gd name="T106" fmla="*/ 264 w 273"/>
                <a:gd name="T107" fmla="*/ 136 h 234"/>
                <a:gd name="T108" fmla="*/ 264 w 273"/>
                <a:gd name="T109" fmla="*/ 146 h 234"/>
                <a:gd name="T110" fmla="*/ 273 w 273"/>
                <a:gd name="T111" fmla="*/ 156 h 23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73"/>
                <a:gd name="T169" fmla="*/ 0 h 234"/>
                <a:gd name="T170" fmla="*/ 273 w 273"/>
                <a:gd name="T171" fmla="*/ 234 h 23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73" h="234">
                  <a:moveTo>
                    <a:pt x="273" y="156"/>
                  </a:moveTo>
                  <a:lnTo>
                    <a:pt x="264" y="166"/>
                  </a:lnTo>
                  <a:lnTo>
                    <a:pt x="244" y="176"/>
                  </a:lnTo>
                  <a:lnTo>
                    <a:pt x="225" y="176"/>
                  </a:lnTo>
                  <a:lnTo>
                    <a:pt x="215" y="185"/>
                  </a:lnTo>
                  <a:lnTo>
                    <a:pt x="205" y="195"/>
                  </a:lnTo>
                  <a:lnTo>
                    <a:pt x="195" y="195"/>
                  </a:lnTo>
                  <a:lnTo>
                    <a:pt x="186" y="195"/>
                  </a:lnTo>
                  <a:lnTo>
                    <a:pt x="176" y="215"/>
                  </a:lnTo>
                  <a:lnTo>
                    <a:pt x="166" y="224"/>
                  </a:lnTo>
                  <a:lnTo>
                    <a:pt x="156" y="224"/>
                  </a:lnTo>
                  <a:lnTo>
                    <a:pt x="147" y="224"/>
                  </a:lnTo>
                  <a:lnTo>
                    <a:pt x="137" y="234"/>
                  </a:lnTo>
                  <a:lnTo>
                    <a:pt x="127" y="234"/>
                  </a:lnTo>
                  <a:lnTo>
                    <a:pt x="127" y="215"/>
                  </a:lnTo>
                  <a:lnTo>
                    <a:pt x="108" y="205"/>
                  </a:lnTo>
                  <a:lnTo>
                    <a:pt x="98" y="205"/>
                  </a:lnTo>
                  <a:lnTo>
                    <a:pt x="88" y="205"/>
                  </a:lnTo>
                  <a:lnTo>
                    <a:pt x="78" y="215"/>
                  </a:lnTo>
                  <a:lnTo>
                    <a:pt x="59" y="21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0" y="185"/>
                  </a:lnTo>
                  <a:lnTo>
                    <a:pt x="0" y="176"/>
                  </a:lnTo>
                  <a:lnTo>
                    <a:pt x="0" y="166"/>
                  </a:lnTo>
                  <a:lnTo>
                    <a:pt x="30" y="146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69" y="117"/>
                  </a:lnTo>
                  <a:lnTo>
                    <a:pt x="59" y="107"/>
                  </a:lnTo>
                  <a:lnTo>
                    <a:pt x="59" y="88"/>
                  </a:lnTo>
                  <a:lnTo>
                    <a:pt x="78" y="68"/>
                  </a:lnTo>
                  <a:lnTo>
                    <a:pt x="88" y="58"/>
                  </a:lnTo>
                  <a:lnTo>
                    <a:pt x="88" y="29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08" y="19"/>
                  </a:lnTo>
                  <a:lnTo>
                    <a:pt x="127" y="10"/>
                  </a:lnTo>
                  <a:lnTo>
                    <a:pt x="147" y="0"/>
                  </a:lnTo>
                  <a:lnTo>
                    <a:pt x="137" y="10"/>
                  </a:lnTo>
                  <a:lnTo>
                    <a:pt x="147" y="19"/>
                  </a:lnTo>
                  <a:lnTo>
                    <a:pt x="156" y="19"/>
                  </a:lnTo>
                  <a:lnTo>
                    <a:pt x="166" y="19"/>
                  </a:lnTo>
                  <a:lnTo>
                    <a:pt x="176" y="19"/>
                  </a:lnTo>
                  <a:lnTo>
                    <a:pt x="195" y="29"/>
                  </a:lnTo>
                  <a:lnTo>
                    <a:pt x="215" y="39"/>
                  </a:lnTo>
                  <a:lnTo>
                    <a:pt x="225" y="58"/>
                  </a:lnTo>
                  <a:lnTo>
                    <a:pt x="244" y="58"/>
                  </a:lnTo>
                  <a:lnTo>
                    <a:pt x="254" y="58"/>
                  </a:lnTo>
                  <a:lnTo>
                    <a:pt x="264" y="78"/>
                  </a:lnTo>
                  <a:lnTo>
                    <a:pt x="264" y="97"/>
                  </a:lnTo>
                  <a:lnTo>
                    <a:pt x="254" y="127"/>
                  </a:lnTo>
                  <a:lnTo>
                    <a:pt x="264" y="136"/>
                  </a:lnTo>
                  <a:lnTo>
                    <a:pt x="264" y="146"/>
                  </a:lnTo>
                  <a:lnTo>
                    <a:pt x="273" y="15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31" name="Group 231"/>
            <p:cNvGrpSpPr>
              <a:grpSpLocks/>
            </p:cNvGrpSpPr>
            <p:nvPr/>
          </p:nvGrpSpPr>
          <p:grpSpPr bwMode="auto">
            <a:xfrm>
              <a:off x="3863" y="917"/>
              <a:ext cx="624" cy="205"/>
              <a:chOff x="3863" y="917"/>
              <a:chExt cx="624" cy="205"/>
            </a:xfrm>
          </p:grpSpPr>
          <p:sp>
            <p:nvSpPr>
              <p:cNvPr id="340" name="Freeform 233"/>
              <p:cNvSpPr>
                <a:spLocks/>
              </p:cNvSpPr>
              <p:nvPr/>
            </p:nvSpPr>
            <p:spPr bwMode="auto">
              <a:xfrm>
                <a:off x="3863" y="917"/>
                <a:ext cx="631" cy="204"/>
              </a:xfrm>
              <a:custGeom>
                <a:avLst/>
                <a:gdLst>
                  <a:gd name="T0" fmla="*/ 39 w 624"/>
                  <a:gd name="T1" fmla="*/ 127 h 205"/>
                  <a:gd name="T2" fmla="*/ 19 w 624"/>
                  <a:gd name="T3" fmla="*/ 127 h 205"/>
                  <a:gd name="T4" fmla="*/ 58 w 624"/>
                  <a:gd name="T5" fmla="*/ 98 h 205"/>
                  <a:gd name="T6" fmla="*/ 87 w 624"/>
                  <a:gd name="T7" fmla="*/ 88 h 205"/>
                  <a:gd name="T8" fmla="*/ 97 w 624"/>
                  <a:gd name="T9" fmla="*/ 88 h 205"/>
                  <a:gd name="T10" fmla="*/ 107 w 624"/>
                  <a:gd name="T11" fmla="*/ 78 h 205"/>
                  <a:gd name="T12" fmla="*/ 136 w 624"/>
                  <a:gd name="T13" fmla="*/ 78 h 205"/>
                  <a:gd name="T14" fmla="*/ 136 w 624"/>
                  <a:gd name="T15" fmla="*/ 59 h 205"/>
                  <a:gd name="T16" fmla="*/ 175 w 624"/>
                  <a:gd name="T17" fmla="*/ 78 h 205"/>
                  <a:gd name="T18" fmla="*/ 156 w 624"/>
                  <a:gd name="T19" fmla="*/ 49 h 205"/>
                  <a:gd name="T20" fmla="*/ 175 w 624"/>
                  <a:gd name="T21" fmla="*/ 39 h 205"/>
                  <a:gd name="T22" fmla="*/ 185 w 624"/>
                  <a:gd name="T23" fmla="*/ 20 h 205"/>
                  <a:gd name="T24" fmla="*/ 205 w 624"/>
                  <a:gd name="T25" fmla="*/ 29 h 205"/>
                  <a:gd name="T26" fmla="*/ 234 w 624"/>
                  <a:gd name="T27" fmla="*/ 20 h 205"/>
                  <a:gd name="T28" fmla="*/ 244 w 624"/>
                  <a:gd name="T29" fmla="*/ 20 h 205"/>
                  <a:gd name="T30" fmla="*/ 292 w 624"/>
                  <a:gd name="T31" fmla="*/ 10 h 205"/>
                  <a:gd name="T32" fmla="*/ 331 w 624"/>
                  <a:gd name="T33" fmla="*/ 10 h 205"/>
                  <a:gd name="T34" fmla="*/ 370 w 624"/>
                  <a:gd name="T35" fmla="*/ 10 h 205"/>
                  <a:gd name="T36" fmla="*/ 380 w 624"/>
                  <a:gd name="T37" fmla="*/ 20 h 205"/>
                  <a:gd name="T38" fmla="*/ 409 w 624"/>
                  <a:gd name="T39" fmla="*/ 10 h 205"/>
                  <a:gd name="T40" fmla="*/ 429 w 624"/>
                  <a:gd name="T41" fmla="*/ 29 h 205"/>
                  <a:gd name="T42" fmla="*/ 478 w 624"/>
                  <a:gd name="T43" fmla="*/ 49 h 205"/>
                  <a:gd name="T44" fmla="*/ 526 w 624"/>
                  <a:gd name="T45" fmla="*/ 39 h 205"/>
                  <a:gd name="T46" fmla="*/ 546 w 624"/>
                  <a:gd name="T47" fmla="*/ 29 h 205"/>
                  <a:gd name="T48" fmla="*/ 604 w 624"/>
                  <a:gd name="T49" fmla="*/ 20 h 205"/>
                  <a:gd name="T50" fmla="*/ 624 w 624"/>
                  <a:gd name="T51" fmla="*/ 59 h 205"/>
                  <a:gd name="T52" fmla="*/ 585 w 624"/>
                  <a:gd name="T53" fmla="*/ 98 h 205"/>
                  <a:gd name="T54" fmla="*/ 497 w 624"/>
                  <a:gd name="T55" fmla="*/ 117 h 205"/>
                  <a:gd name="T56" fmla="*/ 429 w 624"/>
                  <a:gd name="T57" fmla="*/ 107 h 205"/>
                  <a:gd name="T58" fmla="*/ 361 w 624"/>
                  <a:gd name="T59" fmla="*/ 107 h 205"/>
                  <a:gd name="T60" fmla="*/ 341 w 624"/>
                  <a:gd name="T61" fmla="*/ 98 h 205"/>
                  <a:gd name="T62" fmla="*/ 302 w 624"/>
                  <a:gd name="T63" fmla="*/ 117 h 205"/>
                  <a:gd name="T64" fmla="*/ 283 w 624"/>
                  <a:gd name="T65" fmla="*/ 117 h 205"/>
                  <a:gd name="T66" fmla="*/ 263 w 624"/>
                  <a:gd name="T67" fmla="*/ 137 h 205"/>
                  <a:gd name="T68" fmla="*/ 234 w 624"/>
                  <a:gd name="T69" fmla="*/ 137 h 205"/>
                  <a:gd name="T70" fmla="*/ 234 w 624"/>
                  <a:gd name="T71" fmla="*/ 117 h 205"/>
                  <a:gd name="T72" fmla="*/ 205 w 624"/>
                  <a:gd name="T73" fmla="*/ 137 h 205"/>
                  <a:gd name="T74" fmla="*/ 195 w 624"/>
                  <a:gd name="T75" fmla="*/ 137 h 205"/>
                  <a:gd name="T76" fmla="*/ 165 w 624"/>
                  <a:gd name="T77" fmla="*/ 156 h 205"/>
                  <a:gd name="T78" fmla="*/ 156 w 624"/>
                  <a:gd name="T79" fmla="*/ 137 h 205"/>
                  <a:gd name="T80" fmla="*/ 146 w 624"/>
                  <a:gd name="T81" fmla="*/ 166 h 205"/>
                  <a:gd name="T82" fmla="*/ 126 w 624"/>
                  <a:gd name="T83" fmla="*/ 176 h 205"/>
                  <a:gd name="T84" fmla="*/ 107 w 624"/>
                  <a:gd name="T85" fmla="*/ 156 h 205"/>
                  <a:gd name="T86" fmla="*/ 97 w 624"/>
                  <a:gd name="T87" fmla="*/ 195 h 205"/>
                  <a:gd name="T88" fmla="*/ 87 w 624"/>
                  <a:gd name="T89" fmla="*/ 195 h 205"/>
                  <a:gd name="T90" fmla="*/ 68 w 624"/>
                  <a:gd name="T91" fmla="*/ 205 h 205"/>
                  <a:gd name="T92" fmla="*/ 58 w 624"/>
                  <a:gd name="T93" fmla="*/ 176 h 205"/>
                  <a:gd name="T94" fmla="*/ 19 w 624"/>
                  <a:gd name="T95" fmla="*/ 146 h 2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24"/>
                  <a:gd name="T145" fmla="*/ 0 h 205"/>
                  <a:gd name="T146" fmla="*/ 624 w 624"/>
                  <a:gd name="T147" fmla="*/ 205 h 2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  <a:close/>
                  </a:path>
                </a:pathLst>
              </a:custGeom>
              <a:solidFill>
                <a:srgbClr val="FF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1" name="Freeform 232"/>
              <p:cNvSpPr>
                <a:spLocks/>
              </p:cNvSpPr>
              <p:nvPr/>
            </p:nvSpPr>
            <p:spPr bwMode="auto">
              <a:xfrm>
                <a:off x="3863" y="917"/>
                <a:ext cx="631" cy="204"/>
              </a:xfrm>
              <a:custGeom>
                <a:avLst/>
                <a:gdLst>
                  <a:gd name="T0" fmla="*/ 39 w 624"/>
                  <a:gd name="T1" fmla="*/ 127 h 205"/>
                  <a:gd name="T2" fmla="*/ 19 w 624"/>
                  <a:gd name="T3" fmla="*/ 127 h 205"/>
                  <a:gd name="T4" fmla="*/ 58 w 624"/>
                  <a:gd name="T5" fmla="*/ 98 h 205"/>
                  <a:gd name="T6" fmla="*/ 87 w 624"/>
                  <a:gd name="T7" fmla="*/ 88 h 205"/>
                  <a:gd name="T8" fmla="*/ 97 w 624"/>
                  <a:gd name="T9" fmla="*/ 88 h 205"/>
                  <a:gd name="T10" fmla="*/ 107 w 624"/>
                  <a:gd name="T11" fmla="*/ 78 h 205"/>
                  <a:gd name="T12" fmla="*/ 136 w 624"/>
                  <a:gd name="T13" fmla="*/ 78 h 205"/>
                  <a:gd name="T14" fmla="*/ 136 w 624"/>
                  <a:gd name="T15" fmla="*/ 59 h 205"/>
                  <a:gd name="T16" fmla="*/ 175 w 624"/>
                  <a:gd name="T17" fmla="*/ 78 h 205"/>
                  <a:gd name="T18" fmla="*/ 156 w 624"/>
                  <a:gd name="T19" fmla="*/ 49 h 205"/>
                  <a:gd name="T20" fmla="*/ 175 w 624"/>
                  <a:gd name="T21" fmla="*/ 39 h 205"/>
                  <a:gd name="T22" fmla="*/ 185 w 624"/>
                  <a:gd name="T23" fmla="*/ 20 h 205"/>
                  <a:gd name="T24" fmla="*/ 205 w 624"/>
                  <a:gd name="T25" fmla="*/ 29 h 205"/>
                  <a:gd name="T26" fmla="*/ 234 w 624"/>
                  <a:gd name="T27" fmla="*/ 20 h 205"/>
                  <a:gd name="T28" fmla="*/ 244 w 624"/>
                  <a:gd name="T29" fmla="*/ 20 h 205"/>
                  <a:gd name="T30" fmla="*/ 292 w 624"/>
                  <a:gd name="T31" fmla="*/ 10 h 205"/>
                  <a:gd name="T32" fmla="*/ 331 w 624"/>
                  <a:gd name="T33" fmla="*/ 10 h 205"/>
                  <a:gd name="T34" fmla="*/ 370 w 624"/>
                  <a:gd name="T35" fmla="*/ 10 h 205"/>
                  <a:gd name="T36" fmla="*/ 380 w 624"/>
                  <a:gd name="T37" fmla="*/ 20 h 205"/>
                  <a:gd name="T38" fmla="*/ 409 w 624"/>
                  <a:gd name="T39" fmla="*/ 10 h 205"/>
                  <a:gd name="T40" fmla="*/ 429 w 624"/>
                  <a:gd name="T41" fmla="*/ 29 h 205"/>
                  <a:gd name="T42" fmla="*/ 478 w 624"/>
                  <a:gd name="T43" fmla="*/ 49 h 205"/>
                  <a:gd name="T44" fmla="*/ 526 w 624"/>
                  <a:gd name="T45" fmla="*/ 39 h 205"/>
                  <a:gd name="T46" fmla="*/ 546 w 624"/>
                  <a:gd name="T47" fmla="*/ 29 h 205"/>
                  <a:gd name="T48" fmla="*/ 604 w 624"/>
                  <a:gd name="T49" fmla="*/ 20 h 205"/>
                  <a:gd name="T50" fmla="*/ 624 w 624"/>
                  <a:gd name="T51" fmla="*/ 59 h 205"/>
                  <a:gd name="T52" fmla="*/ 585 w 624"/>
                  <a:gd name="T53" fmla="*/ 98 h 205"/>
                  <a:gd name="T54" fmla="*/ 497 w 624"/>
                  <a:gd name="T55" fmla="*/ 117 h 205"/>
                  <a:gd name="T56" fmla="*/ 429 w 624"/>
                  <a:gd name="T57" fmla="*/ 107 h 205"/>
                  <a:gd name="T58" fmla="*/ 361 w 624"/>
                  <a:gd name="T59" fmla="*/ 107 h 205"/>
                  <a:gd name="T60" fmla="*/ 341 w 624"/>
                  <a:gd name="T61" fmla="*/ 98 h 205"/>
                  <a:gd name="T62" fmla="*/ 302 w 624"/>
                  <a:gd name="T63" fmla="*/ 117 h 205"/>
                  <a:gd name="T64" fmla="*/ 283 w 624"/>
                  <a:gd name="T65" fmla="*/ 117 h 205"/>
                  <a:gd name="T66" fmla="*/ 263 w 624"/>
                  <a:gd name="T67" fmla="*/ 137 h 205"/>
                  <a:gd name="T68" fmla="*/ 234 w 624"/>
                  <a:gd name="T69" fmla="*/ 137 h 205"/>
                  <a:gd name="T70" fmla="*/ 234 w 624"/>
                  <a:gd name="T71" fmla="*/ 117 h 205"/>
                  <a:gd name="T72" fmla="*/ 205 w 624"/>
                  <a:gd name="T73" fmla="*/ 137 h 205"/>
                  <a:gd name="T74" fmla="*/ 195 w 624"/>
                  <a:gd name="T75" fmla="*/ 137 h 205"/>
                  <a:gd name="T76" fmla="*/ 165 w 624"/>
                  <a:gd name="T77" fmla="*/ 156 h 205"/>
                  <a:gd name="T78" fmla="*/ 156 w 624"/>
                  <a:gd name="T79" fmla="*/ 137 h 205"/>
                  <a:gd name="T80" fmla="*/ 146 w 624"/>
                  <a:gd name="T81" fmla="*/ 166 h 205"/>
                  <a:gd name="T82" fmla="*/ 126 w 624"/>
                  <a:gd name="T83" fmla="*/ 176 h 205"/>
                  <a:gd name="T84" fmla="*/ 107 w 624"/>
                  <a:gd name="T85" fmla="*/ 156 h 205"/>
                  <a:gd name="T86" fmla="*/ 97 w 624"/>
                  <a:gd name="T87" fmla="*/ 195 h 205"/>
                  <a:gd name="T88" fmla="*/ 87 w 624"/>
                  <a:gd name="T89" fmla="*/ 195 h 205"/>
                  <a:gd name="T90" fmla="*/ 68 w 624"/>
                  <a:gd name="T91" fmla="*/ 205 h 205"/>
                  <a:gd name="T92" fmla="*/ 58 w 624"/>
                  <a:gd name="T93" fmla="*/ 176 h 205"/>
                  <a:gd name="T94" fmla="*/ 19 w 624"/>
                  <a:gd name="T95" fmla="*/ 146 h 2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24"/>
                  <a:gd name="T145" fmla="*/ 0 h 205"/>
                  <a:gd name="T146" fmla="*/ 624 w 624"/>
                  <a:gd name="T147" fmla="*/ 205 h 2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2" name="Group 228"/>
            <p:cNvGrpSpPr>
              <a:grpSpLocks/>
            </p:cNvGrpSpPr>
            <p:nvPr/>
          </p:nvGrpSpPr>
          <p:grpSpPr bwMode="auto">
            <a:xfrm>
              <a:off x="3648" y="1054"/>
              <a:ext cx="263" cy="322"/>
              <a:chOff x="3648" y="1054"/>
              <a:chExt cx="263" cy="322"/>
            </a:xfrm>
          </p:grpSpPr>
          <p:sp>
            <p:nvSpPr>
              <p:cNvPr id="338" name="Freeform 230"/>
              <p:cNvSpPr>
                <a:spLocks/>
              </p:cNvSpPr>
              <p:nvPr/>
            </p:nvSpPr>
            <p:spPr bwMode="auto">
              <a:xfrm>
                <a:off x="3648" y="1053"/>
                <a:ext cx="264" cy="322"/>
              </a:xfrm>
              <a:custGeom>
                <a:avLst/>
                <a:gdLst>
                  <a:gd name="T0" fmla="*/ 127 w 263"/>
                  <a:gd name="T1" fmla="*/ 312 h 322"/>
                  <a:gd name="T2" fmla="*/ 117 w 263"/>
                  <a:gd name="T3" fmla="*/ 283 h 322"/>
                  <a:gd name="T4" fmla="*/ 117 w 263"/>
                  <a:gd name="T5" fmla="*/ 244 h 322"/>
                  <a:gd name="T6" fmla="*/ 137 w 263"/>
                  <a:gd name="T7" fmla="*/ 185 h 322"/>
                  <a:gd name="T8" fmla="*/ 137 w 263"/>
                  <a:gd name="T9" fmla="*/ 156 h 322"/>
                  <a:gd name="T10" fmla="*/ 166 w 263"/>
                  <a:gd name="T11" fmla="*/ 136 h 322"/>
                  <a:gd name="T12" fmla="*/ 176 w 263"/>
                  <a:gd name="T13" fmla="*/ 127 h 322"/>
                  <a:gd name="T14" fmla="*/ 185 w 263"/>
                  <a:gd name="T15" fmla="*/ 107 h 322"/>
                  <a:gd name="T16" fmla="*/ 205 w 263"/>
                  <a:gd name="T17" fmla="*/ 97 h 322"/>
                  <a:gd name="T18" fmla="*/ 215 w 263"/>
                  <a:gd name="T19" fmla="*/ 88 h 322"/>
                  <a:gd name="T20" fmla="*/ 234 w 263"/>
                  <a:gd name="T21" fmla="*/ 97 h 322"/>
                  <a:gd name="T22" fmla="*/ 244 w 263"/>
                  <a:gd name="T23" fmla="*/ 78 h 322"/>
                  <a:gd name="T24" fmla="*/ 244 w 263"/>
                  <a:gd name="T25" fmla="*/ 68 h 322"/>
                  <a:gd name="T26" fmla="*/ 263 w 263"/>
                  <a:gd name="T27" fmla="*/ 78 h 322"/>
                  <a:gd name="T28" fmla="*/ 263 w 263"/>
                  <a:gd name="T29" fmla="*/ 58 h 322"/>
                  <a:gd name="T30" fmla="*/ 244 w 263"/>
                  <a:gd name="T31" fmla="*/ 29 h 322"/>
                  <a:gd name="T32" fmla="*/ 215 w 263"/>
                  <a:gd name="T33" fmla="*/ 19 h 322"/>
                  <a:gd name="T34" fmla="*/ 195 w 263"/>
                  <a:gd name="T35" fmla="*/ 0 h 322"/>
                  <a:gd name="T36" fmla="*/ 176 w 263"/>
                  <a:gd name="T37" fmla="*/ 9 h 322"/>
                  <a:gd name="T38" fmla="*/ 166 w 263"/>
                  <a:gd name="T39" fmla="*/ 19 h 322"/>
                  <a:gd name="T40" fmla="*/ 156 w 263"/>
                  <a:gd name="T41" fmla="*/ 29 h 322"/>
                  <a:gd name="T42" fmla="*/ 137 w 263"/>
                  <a:gd name="T43" fmla="*/ 19 h 322"/>
                  <a:gd name="T44" fmla="*/ 117 w 263"/>
                  <a:gd name="T45" fmla="*/ 29 h 322"/>
                  <a:gd name="T46" fmla="*/ 127 w 263"/>
                  <a:gd name="T47" fmla="*/ 39 h 322"/>
                  <a:gd name="T48" fmla="*/ 127 w 263"/>
                  <a:gd name="T49" fmla="*/ 49 h 322"/>
                  <a:gd name="T50" fmla="*/ 117 w 263"/>
                  <a:gd name="T51" fmla="*/ 39 h 322"/>
                  <a:gd name="T52" fmla="*/ 98 w 263"/>
                  <a:gd name="T53" fmla="*/ 58 h 322"/>
                  <a:gd name="T54" fmla="*/ 88 w 263"/>
                  <a:gd name="T55" fmla="*/ 58 h 322"/>
                  <a:gd name="T56" fmla="*/ 78 w 263"/>
                  <a:gd name="T57" fmla="*/ 78 h 322"/>
                  <a:gd name="T58" fmla="*/ 68 w 263"/>
                  <a:gd name="T59" fmla="*/ 68 h 322"/>
                  <a:gd name="T60" fmla="*/ 59 w 263"/>
                  <a:gd name="T61" fmla="*/ 58 h 322"/>
                  <a:gd name="T62" fmla="*/ 39 w 263"/>
                  <a:gd name="T63" fmla="*/ 58 h 322"/>
                  <a:gd name="T64" fmla="*/ 10 w 263"/>
                  <a:gd name="T65" fmla="*/ 88 h 322"/>
                  <a:gd name="T66" fmla="*/ 0 w 263"/>
                  <a:gd name="T67" fmla="*/ 107 h 322"/>
                  <a:gd name="T68" fmla="*/ 10 w 263"/>
                  <a:gd name="T69" fmla="*/ 127 h 322"/>
                  <a:gd name="T70" fmla="*/ 29 w 263"/>
                  <a:gd name="T71" fmla="*/ 117 h 322"/>
                  <a:gd name="T72" fmla="*/ 29 w 263"/>
                  <a:gd name="T73" fmla="*/ 136 h 322"/>
                  <a:gd name="T74" fmla="*/ 49 w 263"/>
                  <a:gd name="T75" fmla="*/ 156 h 322"/>
                  <a:gd name="T76" fmla="*/ 49 w 263"/>
                  <a:gd name="T77" fmla="*/ 156 h 322"/>
                  <a:gd name="T78" fmla="*/ 59 w 263"/>
                  <a:gd name="T79" fmla="*/ 166 h 322"/>
                  <a:gd name="T80" fmla="*/ 49 w 263"/>
                  <a:gd name="T81" fmla="*/ 175 h 322"/>
                  <a:gd name="T82" fmla="*/ 39 w 263"/>
                  <a:gd name="T83" fmla="*/ 185 h 322"/>
                  <a:gd name="T84" fmla="*/ 49 w 263"/>
                  <a:gd name="T85" fmla="*/ 195 h 322"/>
                  <a:gd name="T86" fmla="*/ 39 w 263"/>
                  <a:gd name="T87" fmla="*/ 205 h 322"/>
                  <a:gd name="T88" fmla="*/ 29 w 263"/>
                  <a:gd name="T89" fmla="*/ 195 h 322"/>
                  <a:gd name="T90" fmla="*/ 10 w 263"/>
                  <a:gd name="T91" fmla="*/ 214 h 322"/>
                  <a:gd name="T92" fmla="*/ 20 w 263"/>
                  <a:gd name="T93" fmla="*/ 234 h 322"/>
                  <a:gd name="T94" fmla="*/ 39 w 263"/>
                  <a:gd name="T95" fmla="*/ 244 h 322"/>
                  <a:gd name="T96" fmla="*/ 39 w 263"/>
                  <a:gd name="T97" fmla="*/ 253 h 322"/>
                  <a:gd name="T98" fmla="*/ 49 w 263"/>
                  <a:gd name="T99" fmla="*/ 273 h 322"/>
                  <a:gd name="T100" fmla="*/ 59 w 263"/>
                  <a:gd name="T101" fmla="*/ 263 h 322"/>
                  <a:gd name="T102" fmla="*/ 78 w 263"/>
                  <a:gd name="T103" fmla="*/ 302 h 322"/>
                  <a:gd name="T104" fmla="*/ 88 w 263"/>
                  <a:gd name="T105" fmla="*/ 292 h 322"/>
                  <a:gd name="T106" fmla="*/ 88 w 263"/>
                  <a:gd name="T107" fmla="*/ 283 h 322"/>
                  <a:gd name="T108" fmla="*/ 88 w 263"/>
                  <a:gd name="T109" fmla="*/ 302 h 322"/>
                  <a:gd name="T110" fmla="*/ 107 w 263"/>
                  <a:gd name="T111" fmla="*/ 322 h 32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63"/>
                  <a:gd name="T169" fmla="*/ 0 h 322"/>
                  <a:gd name="T170" fmla="*/ 263 w 263"/>
                  <a:gd name="T171" fmla="*/ 322 h 32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  <a:close/>
                  </a:path>
                </a:pathLst>
              </a:custGeom>
              <a:solidFill>
                <a:srgbClr val="FF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9" name="Freeform 229"/>
              <p:cNvSpPr>
                <a:spLocks/>
              </p:cNvSpPr>
              <p:nvPr/>
            </p:nvSpPr>
            <p:spPr bwMode="auto">
              <a:xfrm>
                <a:off x="3648" y="1053"/>
                <a:ext cx="264" cy="322"/>
              </a:xfrm>
              <a:custGeom>
                <a:avLst/>
                <a:gdLst>
                  <a:gd name="T0" fmla="*/ 127 w 263"/>
                  <a:gd name="T1" fmla="*/ 312 h 322"/>
                  <a:gd name="T2" fmla="*/ 117 w 263"/>
                  <a:gd name="T3" fmla="*/ 283 h 322"/>
                  <a:gd name="T4" fmla="*/ 117 w 263"/>
                  <a:gd name="T5" fmla="*/ 244 h 322"/>
                  <a:gd name="T6" fmla="*/ 137 w 263"/>
                  <a:gd name="T7" fmla="*/ 185 h 322"/>
                  <a:gd name="T8" fmla="*/ 137 w 263"/>
                  <a:gd name="T9" fmla="*/ 156 h 322"/>
                  <a:gd name="T10" fmla="*/ 166 w 263"/>
                  <a:gd name="T11" fmla="*/ 136 h 322"/>
                  <a:gd name="T12" fmla="*/ 176 w 263"/>
                  <a:gd name="T13" fmla="*/ 127 h 322"/>
                  <a:gd name="T14" fmla="*/ 185 w 263"/>
                  <a:gd name="T15" fmla="*/ 107 h 322"/>
                  <a:gd name="T16" fmla="*/ 205 w 263"/>
                  <a:gd name="T17" fmla="*/ 97 h 322"/>
                  <a:gd name="T18" fmla="*/ 215 w 263"/>
                  <a:gd name="T19" fmla="*/ 88 h 322"/>
                  <a:gd name="T20" fmla="*/ 234 w 263"/>
                  <a:gd name="T21" fmla="*/ 97 h 322"/>
                  <a:gd name="T22" fmla="*/ 244 w 263"/>
                  <a:gd name="T23" fmla="*/ 78 h 322"/>
                  <a:gd name="T24" fmla="*/ 244 w 263"/>
                  <a:gd name="T25" fmla="*/ 68 h 322"/>
                  <a:gd name="T26" fmla="*/ 263 w 263"/>
                  <a:gd name="T27" fmla="*/ 78 h 322"/>
                  <a:gd name="T28" fmla="*/ 263 w 263"/>
                  <a:gd name="T29" fmla="*/ 58 h 322"/>
                  <a:gd name="T30" fmla="*/ 244 w 263"/>
                  <a:gd name="T31" fmla="*/ 29 h 322"/>
                  <a:gd name="T32" fmla="*/ 215 w 263"/>
                  <a:gd name="T33" fmla="*/ 19 h 322"/>
                  <a:gd name="T34" fmla="*/ 195 w 263"/>
                  <a:gd name="T35" fmla="*/ 0 h 322"/>
                  <a:gd name="T36" fmla="*/ 176 w 263"/>
                  <a:gd name="T37" fmla="*/ 9 h 322"/>
                  <a:gd name="T38" fmla="*/ 166 w 263"/>
                  <a:gd name="T39" fmla="*/ 19 h 322"/>
                  <a:gd name="T40" fmla="*/ 156 w 263"/>
                  <a:gd name="T41" fmla="*/ 29 h 322"/>
                  <a:gd name="T42" fmla="*/ 137 w 263"/>
                  <a:gd name="T43" fmla="*/ 19 h 322"/>
                  <a:gd name="T44" fmla="*/ 117 w 263"/>
                  <a:gd name="T45" fmla="*/ 29 h 322"/>
                  <a:gd name="T46" fmla="*/ 127 w 263"/>
                  <a:gd name="T47" fmla="*/ 39 h 322"/>
                  <a:gd name="T48" fmla="*/ 127 w 263"/>
                  <a:gd name="T49" fmla="*/ 49 h 322"/>
                  <a:gd name="T50" fmla="*/ 117 w 263"/>
                  <a:gd name="T51" fmla="*/ 39 h 322"/>
                  <a:gd name="T52" fmla="*/ 98 w 263"/>
                  <a:gd name="T53" fmla="*/ 58 h 322"/>
                  <a:gd name="T54" fmla="*/ 88 w 263"/>
                  <a:gd name="T55" fmla="*/ 58 h 322"/>
                  <a:gd name="T56" fmla="*/ 78 w 263"/>
                  <a:gd name="T57" fmla="*/ 78 h 322"/>
                  <a:gd name="T58" fmla="*/ 68 w 263"/>
                  <a:gd name="T59" fmla="*/ 68 h 322"/>
                  <a:gd name="T60" fmla="*/ 59 w 263"/>
                  <a:gd name="T61" fmla="*/ 58 h 322"/>
                  <a:gd name="T62" fmla="*/ 39 w 263"/>
                  <a:gd name="T63" fmla="*/ 58 h 322"/>
                  <a:gd name="T64" fmla="*/ 10 w 263"/>
                  <a:gd name="T65" fmla="*/ 88 h 322"/>
                  <a:gd name="T66" fmla="*/ 0 w 263"/>
                  <a:gd name="T67" fmla="*/ 107 h 322"/>
                  <a:gd name="T68" fmla="*/ 10 w 263"/>
                  <a:gd name="T69" fmla="*/ 127 h 322"/>
                  <a:gd name="T70" fmla="*/ 29 w 263"/>
                  <a:gd name="T71" fmla="*/ 117 h 322"/>
                  <a:gd name="T72" fmla="*/ 29 w 263"/>
                  <a:gd name="T73" fmla="*/ 136 h 322"/>
                  <a:gd name="T74" fmla="*/ 49 w 263"/>
                  <a:gd name="T75" fmla="*/ 156 h 322"/>
                  <a:gd name="T76" fmla="*/ 49 w 263"/>
                  <a:gd name="T77" fmla="*/ 156 h 322"/>
                  <a:gd name="T78" fmla="*/ 59 w 263"/>
                  <a:gd name="T79" fmla="*/ 166 h 322"/>
                  <a:gd name="T80" fmla="*/ 49 w 263"/>
                  <a:gd name="T81" fmla="*/ 175 h 322"/>
                  <a:gd name="T82" fmla="*/ 39 w 263"/>
                  <a:gd name="T83" fmla="*/ 185 h 322"/>
                  <a:gd name="T84" fmla="*/ 49 w 263"/>
                  <a:gd name="T85" fmla="*/ 195 h 322"/>
                  <a:gd name="T86" fmla="*/ 39 w 263"/>
                  <a:gd name="T87" fmla="*/ 205 h 322"/>
                  <a:gd name="T88" fmla="*/ 29 w 263"/>
                  <a:gd name="T89" fmla="*/ 195 h 322"/>
                  <a:gd name="T90" fmla="*/ 10 w 263"/>
                  <a:gd name="T91" fmla="*/ 214 h 322"/>
                  <a:gd name="T92" fmla="*/ 20 w 263"/>
                  <a:gd name="T93" fmla="*/ 234 h 322"/>
                  <a:gd name="T94" fmla="*/ 39 w 263"/>
                  <a:gd name="T95" fmla="*/ 244 h 322"/>
                  <a:gd name="T96" fmla="*/ 39 w 263"/>
                  <a:gd name="T97" fmla="*/ 253 h 322"/>
                  <a:gd name="T98" fmla="*/ 49 w 263"/>
                  <a:gd name="T99" fmla="*/ 273 h 322"/>
                  <a:gd name="T100" fmla="*/ 59 w 263"/>
                  <a:gd name="T101" fmla="*/ 263 h 322"/>
                  <a:gd name="T102" fmla="*/ 78 w 263"/>
                  <a:gd name="T103" fmla="*/ 302 h 322"/>
                  <a:gd name="T104" fmla="*/ 88 w 263"/>
                  <a:gd name="T105" fmla="*/ 292 h 322"/>
                  <a:gd name="T106" fmla="*/ 88 w 263"/>
                  <a:gd name="T107" fmla="*/ 283 h 322"/>
                  <a:gd name="T108" fmla="*/ 88 w 263"/>
                  <a:gd name="T109" fmla="*/ 302 h 322"/>
                  <a:gd name="T110" fmla="*/ 107 w 263"/>
                  <a:gd name="T111" fmla="*/ 322 h 32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63"/>
                  <a:gd name="T169" fmla="*/ 0 h 322"/>
                  <a:gd name="T170" fmla="*/ 263 w 263"/>
                  <a:gd name="T171" fmla="*/ 322 h 32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3" name="Group 225"/>
            <p:cNvGrpSpPr>
              <a:grpSpLocks/>
            </p:cNvGrpSpPr>
            <p:nvPr/>
          </p:nvGrpSpPr>
          <p:grpSpPr bwMode="auto">
            <a:xfrm>
              <a:off x="3755" y="1424"/>
              <a:ext cx="59" cy="98"/>
              <a:chOff x="3755" y="1424"/>
              <a:chExt cx="59" cy="98"/>
            </a:xfrm>
          </p:grpSpPr>
          <p:sp>
            <p:nvSpPr>
              <p:cNvPr id="336" name="Freeform 227"/>
              <p:cNvSpPr>
                <a:spLocks/>
              </p:cNvSpPr>
              <p:nvPr/>
            </p:nvSpPr>
            <p:spPr bwMode="auto">
              <a:xfrm>
                <a:off x="3757" y="1425"/>
                <a:ext cx="58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  <a:close/>
                  </a:path>
                </a:pathLst>
              </a:custGeom>
              <a:solidFill>
                <a:srgbClr val="FFCC9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7" name="Freeform 226"/>
              <p:cNvSpPr>
                <a:spLocks/>
              </p:cNvSpPr>
              <p:nvPr/>
            </p:nvSpPr>
            <p:spPr bwMode="auto">
              <a:xfrm>
                <a:off x="3757" y="1425"/>
                <a:ext cx="58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34" name="Group 222"/>
            <p:cNvGrpSpPr>
              <a:grpSpLocks/>
            </p:cNvGrpSpPr>
            <p:nvPr/>
          </p:nvGrpSpPr>
          <p:grpSpPr bwMode="auto">
            <a:xfrm>
              <a:off x="6720" y="1395"/>
              <a:ext cx="19" cy="20"/>
              <a:chOff x="6721" y="1395"/>
              <a:chExt cx="19" cy="20"/>
            </a:xfrm>
          </p:grpSpPr>
          <p:sp>
            <p:nvSpPr>
              <p:cNvPr id="334" name="Freeform 224"/>
              <p:cNvSpPr>
                <a:spLocks/>
              </p:cNvSpPr>
              <p:nvPr/>
            </p:nvSpPr>
            <p:spPr bwMode="auto">
              <a:xfrm>
                <a:off x="6720" y="1396"/>
                <a:ext cx="19" cy="19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5" name="Freeform 223"/>
              <p:cNvSpPr>
                <a:spLocks/>
              </p:cNvSpPr>
              <p:nvPr/>
            </p:nvSpPr>
            <p:spPr bwMode="auto">
              <a:xfrm>
                <a:off x="6720" y="1396"/>
                <a:ext cx="19" cy="19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5" name="Freeform 221"/>
            <p:cNvSpPr>
              <a:spLocks/>
            </p:cNvSpPr>
            <p:nvPr/>
          </p:nvSpPr>
          <p:spPr bwMode="auto">
            <a:xfrm>
              <a:off x="1737" y="1815"/>
              <a:ext cx="77" cy="59"/>
            </a:xfrm>
            <a:custGeom>
              <a:avLst/>
              <a:gdLst>
                <a:gd name="T0" fmla="*/ 0 w 78"/>
                <a:gd name="T1" fmla="*/ 19 h 58"/>
                <a:gd name="T2" fmla="*/ 0 w 78"/>
                <a:gd name="T3" fmla="*/ 19 h 58"/>
                <a:gd name="T4" fmla="*/ 10 w 78"/>
                <a:gd name="T5" fmla="*/ 0 h 58"/>
                <a:gd name="T6" fmla="*/ 20 w 78"/>
                <a:gd name="T7" fmla="*/ 0 h 58"/>
                <a:gd name="T8" fmla="*/ 30 w 78"/>
                <a:gd name="T9" fmla="*/ 0 h 58"/>
                <a:gd name="T10" fmla="*/ 49 w 78"/>
                <a:gd name="T11" fmla="*/ 0 h 58"/>
                <a:gd name="T12" fmla="*/ 59 w 78"/>
                <a:gd name="T13" fmla="*/ 0 h 58"/>
                <a:gd name="T14" fmla="*/ 69 w 78"/>
                <a:gd name="T15" fmla="*/ 0 h 58"/>
                <a:gd name="T16" fmla="*/ 78 w 78"/>
                <a:gd name="T17" fmla="*/ 10 h 58"/>
                <a:gd name="T18" fmla="*/ 78 w 78"/>
                <a:gd name="T19" fmla="*/ 19 h 58"/>
                <a:gd name="T20" fmla="*/ 78 w 78"/>
                <a:gd name="T21" fmla="*/ 29 h 58"/>
                <a:gd name="T22" fmla="*/ 78 w 78"/>
                <a:gd name="T23" fmla="*/ 39 h 58"/>
                <a:gd name="T24" fmla="*/ 78 w 78"/>
                <a:gd name="T25" fmla="*/ 49 h 58"/>
                <a:gd name="T26" fmla="*/ 69 w 78"/>
                <a:gd name="T27" fmla="*/ 58 h 58"/>
                <a:gd name="T28" fmla="*/ 59 w 78"/>
                <a:gd name="T29" fmla="*/ 58 h 58"/>
                <a:gd name="T30" fmla="*/ 39 w 78"/>
                <a:gd name="T31" fmla="*/ 58 h 58"/>
                <a:gd name="T32" fmla="*/ 30 w 78"/>
                <a:gd name="T33" fmla="*/ 58 h 58"/>
                <a:gd name="T34" fmla="*/ 20 w 78"/>
                <a:gd name="T35" fmla="*/ 58 h 58"/>
                <a:gd name="T36" fmla="*/ 10 w 78"/>
                <a:gd name="T37" fmla="*/ 49 h 58"/>
                <a:gd name="T38" fmla="*/ 0 w 78"/>
                <a:gd name="T39" fmla="*/ 49 h 58"/>
                <a:gd name="T40" fmla="*/ 0 w 78"/>
                <a:gd name="T41" fmla="*/ 39 h 58"/>
                <a:gd name="T42" fmla="*/ 0 w 78"/>
                <a:gd name="T43" fmla="*/ 29 h 58"/>
                <a:gd name="T44" fmla="*/ 0 w 78"/>
                <a:gd name="T45" fmla="*/ 19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58"/>
                <a:gd name="T71" fmla="*/ 78 w 7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58">
                  <a:moveTo>
                    <a:pt x="0" y="19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49" y="0"/>
                  </a:lnTo>
                  <a:lnTo>
                    <a:pt x="59" y="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78" y="19"/>
                  </a:lnTo>
                  <a:lnTo>
                    <a:pt x="78" y="29"/>
                  </a:lnTo>
                  <a:lnTo>
                    <a:pt x="78" y="39"/>
                  </a:lnTo>
                  <a:lnTo>
                    <a:pt x="78" y="49"/>
                  </a:lnTo>
                  <a:lnTo>
                    <a:pt x="69" y="58"/>
                  </a:lnTo>
                  <a:lnTo>
                    <a:pt x="59" y="58"/>
                  </a:lnTo>
                  <a:lnTo>
                    <a:pt x="39" y="58"/>
                  </a:lnTo>
                  <a:lnTo>
                    <a:pt x="30" y="58"/>
                  </a:lnTo>
                  <a:lnTo>
                    <a:pt x="20" y="58"/>
                  </a:lnTo>
                  <a:lnTo>
                    <a:pt x="10" y="49"/>
                  </a:lnTo>
                  <a:lnTo>
                    <a:pt x="0" y="49"/>
                  </a:lnTo>
                  <a:lnTo>
                    <a:pt x="0" y="39"/>
                  </a:lnTo>
                  <a:lnTo>
                    <a:pt x="0" y="2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36" name="Group 218"/>
            <p:cNvGrpSpPr>
              <a:grpSpLocks/>
            </p:cNvGrpSpPr>
            <p:nvPr/>
          </p:nvGrpSpPr>
          <p:grpSpPr bwMode="auto">
            <a:xfrm>
              <a:off x="1736" y="1815"/>
              <a:ext cx="78" cy="58"/>
              <a:chOff x="1736" y="1815"/>
              <a:chExt cx="78" cy="58"/>
            </a:xfrm>
          </p:grpSpPr>
          <p:sp>
            <p:nvSpPr>
              <p:cNvPr id="332" name="Freeform 220"/>
              <p:cNvSpPr>
                <a:spLocks/>
              </p:cNvSpPr>
              <p:nvPr/>
            </p:nvSpPr>
            <p:spPr bwMode="auto">
              <a:xfrm>
                <a:off x="1737" y="1815"/>
                <a:ext cx="77" cy="59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29 h 58"/>
                  <a:gd name="T22" fmla="*/ 78 w 78"/>
                  <a:gd name="T23" fmla="*/ 39 h 58"/>
                  <a:gd name="T24" fmla="*/ 78 w 78"/>
                  <a:gd name="T25" fmla="*/ 49 h 58"/>
                  <a:gd name="T26" fmla="*/ 69 w 78"/>
                  <a:gd name="T27" fmla="*/ 58 h 58"/>
                  <a:gd name="T28" fmla="*/ 59 w 78"/>
                  <a:gd name="T29" fmla="*/ 58 h 58"/>
                  <a:gd name="T30" fmla="*/ 39 w 78"/>
                  <a:gd name="T31" fmla="*/ 58 h 58"/>
                  <a:gd name="T32" fmla="*/ 30 w 78"/>
                  <a:gd name="T33" fmla="*/ 58 h 58"/>
                  <a:gd name="T34" fmla="*/ 20 w 78"/>
                  <a:gd name="T35" fmla="*/ 58 h 58"/>
                  <a:gd name="T36" fmla="*/ 10 w 78"/>
                  <a:gd name="T37" fmla="*/ 49 h 58"/>
                  <a:gd name="T38" fmla="*/ 0 w 78"/>
                  <a:gd name="T39" fmla="*/ 49 h 58"/>
                  <a:gd name="T40" fmla="*/ 0 w 78"/>
                  <a:gd name="T41" fmla="*/ 39 h 58"/>
                  <a:gd name="T42" fmla="*/ 0 w 78"/>
                  <a:gd name="T43" fmla="*/ 29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3" name="Freeform 219"/>
              <p:cNvSpPr>
                <a:spLocks/>
              </p:cNvSpPr>
              <p:nvPr/>
            </p:nvSpPr>
            <p:spPr bwMode="auto">
              <a:xfrm>
                <a:off x="1737" y="1815"/>
                <a:ext cx="77" cy="59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29 h 58"/>
                  <a:gd name="T22" fmla="*/ 78 w 78"/>
                  <a:gd name="T23" fmla="*/ 39 h 58"/>
                  <a:gd name="T24" fmla="*/ 78 w 78"/>
                  <a:gd name="T25" fmla="*/ 49 h 58"/>
                  <a:gd name="T26" fmla="*/ 69 w 78"/>
                  <a:gd name="T27" fmla="*/ 58 h 58"/>
                  <a:gd name="T28" fmla="*/ 59 w 78"/>
                  <a:gd name="T29" fmla="*/ 58 h 58"/>
                  <a:gd name="T30" fmla="*/ 39 w 78"/>
                  <a:gd name="T31" fmla="*/ 58 h 58"/>
                  <a:gd name="T32" fmla="*/ 30 w 78"/>
                  <a:gd name="T33" fmla="*/ 58 h 58"/>
                  <a:gd name="T34" fmla="*/ 20 w 78"/>
                  <a:gd name="T35" fmla="*/ 58 h 58"/>
                  <a:gd name="T36" fmla="*/ 10 w 78"/>
                  <a:gd name="T37" fmla="*/ 49 h 58"/>
                  <a:gd name="T38" fmla="*/ 0 w 78"/>
                  <a:gd name="T39" fmla="*/ 49 h 58"/>
                  <a:gd name="T40" fmla="*/ 0 w 78"/>
                  <a:gd name="T41" fmla="*/ 39 h 58"/>
                  <a:gd name="T42" fmla="*/ 0 w 78"/>
                  <a:gd name="T43" fmla="*/ 29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37" name="Freeform 217"/>
            <p:cNvSpPr>
              <a:spLocks/>
            </p:cNvSpPr>
            <p:nvPr/>
          </p:nvSpPr>
          <p:spPr bwMode="auto">
            <a:xfrm>
              <a:off x="2567" y="2750"/>
              <a:ext cx="418" cy="421"/>
            </a:xfrm>
            <a:custGeom>
              <a:avLst/>
              <a:gdLst>
                <a:gd name="T0" fmla="*/ 30 w 420"/>
                <a:gd name="T1" fmla="*/ 342 h 420"/>
                <a:gd name="T2" fmla="*/ 69 w 420"/>
                <a:gd name="T3" fmla="*/ 361 h 420"/>
                <a:gd name="T4" fmla="*/ 49 w 420"/>
                <a:gd name="T5" fmla="*/ 381 h 420"/>
                <a:gd name="T6" fmla="*/ 39 w 420"/>
                <a:gd name="T7" fmla="*/ 410 h 420"/>
                <a:gd name="T8" fmla="*/ 88 w 420"/>
                <a:gd name="T9" fmla="*/ 410 h 420"/>
                <a:gd name="T10" fmla="*/ 117 w 420"/>
                <a:gd name="T11" fmla="*/ 420 h 420"/>
                <a:gd name="T12" fmla="*/ 127 w 420"/>
                <a:gd name="T13" fmla="*/ 381 h 420"/>
                <a:gd name="T14" fmla="*/ 137 w 420"/>
                <a:gd name="T15" fmla="*/ 371 h 420"/>
                <a:gd name="T16" fmla="*/ 176 w 420"/>
                <a:gd name="T17" fmla="*/ 361 h 420"/>
                <a:gd name="T18" fmla="*/ 205 w 420"/>
                <a:gd name="T19" fmla="*/ 391 h 420"/>
                <a:gd name="T20" fmla="*/ 234 w 420"/>
                <a:gd name="T21" fmla="*/ 371 h 420"/>
                <a:gd name="T22" fmla="*/ 215 w 420"/>
                <a:gd name="T23" fmla="*/ 352 h 420"/>
                <a:gd name="T24" fmla="*/ 195 w 420"/>
                <a:gd name="T25" fmla="*/ 322 h 420"/>
                <a:gd name="T26" fmla="*/ 225 w 420"/>
                <a:gd name="T27" fmla="*/ 332 h 420"/>
                <a:gd name="T28" fmla="*/ 225 w 420"/>
                <a:gd name="T29" fmla="*/ 303 h 420"/>
                <a:gd name="T30" fmla="*/ 205 w 420"/>
                <a:gd name="T31" fmla="*/ 293 h 420"/>
                <a:gd name="T32" fmla="*/ 225 w 420"/>
                <a:gd name="T33" fmla="*/ 274 h 420"/>
                <a:gd name="T34" fmla="*/ 254 w 420"/>
                <a:gd name="T35" fmla="*/ 274 h 420"/>
                <a:gd name="T36" fmla="*/ 273 w 420"/>
                <a:gd name="T37" fmla="*/ 293 h 420"/>
                <a:gd name="T38" fmla="*/ 293 w 420"/>
                <a:gd name="T39" fmla="*/ 303 h 420"/>
                <a:gd name="T40" fmla="*/ 332 w 420"/>
                <a:gd name="T41" fmla="*/ 313 h 420"/>
                <a:gd name="T42" fmla="*/ 371 w 420"/>
                <a:gd name="T43" fmla="*/ 322 h 420"/>
                <a:gd name="T44" fmla="*/ 371 w 420"/>
                <a:gd name="T45" fmla="*/ 303 h 420"/>
                <a:gd name="T46" fmla="*/ 381 w 420"/>
                <a:gd name="T47" fmla="*/ 293 h 420"/>
                <a:gd name="T48" fmla="*/ 381 w 420"/>
                <a:gd name="T49" fmla="*/ 264 h 420"/>
                <a:gd name="T50" fmla="*/ 352 w 420"/>
                <a:gd name="T51" fmla="*/ 244 h 420"/>
                <a:gd name="T52" fmla="*/ 332 w 420"/>
                <a:gd name="T53" fmla="*/ 235 h 420"/>
                <a:gd name="T54" fmla="*/ 342 w 420"/>
                <a:gd name="T55" fmla="*/ 205 h 420"/>
                <a:gd name="T56" fmla="*/ 371 w 420"/>
                <a:gd name="T57" fmla="*/ 196 h 420"/>
                <a:gd name="T58" fmla="*/ 410 w 420"/>
                <a:gd name="T59" fmla="*/ 186 h 420"/>
                <a:gd name="T60" fmla="*/ 410 w 420"/>
                <a:gd name="T61" fmla="*/ 147 h 420"/>
                <a:gd name="T62" fmla="*/ 410 w 420"/>
                <a:gd name="T63" fmla="*/ 127 h 420"/>
                <a:gd name="T64" fmla="*/ 410 w 420"/>
                <a:gd name="T65" fmla="*/ 98 h 420"/>
                <a:gd name="T66" fmla="*/ 381 w 420"/>
                <a:gd name="T67" fmla="*/ 59 h 420"/>
                <a:gd name="T68" fmla="*/ 352 w 420"/>
                <a:gd name="T69" fmla="*/ 69 h 420"/>
                <a:gd name="T70" fmla="*/ 283 w 420"/>
                <a:gd name="T71" fmla="*/ 20 h 420"/>
                <a:gd name="T72" fmla="*/ 254 w 420"/>
                <a:gd name="T73" fmla="*/ 10 h 420"/>
                <a:gd name="T74" fmla="*/ 234 w 420"/>
                <a:gd name="T75" fmla="*/ 39 h 420"/>
                <a:gd name="T76" fmla="*/ 225 w 420"/>
                <a:gd name="T77" fmla="*/ 59 h 420"/>
                <a:gd name="T78" fmla="*/ 234 w 420"/>
                <a:gd name="T79" fmla="*/ 78 h 420"/>
                <a:gd name="T80" fmla="*/ 205 w 420"/>
                <a:gd name="T81" fmla="*/ 88 h 420"/>
                <a:gd name="T82" fmla="*/ 186 w 420"/>
                <a:gd name="T83" fmla="*/ 78 h 420"/>
                <a:gd name="T84" fmla="*/ 166 w 420"/>
                <a:gd name="T85" fmla="*/ 78 h 420"/>
                <a:gd name="T86" fmla="*/ 147 w 420"/>
                <a:gd name="T87" fmla="*/ 59 h 420"/>
                <a:gd name="T88" fmla="*/ 127 w 420"/>
                <a:gd name="T89" fmla="*/ 59 h 420"/>
                <a:gd name="T90" fmla="*/ 137 w 420"/>
                <a:gd name="T91" fmla="*/ 30 h 420"/>
                <a:gd name="T92" fmla="*/ 88 w 420"/>
                <a:gd name="T93" fmla="*/ 30 h 420"/>
                <a:gd name="T94" fmla="*/ 59 w 420"/>
                <a:gd name="T95" fmla="*/ 59 h 420"/>
                <a:gd name="T96" fmla="*/ 78 w 420"/>
                <a:gd name="T97" fmla="*/ 117 h 420"/>
                <a:gd name="T98" fmla="*/ 127 w 420"/>
                <a:gd name="T99" fmla="*/ 137 h 420"/>
                <a:gd name="T100" fmla="*/ 156 w 420"/>
                <a:gd name="T101" fmla="*/ 137 h 420"/>
                <a:gd name="T102" fmla="*/ 205 w 420"/>
                <a:gd name="T103" fmla="*/ 137 h 420"/>
                <a:gd name="T104" fmla="*/ 215 w 420"/>
                <a:gd name="T105" fmla="*/ 147 h 420"/>
                <a:gd name="T106" fmla="*/ 186 w 420"/>
                <a:gd name="T107" fmla="*/ 176 h 420"/>
                <a:gd name="T108" fmla="*/ 156 w 420"/>
                <a:gd name="T109" fmla="*/ 196 h 420"/>
                <a:gd name="T110" fmla="*/ 127 w 420"/>
                <a:gd name="T111" fmla="*/ 186 h 420"/>
                <a:gd name="T112" fmla="*/ 98 w 420"/>
                <a:gd name="T113" fmla="*/ 205 h 420"/>
                <a:gd name="T114" fmla="*/ 69 w 420"/>
                <a:gd name="T115" fmla="*/ 215 h 420"/>
                <a:gd name="T116" fmla="*/ 39 w 420"/>
                <a:gd name="T117" fmla="*/ 264 h 420"/>
                <a:gd name="T118" fmla="*/ 39 w 420"/>
                <a:gd name="T119" fmla="*/ 274 h 420"/>
                <a:gd name="T120" fmla="*/ 10 w 420"/>
                <a:gd name="T121" fmla="*/ 293 h 420"/>
                <a:gd name="T122" fmla="*/ 10 w 420"/>
                <a:gd name="T123" fmla="*/ 332 h 420"/>
                <a:gd name="T124" fmla="*/ 20 w 420"/>
                <a:gd name="T125" fmla="*/ 342 h 4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0"/>
                <a:gd name="T190" fmla="*/ 0 h 420"/>
                <a:gd name="T191" fmla="*/ 420 w 420"/>
                <a:gd name="T192" fmla="*/ 420 h 4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0" h="420">
                  <a:moveTo>
                    <a:pt x="20" y="342"/>
                  </a:moveTo>
                  <a:lnTo>
                    <a:pt x="30" y="342"/>
                  </a:lnTo>
                  <a:lnTo>
                    <a:pt x="59" y="352"/>
                  </a:lnTo>
                  <a:lnTo>
                    <a:pt x="69" y="361"/>
                  </a:lnTo>
                  <a:lnTo>
                    <a:pt x="69" y="381"/>
                  </a:lnTo>
                  <a:lnTo>
                    <a:pt x="49" y="381"/>
                  </a:lnTo>
                  <a:lnTo>
                    <a:pt x="30" y="391"/>
                  </a:lnTo>
                  <a:lnTo>
                    <a:pt x="39" y="410"/>
                  </a:lnTo>
                  <a:lnTo>
                    <a:pt x="69" y="410"/>
                  </a:lnTo>
                  <a:lnTo>
                    <a:pt x="88" y="410"/>
                  </a:lnTo>
                  <a:lnTo>
                    <a:pt x="108" y="420"/>
                  </a:lnTo>
                  <a:lnTo>
                    <a:pt x="117" y="420"/>
                  </a:lnTo>
                  <a:lnTo>
                    <a:pt x="127" y="400"/>
                  </a:lnTo>
                  <a:lnTo>
                    <a:pt x="127" y="381"/>
                  </a:lnTo>
                  <a:lnTo>
                    <a:pt x="127" y="361"/>
                  </a:lnTo>
                  <a:lnTo>
                    <a:pt x="137" y="371"/>
                  </a:lnTo>
                  <a:lnTo>
                    <a:pt x="156" y="371"/>
                  </a:lnTo>
                  <a:lnTo>
                    <a:pt x="176" y="361"/>
                  </a:lnTo>
                  <a:lnTo>
                    <a:pt x="186" y="371"/>
                  </a:lnTo>
                  <a:lnTo>
                    <a:pt x="205" y="391"/>
                  </a:lnTo>
                  <a:lnTo>
                    <a:pt x="225" y="391"/>
                  </a:lnTo>
                  <a:lnTo>
                    <a:pt x="234" y="371"/>
                  </a:lnTo>
                  <a:lnTo>
                    <a:pt x="225" y="361"/>
                  </a:lnTo>
                  <a:lnTo>
                    <a:pt x="215" y="352"/>
                  </a:lnTo>
                  <a:lnTo>
                    <a:pt x="186" y="332"/>
                  </a:lnTo>
                  <a:lnTo>
                    <a:pt x="195" y="322"/>
                  </a:lnTo>
                  <a:lnTo>
                    <a:pt x="205" y="322"/>
                  </a:lnTo>
                  <a:lnTo>
                    <a:pt x="225" y="332"/>
                  </a:lnTo>
                  <a:lnTo>
                    <a:pt x="225" y="322"/>
                  </a:lnTo>
                  <a:lnTo>
                    <a:pt x="225" y="303"/>
                  </a:lnTo>
                  <a:lnTo>
                    <a:pt x="205" y="303"/>
                  </a:lnTo>
                  <a:lnTo>
                    <a:pt x="205" y="293"/>
                  </a:lnTo>
                  <a:lnTo>
                    <a:pt x="215" y="283"/>
                  </a:lnTo>
                  <a:lnTo>
                    <a:pt x="225" y="274"/>
                  </a:lnTo>
                  <a:lnTo>
                    <a:pt x="244" y="274"/>
                  </a:lnTo>
                  <a:lnTo>
                    <a:pt x="254" y="274"/>
                  </a:lnTo>
                  <a:lnTo>
                    <a:pt x="254" y="293"/>
                  </a:lnTo>
                  <a:lnTo>
                    <a:pt x="273" y="293"/>
                  </a:lnTo>
                  <a:lnTo>
                    <a:pt x="283" y="313"/>
                  </a:lnTo>
                  <a:lnTo>
                    <a:pt x="293" y="303"/>
                  </a:lnTo>
                  <a:lnTo>
                    <a:pt x="312" y="313"/>
                  </a:lnTo>
                  <a:lnTo>
                    <a:pt x="332" y="313"/>
                  </a:lnTo>
                  <a:lnTo>
                    <a:pt x="352" y="322"/>
                  </a:lnTo>
                  <a:lnTo>
                    <a:pt x="371" y="322"/>
                  </a:lnTo>
                  <a:lnTo>
                    <a:pt x="381" y="332"/>
                  </a:lnTo>
                  <a:lnTo>
                    <a:pt x="371" y="303"/>
                  </a:lnTo>
                  <a:lnTo>
                    <a:pt x="371" y="293"/>
                  </a:lnTo>
                  <a:lnTo>
                    <a:pt x="381" y="293"/>
                  </a:lnTo>
                  <a:lnTo>
                    <a:pt x="391" y="274"/>
                  </a:lnTo>
                  <a:lnTo>
                    <a:pt x="381" y="264"/>
                  </a:lnTo>
                  <a:lnTo>
                    <a:pt x="361" y="264"/>
                  </a:lnTo>
                  <a:lnTo>
                    <a:pt x="352" y="244"/>
                  </a:lnTo>
                  <a:lnTo>
                    <a:pt x="332" y="244"/>
                  </a:lnTo>
                  <a:lnTo>
                    <a:pt x="332" y="235"/>
                  </a:lnTo>
                  <a:lnTo>
                    <a:pt x="342" y="225"/>
                  </a:lnTo>
                  <a:lnTo>
                    <a:pt x="342" y="205"/>
                  </a:lnTo>
                  <a:lnTo>
                    <a:pt x="361" y="205"/>
                  </a:lnTo>
                  <a:lnTo>
                    <a:pt x="371" y="196"/>
                  </a:lnTo>
                  <a:lnTo>
                    <a:pt x="371" y="186"/>
                  </a:lnTo>
                  <a:lnTo>
                    <a:pt x="410" y="186"/>
                  </a:lnTo>
                  <a:lnTo>
                    <a:pt x="410" y="166"/>
                  </a:lnTo>
                  <a:lnTo>
                    <a:pt x="410" y="147"/>
                  </a:lnTo>
                  <a:lnTo>
                    <a:pt x="420" y="137"/>
                  </a:lnTo>
                  <a:lnTo>
                    <a:pt x="410" y="127"/>
                  </a:lnTo>
                  <a:lnTo>
                    <a:pt x="420" y="108"/>
                  </a:lnTo>
                  <a:lnTo>
                    <a:pt x="410" y="98"/>
                  </a:lnTo>
                  <a:lnTo>
                    <a:pt x="400" y="78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2" y="69"/>
                  </a:lnTo>
                  <a:lnTo>
                    <a:pt x="322" y="49"/>
                  </a:lnTo>
                  <a:lnTo>
                    <a:pt x="283" y="20"/>
                  </a:lnTo>
                  <a:lnTo>
                    <a:pt x="273" y="0"/>
                  </a:lnTo>
                  <a:lnTo>
                    <a:pt x="254" y="10"/>
                  </a:lnTo>
                  <a:lnTo>
                    <a:pt x="254" y="30"/>
                  </a:lnTo>
                  <a:lnTo>
                    <a:pt x="234" y="39"/>
                  </a:lnTo>
                  <a:lnTo>
                    <a:pt x="234" y="49"/>
                  </a:lnTo>
                  <a:lnTo>
                    <a:pt x="225" y="59"/>
                  </a:lnTo>
                  <a:lnTo>
                    <a:pt x="234" y="59"/>
                  </a:lnTo>
                  <a:lnTo>
                    <a:pt x="234" y="78"/>
                  </a:lnTo>
                  <a:lnTo>
                    <a:pt x="205" y="69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186" y="78"/>
                  </a:lnTo>
                  <a:lnTo>
                    <a:pt x="176" y="78"/>
                  </a:lnTo>
                  <a:lnTo>
                    <a:pt x="166" y="78"/>
                  </a:lnTo>
                  <a:lnTo>
                    <a:pt x="147" y="78"/>
                  </a:lnTo>
                  <a:lnTo>
                    <a:pt x="147" y="59"/>
                  </a:lnTo>
                  <a:lnTo>
                    <a:pt x="127" y="69"/>
                  </a:lnTo>
                  <a:lnTo>
                    <a:pt x="127" y="59"/>
                  </a:lnTo>
                  <a:lnTo>
                    <a:pt x="147" y="49"/>
                  </a:lnTo>
                  <a:lnTo>
                    <a:pt x="137" y="30"/>
                  </a:lnTo>
                  <a:lnTo>
                    <a:pt x="127" y="20"/>
                  </a:lnTo>
                  <a:lnTo>
                    <a:pt x="88" y="30"/>
                  </a:lnTo>
                  <a:lnTo>
                    <a:pt x="78" y="59"/>
                  </a:lnTo>
                  <a:lnTo>
                    <a:pt x="59" y="59"/>
                  </a:lnTo>
                  <a:lnTo>
                    <a:pt x="69" y="88"/>
                  </a:lnTo>
                  <a:lnTo>
                    <a:pt x="78" y="117"/>
                  </a:lnTo>
                  <a:lnTo>
                    <a:pt x="108" y="117"/>
                  </a:lnTo>
                  <a:lnTo>
                    <a:pt x="127" y="137"/>
                  </a:lnTo>
                  <a:lnTo>
                    <a:pt x="137" y="137"/>
                  </a:lnTo>
                  <a:lnTo>
                    <a:pt x="156" y="137"/>
                  </a:lnTo>
                  <a:lnTo>
                    <a:pt x="176" y="147"/>
                  </a:lnTo>
                  <a:lnTo>
                    <a:pt x="205" y="137"/>
                  </a:lnTo>
                  <a:lnTo>
                    <a:pt x="215" y="137"/>
                  </a:lnTo>
                  <a:lnTo>
                    <a:pt x="215" y="147"/>
                  </a:lnTo>
                  <a:lnTo>
                    <a:pt x="205" y="166"/>
                  </a:lnTo>
                  <a:lnTo>
                    <a:pt x="186" y="176"/>
                  </a:lnTo>
                  <a:lnTo>
                    <a:pt x="176" y="186"/>
                  </a:lnTo>
                  <a:lnTo>
                    <a:pt x="156" y="196"/>
                  </a:lnTo>
                  <a:lnTo>
                    <a:pt x="147" y="186"/>
                  </a:lnTo>
                  <a:lnTo>
                    <a:pt x="127" y="186"/>
                  </a:lnTo>
                  <a:lnTo>
                    <a:pt x="108" y="186"/>
                  </a:lnTo>
                  <a:lnTo>
                    <a:pt x="98" y="205"/>
                  </a:lnTo>
                  <a:lnTo>
                    <a:pt x="78" y="215"/>
                  </a:lnTo>
                  <a:lnTo>
                    <a:pt x="69" y="215"/>
                  </a:lnTo>
                  <a:lnTo>
                    <a:pt x="59" y="244"/>
                  </a:lnTo>
                  <a:lnTo>
                    <a:pt x="39" y="264"/>
                  </a:lnTo>
                  <a:lnTo>
                    <a:pt x="49" y="274"/>
                  </a:lnTo>
                  <a:lnTo>
                    <a:pt x="39" y="274"/>
                  </a:lnTo>
                  <a:lnTo>
                    <a:pt x="30" y="274"/>
                  </a:lnTo>
                  <a:lnTo>
                    <a:pt x="10" y="293"/>
                  </a:lnTo>
                  <a:lnTo>
                    <a:pt x="0" y="322"/>
                  </a:lnTo>
                  <a:lnTo>
                    <a:pt x="10" y="332"/>
                  </a:lnTo>
                  <a:lnTo>
                    <a:pt x="10" y="342"/>
                  </a:lnTo>
                  <a:lnTo>
                    <a:pt x="20" y="342"/>
                  </a:lnTo>
                  <a:close/>
                </a:path>
              </a:pathLst>
            </a:custGeom>
            <a:solidFill>
              <a:srgbClr val="C8D6DE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Rectangle 216"/>
            <p:cNvSpPr>
              <a:spLocks noChangeArrowheads="1"/>
            </p:cNvSpPr>
            <p:nvPr/>
          </p:nvSpPr>
          <p:spPr bwMode="auto">
            <a:xfrm>
              <a:off x="2859" y="264"/>
              <a:ext cx="1698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Rectangle 212"/>
            <p:cNvSpPr>
              <a:spLocks noChangeArrowheads="1"/>
            </p:cNvSpPr>
            <p:nvPr/>
          </p:nvSpPr>
          <p:spPr bwMode="auto">
            <a:xfrm>
              <a:off x="1" y="1455"/>
              <a:ext cx="1405" cy="2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211"/>
            <p:cNvSpPr>
              <a:spLocks noChangeArrowheads="1"/>
            </p:cNvSpPr>
            <p:nvPr/>
          </p:nvSpPr>
          <p:spPr bwMode="auto">
            <a:xfrm>
              <a:off x="487" y="3523"/>
              <a:ext cx="1405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Rectangle 210"/>
            <p:cNvSpPr>
              <a:spLocks noChangeArrowheads="1"/>
            </p:cNvSpPr>
            <p:nvPr/>
          </p:nvSpPr>
          <p:spPr bwMode="auto">
            <a:xfrm>
              <a:off x="1657" y="3328"/>
              <a:ext cx="1408" cy="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Rectangle 208"/>
            <p:cNvSpPr>
              <a:spLocks noChangeArrowheads="1"/>
            </p:cNvSpPr>
            <p:nvPr/>
          </p:nvSpPr>
          <p:spPr bwMode="auto">
            <a:xfrm>
              <a:off x="3745" y="1171"/>
              <a:ext cx="1405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Rectangle 207"/>
            <p:cNvSpPr>
              <a:spLocks noChangeArrowheads="1"/>
            </p:cNvSpPr>
            <p:nvPr/>
          </p:nvSpPr>
          <p:spPr bwMode="auto">
            <a:xfrm>
              <a:off x="4963" y="4264"/>
              <a:ext cx="1405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Rectangle 204"/>
            <p:cNvSpPr>
              <a:spLocks noChangeArrowheads="1"/>
            </p:cNvSpPr>
            <p:nvPr/>
          </p:nvSpPr>
          <p:spPr bwMode="auto">
            <a:xfrm>
              <a:off x="6301" y="567"/>
              <a:ext cx="1403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202"/>
            <p:cNvSpPr>
              <a:spLocks/>
            </p:cNvSpPr>
            <p:nvPr/>
          </p:nvSpPr>
          <p:spPr bwMode="auto">
            <a:xfrm>
              <a:off x="1249" y="2391"/>
              <a:ext cx="496" cy="447"/>
            </a:xfrm>
            <a:custGeom>
              <a:avLst/>
              <a:gdLst/>
              <a:ahLst/>
              <a:cxnLst>
                <a:cxn ang="0">
                  <a:pos x="185" y="39"/>
                </a:cxn>
                <a:cxn ang="0">
                  <a:pos x="204" y="20"/>
                </a:cxn>
                <a:cxn ang="0">
                  <a:pos x="214" y="10"/>
                </a:cxn>
                <a:cxn ang="0">
                  <a:pos x="243" y="0"/>
                </a:cxn>
                <a:cxn ang="0">
                  <a:pos x="282" y="10"/>
                </a:cxn>
                <a:cxn ang="0">
                  <a:pos x="341" y="59"/>
                </a:cxn>
                <a:cxn ang="0">
                  <a:pos x="351" y="88"/>
                </a:cxn>
                <a:cxn ang="0">
                  <a:pos x="370" y="108"/>
                </a:cxn>
                <a:cxn ang="0">
                  <a:pos x="380" y="117"/>
                </a:cxn>
                <a:cxn ang="0">
                  <a:pos x="390" y="137"/>
                </a:cxn>
                <a:cxn ang="0">
                  <a:pos x="438" y="157"/>
                </a:cxn>
                <a:cxn ang="0">
                  <a:pos x="419" y="215"/>
                </a:cxn>
                <a:cxn ang="0">
                  <a:pos x="399" y="244"/>
                </a:cxn>
                <a:cxn ang="0">
                  <a:pos x="429" y="254"/>
                </a:cxn>
                <a:cxn ang="0">
                  <a:pos x="438" y="274"/>
                </a:cxn>
                <a:cxn ang="0">
                  <a:pos x="448" y="303"/>
                </a:cxn>
                <a:cxn ang="0">
                  <a:pos x="468" y="293"/>
                </a:cxn>
                <a:cxn ang="0">
                  <a:pos x="468" y="332"/>
                </a:cxn>
                <a:cxn ang="0">
                  <a:pos x="487" y="342"/>
                </a:cxn>
                <a:cxn ang="0">
                  <a:pos x="497" y="361"/>
                </a:cxn>
                <a:cxn ang="0">
                  <a:pos x="477" y="381"/>
                </a:cxn>
                <a:cxn ang="0">
                  <a:pos x="429" y="381"/>
                </a:cxn>
                <a:cxn ang="0">
                  <a:pos x="380" y="410"/>
                </a:cxn>
                <a:cxn ang="0">
                  <a:pos x="380" y="439"/>
                </a:cxn>
                <a:cxn ang="0">
                  <a:pos x="321" y="449"/>
                </a:cxn>
                <a:cxn ang="0">
                  <a:pos x="282" y="420"/>
                </a:cxn>
                <a:cxn ang="0">
                  <a:pos x="243" y="400"/>
                </a:cxn>
                <a:cxn ang="0">
                  <a:pos x="224" y="400"/>
                </a:cxn>
                <a:cxn ang="0">
                  <a:pos x="204" y="391"/>
                </a:cxn>
                <a:cxn ang="0">
                  <a:pos x="195" y="439"/>
                </a:cxn>
                <a:cxn ang="0">
                  <a:pos x="165" y="400"/>
                </a:cxn>
                <a:cxn ang="0">
                  <a:pos x="146" y="391"/>
                </a:cxn>
                <a:cxn ang="0">
                  <a:pos x="126" y="371"/>
                </a:cxn>
                <a:cxn ang="0">
                  <a:pos x="117" y="400"/>
                </a:cxn>
                <a:cxn ang="0">
                  <a:pos x="87" y="381"/>
                </a:cxn>
                <a:cxn ang="0">
                  <a:pos x="58" y="381"/>
                </a:cxn>
                <a:cxn ang="0">
                  <a:pos x="48" y="391"/>
                </a:cxn>
                <a:cxn ang="0">
                  <a:pos x="19" y="342"/>
                </a:cxn>
                <a:cxn ang="0">
                  <a:pos x="19" y="313"/>
                </a:cxn>
                <a:cxn ang="0">
                  <a:pos x="39" y="283"/>
                </a:cxn>
                <a:cxn ang="0">
                  <a:pos x="19" y="254"/>
                </a:cxn>
                <a:cxn ang="0">
                  <a:pos x="58" y="225"/>
                </a:cxn>
                <a:cxn ang="0">
                  <a:pos x="107" y="225"/>
                </a:cxn>
                <a:cxn ang="0">
                  <a:pos x="126" y="176"/>
                </a:cxn>
                <a:cxn ang="0">
                  <a:pos x="136" y="137"/>
                </a:cxn>
                <a:cxn ang="0">
                  <a:pos x="165" y="127"/>
                </a:cxn>
                <a:cxn ang="0">
                  <a:pos x="165" y="49"/>
                </a:cxn>
              </a:cxnLst>
              <a:rect l="0" t="0" r="r" b="b"/>
              <a:pathLst>
                <a:path w="497" h="449">
                  <a:moveTo>
                    <a:pt x="165" y="49"/>
                  </a:moveTo>
                  <a:lnTo>
                    <a:pt x="185" y="39"/>
                  </a:lnTo>
                  <a:lnTo>
                    <a:pt x="195" y="39"/>
                  </a:lnTo>
                  <a:lnTo>
                    <a:pt x="204" y="20"/>
                  </a:lnTo>
                  <a:lnTo>
                    <a:pt x="214" y="20"/>
                  </a:lnTo>
                  <a:lnTo>
                    <a:pt x="214" y="10"/>
                  </a:lnTo>
                  <a:lnTo>
                    <a:pt x="214" y="0"/>
                  </a:lnTo>
                  <a:lnTo>
                    <a:pt x="243" y="0"/>
                  </a:lnTo>
                  <a:lnTo>
                    <a:pt x="273" y="10"/>
                  </a:lnTo>
                  <a:lnTo>
                    <a:pt x="282" y="10"/>
                  </a:lnTo>
                  <a:lnTo>
                    <a:pt x="312" y="49"/>
                  </a:lnTo>
                  <a:lnTo>
                    <a:pt x="341" y="59"/>
                  </a:lnTo>
                  <a:lnTo>
                    <a:pt x="351" y="69"/>
                  </a:lnTo>
                  <a:lnTo>
                    <a:pt x="351" y="88"/>
                  </a:lnTo>
                  <a:lnTo>
                    <a:pt x="360" y="108"/>
                  </a:lnTo>
                  <a:lnTo>
                    <a:pt x="370" y="108"/>
                  </a:lnTo>
                  <a:lnTo>
                    <a:pt x="390" y="108"/>
                  </a:lnTo>
                  <a:lnTo>
                    <a:pt x="380" y="117"/>
                  </a:lnTo>
                  <a:lnTo>
                    <a:pt x="380" y="127"/>
                  </a:lnTo>
                  <a:lnTo>
                    <a:pt x="390" y="137"/>
                  </a:lnTo>
                  <a:lnTo>
                    <a:pt x="409" y="127"/>
                  </a:lnTo>
                  <a:lnTo>
                    <a:pt x="438" y="157"/>
                  </a:lnTo>
                  <a:lnTo>
                    <a:pt x="448" y="176"/>
                  </a:lnTo>
                  <a:lnTo>
                    <a:pt x="419" y="215"/>
                  </a:lnTo>
                  <a:lnTo>
                    <a:pt x="390" y="235"/>
                  </a:lnTo>
                  <a:lnTo>
                    <a:pt x="399" y="244"/>
                  </a:lnTo>
                  <a:lnTo>
                    <a:pt x="419" y="264"/>
                  </a:lnTo>
                  <a:lnTo>
                    <a:pt x="429" y="254"/>
                  </a:lnTo>
                  <a:lnTo>
                    <a:pt x="448" y="264"/>
                  </a:lnTo>
                  <a:lnTo>
                    <a:pt x="438" y="274"/>
                  </a:lnTo>
                  <a:lnTo>
                    <a:pt x="429" y="283"/>
                  </a:lnTo>
                  <a:lnTo>
                    <a:pt x="448" y="303"/>
                  </a:lnTo>
                  <a:lnTo>
                    <a:pt x="458" y="293"/>
                  </a:lnTo>
                  <a:lnTo>
                    <a:pt x="468" y="293"/>
                  </a:lnTo>
                  <a:lnTo>
                    <a:pt x="477" y="303"/>
                  </a:lnTo>
                  <a:lnTo>
                    <a:pt x="468" y="332"/>
                  </a:lnTo>
                  <a:lnTo>
                    <a:pt x="487" y="332"/>
                  </a:lnTo>
                  <a:lnTo>
                    <a:pt x="487" y="342"/>
                  </a:lnTo>
                  <a:lnTo>
                    <a:pt x="487" y="352"/>
                  </a:lnTo>
                  <a:lnTo>
                    <a:pt x="497" y="361"/>
                  </a:lnTo>
                  <a:lnTo>
                    <a:pt x="487" y="371"/>
                  </a:lnTo>
                  <a:lnTo>
                    <a:pt x="477" y="381"/>
                  </a:lnTo>
                  <a:lnTo>
                    <a:pt x="458" y="381"/>
                  </a:lnTo>
                  <a:lnTo>
                    <a:pt x="429" y="381"/>
                  </a:lnTo>
                  <a:lnTo>
                    <a:pt x="399" y="391"/>
                  </a:lnTo>
                  <a:lnTo>
                    <a:pt x="380" y="410"/>
                  </a:lnTo>
                  <a:lnTo>
                    <a:pt x="380" y="420"/>
                  </a:lnTo>
                  <a:lnTo>
                    <a:pt x="380" y="439"/>
                  </a:lnTo>
                  <a:lnTo>
                    <a:pt x="360" y="449"/>
                  </a:lnTo>
                  <a:lnTo>
                    <a:pt x="321" y="449"/>
                  </a:lnTo>
                  <a:lnTo>
                    <a:pt x="312" y="439"/>
                  </a:lnTo>
                  <a:lnTo>
                    <a:pt x="282" y="420"/>
                  </a:lnTo>
                  <a:lnTo>
                    <a:pt x="263" y="420"/>
                  </a:lnTo>
                  <a:lnTo>
                    <a:pt x="243" y="400"/>
                  </a:lnTo>
                  <a:lnTo>
                    <a:pt x="224" y="400"/>
                  </a:lnTo>
                  <a:lnTo>
                    <a:pt x="214" y="400"/>
                  </a:lnTo>
                  <a:lnTo>
                    <a:pt x="204" y="391"/>
                  </a:lnTo>
                  <a:lnTo>
                    <a:pt x="195" y="391"/>
                  </a:lnTo>
                  <a:lnTo>
                    <a:pt x="195" y="439"/>
                  </a:lnTo>
                  <a:lnTo>
                    <a:pt x="175" y="420"/>
                  </a:lnTo>
                  <a:lnTo>
                    <a:pt x="165" y="400"/>
                  </a:lnTo>
                  <a:lnTo>
                    <a:pt x="156" y="400"/>
                  </a:lnTo>
                  <a:lnTo>
                    <a:pt x="146" y="391"/>
                  </a:lnTo>
                  <a:lnTo>
                    <a:pt x="146" y="371"/>
                  </a:lnTo>
                  <a:lnTo>
                    <a:pt x="126" y="371"/>
                  </a:lnTo>
                  <a:lnTo>
                    <a:pt x="126" y="391"/>
                  </a:lnTo>
                  <a:lnTo>
                    <a:pt x="117" y="400"/>
                  </a:lnTo>
                  <a:lnTo>
                    <a:pt x="107" y="381"/>
                  </a:lnTo>
                  <a:lnTo>
                    <a:pt x="87" y="381"/>
                  </a:lnTo>
                  <a:lnTo>
                    <a:pt x="58" y="371"/>
                  </a:lnTo>
                  <a:lnTo>
                    <a:pt x="58" y="381"/>
                  </a:lnTo>
                  <a:lnTo>
                    <a:pt x="48" y="400"/>
                  </a:lnTo>
                  <a:lnTo>
                    <a:pt x="48" y="391"/>
                  </a:lnTo>
                  <a:lnTo>
                    <a:pt x="29" y="361"/>
                  </a:lnTo>
                  <a:lnTo>
                    <a:pt x="19" y="342"/>
                  </a:lnTo>
                  <a:lnTo>
                    <a:pt x="0" y="342"/>
                  </a:lnTo>
                  <a:lnTo>
                    <a:pt x="19" y="313"/>
                  </a:lnTo>
                  <a:lnTo>
                    <a:pt x="19" y="293"/>
                  </a:lnTo>
                  <a:lnTo>
                    <a:pt x="39" y="283"/>
                  </a:lnTo>
                  <a:lnTo>
                    <a:pt x="19" y="264"/>
                  </a:lnTo>
                  <a:lnTo>
                    <a:pt x="19" y="254"/>
                  </a:lnTo>
                  <a:lnTo>
                    <a:pt x="39" y="235"/>
                  </a:lnTo>
                  <a:lnTo>
                    <a:pt x="58" y="225"/>
                  </a:lnTo>
                  <a:lnTo>
                    <a:pt x="87" y="235"/>
                  </a:lnTo>
                  <a:lnTo>
                    <a:pt x="107" y="225"/>
                  </a:lnTo>
                  <a:lnTo>
                    <a:pt x="117" y="196"/>
                  </a:lnTo>
                  <a:lnTo>
                    <a:pt x="126" y="176"/>
                  </a:lnTo>
                  <a:lnTo>
                    <a:pt x="126" y="166"/>
                  </a:lnTo>
                  <a:lnTo>
                    <a:pt x="136" y="137"/>
                  </a:lnTo>
                  <a:lnTo>
                    <a:pt x="156" y="137"/>
                  </a:lnTo>
                  <a:lnTo>
                    <a:pt x="165" y="127"/>
                  </a:lnTo>
                  <a:lnTo>
                    <a:pt x="175" y="59"/>
                  </a:lnTo>
                  <a:lnTo>
                    <a:pt x="165" y="49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201"/>
            <p:cNvSpPr>
              <a:spLocks/>
            </p:cNvSpPr>
            <p:nvPr/>
          </p:nvSpPr>
          <p:spPr bwMode="auto">
            <a:xfrm>
              <a:off x="966" y="2412"/>
              <a:ext cx="459" cy="468"/>
            </a:xfrm>
            <a:custGeom>
              <a:avLst/>
              <a:gdLst/>
              <a:ahLst/>
              <a:cxnLst>
                <a:cxn ang="0">
                  <a:pos x="322" y="390"/>
                </a:cxn>
                <a:cxn ang="0">
                  <a:pos x="351" y="390"/>
                </a:cxn>
                <a:cxn ang="0">
                  <a:pos x="370" y="410"/>
                </a:cxn>
                <a:cxn ang="0">
                  <a:pos x="322" y="439"/>
                </a:cxn>
                <a:cxn ang="0">
                  <a:pos x="283" y="439"/>
                </a:cxn>
                <a:cxn ang="0">
                  <a:pos x="273" y="458"/>
                </a:cxn>
                <a:cxn ang="0">
                  <a:pos x="244" y="468"/>
                </a:cxn>
                <a:cxn ang="0">
                  <a:pos x="204" y="449"/>
                </a:cxn>
                <a:cxn ang="0">
                  <a:pos x="195" y="410"/>
                </a:cxn>
                <a:cxn ang="0">
                  <a:pos x="175" y="380"/>
                </a:cxn>
                <a:cxn ang="0">
                  <a:pos x="165" y="341"/>
                </a:cxn>
                <a:cxn ang="0">
                  <a:pos x="156" y="361"/>
                </a:cxn>
                <a:cxn ang="0">
                  <a:pos x="117" y="351"/>
                </a:cxn>
                <a:cxn ang="0">
                  <a:pos x="87" y="361"/>
                </a:cxn>
                <a:cxn ang="0">
                  <a:pos x="58" y="312"/>
                </a:cxn>
                <a:cxn ang="0">
                  <a:pos x="78" y="293"/>
                </a:cxn>
                <a:cxn ang="0">
                  <a:pos x="48" y="263"/>
                </a:cxn>
                <a:cxn ang="0">
                  <a:pos x="48" y="244"/>
                </a:cxn>
                <a:cxn ang="0">
                  <a:pos x="68" y="215"/>
                </a:cxn>
                <a:cxn ang="0">
                  <a:pos x="48" y="156"/>
                </a:cxn>
                <a:cxn ang="0">
                  <a:pos x="19" y="166"/>
                </a:cxn>
                <a:cxn ang="0">
                  <a:pos x="0" y="146"/>
                </a:cxn>
                <a:cxn ang="0">
                  <a:pos x="19" y="117"/>
                </a:cxn>
                <a:cxn ang="0">
                  <a:pos x="58" y="137"/>
                </a:cxn>
                <a:cxn ang="0">
                  <a:pos x="68" y="127"/>
                </a:cxn>
                <a:cxn ang="0">
                  <a:pos x="68" y="97"/>
                </a:cxn>
                <a:cxn ang="0">
                  <a:pos x="48" y="88"/>
                </a:cxn>
                <a:cxn ang="0">
                  <a:pos x="29" y="68"/>
                </a:cxn>
                <a:cxn ang="0">
                  <a:pos x="39" y="68"/>
                </a:cxn>
                <a:cxn ang="0">
                  <a:pos x="58" y="49"/>
                </a:cxn>
                <a:cxn ang="0">
                  <a:pos x="78" y="39"/>
                </a:cxn>
                <a:cxn ang="0">
                  <a:pos x="107" y="58"/>
                </a:cxn>
                <a:cxn ang="0">
                  <a:pos x="136" y="78"/>
                </a:cxn>
                <a:cxn ang="0">
                  <a:pos x="175" y="107"/>
                </a:cxn>
                <a:cxn ang="0">
                  <a:pos x="204" y="97"/>
                </a:cxn>
                <a:cxn ang="0">
                  <a:pos x="224" y="78"/>
                </a:cxn>
                <a:cxn ang="0">
                  <a:pos x="224" y="49"/>
                </a:cxn>
                <a:cxn ang="0">
                  <a:pos x="253" y="39"/>
                </a:cxn>
                <a:cxn ang="0">
                  <a:pos x="283" y="49"/>
                </a:cxn>
                <a:cxn ang="0">
                  <a:pos x="273" y="29"/>
                </a:cxn>
                <a:cxn ang="0">
                  <a:pos x="312" y="29"/>
                </a:cxn>
                <a:cxn ang="0">
                  <a:pos x="322" y="0"/>
                </a:cxn>
                <a:cxn ang="0">
                  <a:pos x="380" y="39"/>
                </a:cxn>
                <a:cxn ang="0">
                  <a:pos x="419" y="19"/>
                </a:cxn>
                <a:cxn ang="0">
                  <a:pos x="439" y="39"/>
                </a:cxn>
                <a:cxn ang="0">
                  <a:pos x="458" y="49"/>
                </a:cxn>
                <a:cxn ang="0">
                  <a:pos x="448" y="117"/>
                </a:cxn>
                <a:cxn ang="0">
                  <a:pos x="409" y="146"/>
                </a:cxn>
                <a:cxn ang="0">
                  <a:pos x="409" y="176"/>
                </a:cxn>
                <a:cxn ang="0">
                  <a:pos x="380" y="215"/>
                </a:cxn>
                <a:cxn ang="0">
                  <a:pos x="322" y="215"/>
                </a:cxn>
                <a:cxn ang="0">
                  <a:pos x="312" y="244"/>
                </a:cxn>
                <a:cxn ang="0">
                  <a:pos x="312" y="273"/>
                </a:cxn>
                <a:cxn ang="0">
                  <a:pos x="292" y="322"/>
                </a:cxn>
                <a:cxn ang="0">
                  <a:pos x="312" y="341"/>
                </a:cxn>
                <a:cxn ang="0">
                  <a:pos x="331" y="371"/>
                </a:cxn>
              </a:cxnLst>
              <a:rect l="0" t="0" r="r" b="b"/>
              <a:pathLst>
                <a:path w="458" h="468">
                  <a:moveTo>
                    <a:pt x="331" y="371"/>
                  </a:moveTo>
                  <a:lnTo>
                    <a:pt x="322" y="390"/>
                  </a:lnTo>
                  <a:lnTo>
                    <a:pt x="331" y="400"/>
                  </a:lnTo>
                  <a:lnTo>
                    <a:pt x="351" y="390"/>
                  </a:lnTo>
                  <a:lnTo>
                    <a:pt x="361" y="400"/>
                  </a:lnTo>
                  <a:lnTo>
                    <a:pt x="370" y="410"/>
                  </a:lnTo>
                  <a:lnTo>
                    <a:pt x="351" y="419"/>
                  </a:lnTo>
                  <a:lnTo>
                    <a:pt x="322" y="439"/>
                  </a:lnTo>
                  <a:lnTo>
                    <a:pt x="302" y="449"/>
                  </a:lnTo>
                  <a:lnTo>
                    <a:pt x="283" y="439"/>
                  </a:lnTo>
                  <a:lnTo>
                    <a:pt x="263" y="449"/>
                  </a:lnTo>
                  <a:lnTo>
                    <a:pt x="273" y="458"/>
                  </a:lnTo>
                  <a:lnTo>
                    <a:pt x="253" y="468"/>
                  </a:lnTo>
                  <a:lnTo>
                    <a:pt x="244" y="468"/>
                  </a:lnTo>
                  <a:lnTo>
                    <a:pt x="244" y="458"/>
                  </a:lnTo>
                  <a:lnTo>
                    <a:pt x="204" y="449"/>
                  </a:lnTo>
                  <a:lnTo>
                    <a:pt x="204" y="439"/>
                  </a:lnTo>
                  <a:lnTo>
                    <a:pt x="195" y="410"/>
                  </a:lnTo>
                  <a:lnTo>
                    <a:pt x="195" y="390"/>
                  </a:lnTo>
                  <a:lnTo>
                    <a:pt x="175" y="380"/>
                  </a:lnTo>
                  <a:lnTo>
                    <a:pt x="175" y="361"/>
                  </a:lnTo>
                  <a:lnTo>
                    <a:pt x="165" y="341"/>
                  </a:lnTo>
                  <a:lnTo>
                    <a:pt x="165" y="351"/>
                  </a:lnTo>
                  <a:lnTo>
                    <a:pt x="156" y="361"/>
                  </a:lnTo>
                  <a:lnTo>
                    <a:pt x="146" y="361"/>
                  </a:lnTo>
                  <a:lnTo>
                    <a:pt x="117" y="351"/>
                  </a:lnTo>
                  <a:lnTo>
                    <a:pt x="107" y="351"/>
                  </a:lnTo>
                  <a:lnTo>
                    <a:pt x="87" y="361"/>
                  </a:lnTo>
                  <a:lnTo>
                    <a:pt x="58" y="33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63"/>
                  </a:lnTo>
                  <a:lnTo>
                    <a:pt x="48" y="244"/>
                  </a:lnTo>
                  <a:lnTo>
                    <a:pt x="58" y="215"/>
                  </a:lnTo>
                  <a:lnTo>
                    <a:pt x="68" y="215"/>
                  </a:lnTo>
                  <a:lnTo>
                    <a:pt x="68" y="185"/>
                  </a:lnTo>
                  <a:lnTo>
                    <a:pt x="48" y="156"/>
                  </a:lnTo>
                  <a:lnTo>
                    <a:pt x="39" y="156"/>
                  </a:lnTo>
                  <a:lnTo>
                    <a:pt x="19" y="166"/>
                  </a:lnTo>
                  <a:lnTo>
                    <a:pt x="9" y="156"/>
                  </a:lnTo>
                  <a:lnTo>
                    <a:pt x="0" y="146"/>
                  </a:lnTo>
                  <a:lnTo>
                    <a:pt x="19" y="137"/>
                  </a:lnTo>
                  <a:lnTo>
                    <a:pt x="19" y="117"/>
                  </a:lnTo>
                  <a:lnTo>
                    <a:pt x="39" y="127"/>
                  </a:lnTo>
                  <a:lnTo>
                    <a:pt x="58" y="137"/>
                  </a:lnTo>
                  <a:lnTo>
                    <a:pt x="68" y="146"/>
                  </a:lnTo>
                  <a:lnTo>
                    <a:pt x="68" y="127"/>
                  </a:lnTo>
                  <a:lnTo>
                    <a:pt x="78" y="117"/>
                  </a:lnTo>
                  <a:lnTo>
                    <a:pt x="68" y="97"/>
                  </a:lnTo>
                  <a:lnTo>
                    <a:pt x="48" y="88"/>
                  </a:lnTo>
                  <a:lnTo>
                    <a:pt x="39" y="88"/>
                  </a:lnTo>
                  <a:lnTo>
                    <a:pt x="29" y="68"/>
                  </a:lnTo>
                  <a:lnTo>
                    <a:pt x="9" y="68"/>
                  </a:lnTo>
                  <a:lnTo>
                    <a:pt x="39" y="68"/>
                  </a:lnTo>
                  <a:lnTo>
                    <a:pt x="39" y="49"/>
                  </a:lnTo>
                  <a:lnTo>
                    <a:pt x="58" y="49"/>
                  </a:lnTo>
                  <a:lnTo>
                    <a:pt x="68" y="39"/>
                  </a:lnTo>
                  <a:lnTo>
                    <a:pt x="78" y="39"/>
                  </a:lnTo>
                  <a:lnTo>
                    <a:pt x="97" y="58"/>
                  </a:lnTo>
                  <a:lnTo>
                    <a:pt x="107" y="58"/>
                  </a:lnTo>
                  <a:lnTo>
                    <a:pt x="126" y="58"/>
                  </a:lnTo>
                  <a:lnTo>
                    <a:pt x="136" y="78"/>
                  </a:lnTo>
                  <a:lnTo>
                    <a:pt x="156" y="97"/>
                  </a:lnTo>
                  <a:lnTo>
                    <a:pt x="175" y="107"/>
                  </a:lnTo>
                  <a:lnTo>
                    <a:pt x="185" y="97"/>
                  </a:lnTo>
                  <a:lnTo>
                    <a:pt x="204" y="97"/>
                  </a:lnTo>
                  <a:lnTo>
                    <a:pt x="204" y="78"/>
                  </a:lnTo>
                  <a:lnTo>
                    <a:pt x="224" y="78"/>
                  </a:lnTo>
                  <a:lnTo>
                    <a:pt x="224" y="68"/>
                  </a:lnTo>
                  <a:lnTo>
                    <a:pt x="224" y="49"/>
                  </a:lnTo>
                  <a:lnTo>
                    <a:pt x="234" y="29"/>
                  </a:lnTo>
                  <a:lnTo>
                    <a:pt x="253" y="39"/>
                  </a:lnTo>
                  <a:lnTo>
                    <a:pt x="273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73" y="29"/>
                  </a:lnTo>
                  <a:lnTo>
                    <a:pt x="292" y="29"/>
                  </a:lnTo>
                  <a:lnTo>
                    <a:pt x="312" y="29"/>
                  </a:lnTo>
                  <a:lnTo>
                    <a:pt x="322" y="19"/>
                  </a:lnTo>
                  <a:lnTo>
                    <a:pt x="322" y="0"/>
                  </a:lnTo>
                  <a:lnTo>
                    <a:pt x="361" y="19"/>
                  </a:lnTo>
                  <a:lnTo>
                    <a:pt x="380" y="39"/>
                  </a:lnTo>
                  <a:lnTo>
                    <a:pt x="390" y="39"/>
                  </a:lnTo>
                  <a:lnTo>
                    <a:pt x="419" y="19"/>
                  </a:lnTo>
                  <a:lnTo>
                    <a:pt x="429" y="19"/>
                  </a:lnTo>
                  <a:lnTo>
                    <a:pt x="439" y="39"/>
                  </a:lnTo>
                  <a:lnTo>
                    <a:pt x="458" y="29"/>
                  </a:lnTo>
                  <a:lnTo>
                    <a:pt x="458" y="49"/>
                  </a:lnTo>
                  <a:lnTo>
                    <a:pt x="458" y="107"/>
                  </a:lnTo>
                  <a:lnTo>
                    <a:pt x="448" y="117"/>
                  </a:lnTo>
                  <a:lnTo>
                    <a:pt x="429" y="117"/>
                  </a:lnTo>
                  <a:lnTo>
                    <a:pt x="409" y="146"/>
                  </a:lnTo>
                  <a:lnTo>
                    <a:pt x="419" y="156"/>
                  </a:lnTo>
                  <a:lnTo>
                    <a:pt x="409" y="176"/>
                  </a:lnTo>
                  <a:lnTo>
                    <a:pt x="390" y="205"/>
                  </a:lnTo>
                  <a:lnTo>
                    <a:pt x="380" y="215"/>
                  </a:lnTo>
                  <a:lnTo>
                    <a:pt x="341" y="205"/>
                  </a:lnTo>
                  <a:lnTo>
                    <a:pt x="322" y="215"/>
                  </a:lnTo>
                  <a:lnTo>
                    <a:pt x="302" y="234"/>
                  </a:lnTo>
                  <a:lnTo>
                    <a:pt x="312" y="244"/>
                  </a:lnTo>
                  <a:lnTo>
                    <a:pt x="322" y="263"/>
                  </a:lnTo>
                  <a:lnTo>
                    <a:pt x="312" y="273"/>
                  </a:lnTo>
                  <a:lnTo>
                    <a:pt x="302" y="293"/>
                  </a:lnTo>
                  <a:lnTo>
                    <a:pt x="292" y="322"/>
                  </a:lnTo>
                  <a:lnTo>
                    <a:pt x="302" y="322"/>
                  </a:lnTo>
                  <a:lnTo>
                    <a:pt x="312" y="341"/>
                  </a:lnTo>
                  <a:lnTo>
                    <a:pt x="331" y="371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47" name="Group 198"/>
            <p:cNvGrpSpPr>
              <a:grpSpLocks/>
            </p:cNvGrpSpPr>
            <p:nvPr/>
          </p:nvGrpSpPr>
          <p:grpSpPr bwMode="auto">
            <a:xfrm>
              <a:off x="7871" y="3825"/>
              <a:ext cx="439" cy="907"/>
              <a:chOff x="7872" y="3825"/>
              <a:chExt cx="439" cy="907"/>
            </a:xfrm>
          </p:grpSpPr>
          <p:sp>
            <p:nvSpPr>
              <p:cNvPr id="330" name="Freeform 200"/>
              <p:cNvSpPr>
                <a:spLocks/>
              </p:cNvSpPr>
              <p:nvPr/>
            </p:nvSpPr>
            <p:spPr bwMode="auto">
              <a:xfrm>
                <a:off x="7871" y="3824"/>
                <a:ext cx="440" cy="907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  <a:lnTo>
                      <a:pt x="390" y="87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1" name="Freeform 199"/>
              <p:cNvSpPr>
                <a:spLocks/>
              </p:cNvSpPr>
              <p:nvPr/>
            </p:nvSpPr>
            <p:spPr bwMode="auto">
              <a:xfrm>
                <a:off x="7871" y="3824"/>
                <a:ext cx="440" cy="907"/>
              </a:xfrm>
              <a:custGeom>
                <a:avLst/>
                <a:gdLst>
                  <a:gd name="T0" fmla="*/ 370 w 439"/>
                  <a:gd name="T1" fmla="*/ 68 h 907"/>
                  <a:gd name="T2" fmla="*/ 370 w 439"/>
                  <a:gd name="T3" fmla="*/ 39 h 907"/>
                  <a:gd name="T4" fmla="*/ 361 w 439"/>
                  <a:gd name="T5" fmla="*/ 9 h 907"/>
                  <a:gd name="T6" fmla="*/ 322 w 439"/>
                  <a:gd name="T7" fmla="*/ 9 h 907"/>
                  <a:gd name="T8" fmla="*/ 292 w 439"/>
                  <a:gd name="T9" fmla="*/ 19 h 907"/>
                  <a:gd name="T10" fmla="*/ 273 w 439"/>
                  <a:gd name="T11" fmla="*/ 78 h 907"/>
                  <a:gd name="T12" fmla="*/ 312 w 439"/>
                  <a:gd name="T13" fmla="*/ 87 h 907"/>
                  <a:gd name="T14" fmla="*/ 341 w 439"/>
                  <a:gd name="T15" fmla="*/ 107 h 907"/>
                  <a:gd name="T16" fmla="*/ 283 w 439"/>
                  <a:gd name="T17" fmla="*/ 175 h 907"/>
                  <a:gd name="T18" fmla="*/ 302 w 439"/>
                  <a:gd name="T19" fmla="*/ 214 h 907"/>
                  <a:gd name="T20" fmla="*/ 263 w 439"/>
                  <a:gd name="T21" fmla="*/ 244 h 907"/>
                  <a:gd name="T22" fmla="*/ 214 w 439"/>
                  <a:gd name="T23" fmla="*/ 253 h 907"/>
                  <a:gd name="T24" fmla="*/ 195 w 439"/>
                  <a:gd name="T25" fmla="*/ 263 h 907"/>
                  <a:gd name="T26" fmla="*/ 166 w 439"/>
                  <a:gd name="T27" fmla="*/ 253 h 907"/>
                  <a:gd name="T28" fmla="*/ 136 w 439"/>
                  <a:gd name="T29" fmla="*/ 273 h 907"/>
                  <a:gd name="T30" fmla="*/ 146 w 439"/>
                  <a:gd name="T31" fmla="*/ 322 h 907"/>
                  <a:gd name="T32" fmla="*/ 117 w 439"/>
                  <a:gd name="T33" fmla="*/ 341 h 907"/>
                  <a:gd name="T34" fmla="*/ 136 w 439"/>
                  <a:gd name="T35" fmla="*/ 380 h 907"/>
                  <a:gd name="T36" fmla="*/ 126 w 439"/>
                  <a:gd name="T37" fmla="*/ 409 h 907"/>
                  <a:gd name="T38" fmla="*/ 126 w 439"/>
                  <a:gd name="T39" fmla="*/ 448 h 907"/>
                  <a:gd name="T40" fmla="*/ 136 w 439"/>
                  <a:gd name="T41" fmla="*/ 478 h 907"/>
                  <a:gd name="T42" fmla="*/ 136 w 439"/>
                  <a:gd name="T43" fmla="*/ 517 h 907"/>
                  <a:gd name="T44" fmla="*/ 107 w 439"/>
                  <a:gd name="T45" fmla="*/ 546 h 907"/>
                  <a:gd name="T46" fmla="*/ 39 w 439"/>
                  <a:gd name="T47" fmla="*/ 566 h 907"/>
                  <a:gd name="T48" fmla="*/ 19 w 439"/>
                  <a:gd name="T49" fmla="*/ 614 h 907"/>
                  <a:gd name="T50" fmla="*/ 0 w 439"/>
                  <a:gd name="T51" fmla="*/ 644 h 907"/>
                  <a:gd name="T52" fmla="*/ 39 w 439"/>
                  <a:gd name="T53" fmla="*/ 683 h 907"/>
                  <a:gd name="T54" fmla="*/ 68 w 439"/>
                  <a:gd name="T55" fmla="*/ 731 h 907"/>
                  <a:gd name="T56" fmla="*/ 107 w 439"/>
                  <a:gd name="T57" fmla="*/ 819 h 907"/>
                  <a:gd name="T58" fmla="*/ 58 w 439"/>
                  <a:gd name="T59" fmla="*/ 858 h 907"/>
                  <a:gd name="T60" fmla="*/ 78 w 439"/>
                  <a:gd name="T61" fmla="*/ 888 h 907"/>
                  <a:gd name="T62" fmla="*/ 107 w 439"/>
                  <a:gd name="T63" fmla="*/ 897 h 907"/>
                  <a:gd name="T64" fmla="*/ 87 w 439"/>
                  <a:gd name="T65" fmla="*/ 868 h 907"/>
                  <a:gd name="T66" fmla="*/ 117 w 439"/>
                  <a:gd name="T67" fmla="*/ 858 h 907"/>
                  <a:gd name="T68" fmla="*/ 136 w 439"/>
                  <a:gd name="T69" fmla="*/ 829 h 907"/>
                  <a:gd name="T70" fmla="*/ 136 w 439"/>
                  <a:gd name="T71" fmla="*/ 809 h 907"/>
                  <a:gd name="T72" fmla="*/ 146 w 439"/>
                  <a:gd name="T73" fmla="*/ 770 h 907"/>
                  <a:gd name="T74" fmla="*/ 156 w 439"/>
                  <a:gd name="T75" fmla="*/ 780 h 907"/>
                  <a:gd name="T76" fmla="*/ 175 w 439"/>
                  <a:gd name="T77" fmla="*/ 761 h 907"/>
                  <a:gd name="T78" fmla="*/ 195 w 439"/>
                  <a:gd name="T79" fmla="*/ 761 h 907"/>
                  <a:gd name="T80" fmla="*/ 214 w 439"/>
                  <a:gd name="T81" fmla="*/ 780 h 907"/>
                  <a:gd name="T82" fmla="*/ 244 w 439"/>
                  <a:gd name="T83" fmla="*/ 770 h 907"/>
                  <a:gd name="T84" fmla="*/ 273 w 439"/>
                  <a:gd name="T85" fmla="*/ 761 h 907"/>
                  <a:gd name="T86" fmla="*/ 292 w 439"/>
                  <a:gd name="T87" fmla="*/ 761 h 907"/>
                  <a:gd name="T88" fmla="*/ 322 w 439"/>
                  <a:gd name="T89" fmla="*/ 731 h 907"/>
                  <a:gd name="T90" fmla="*/ 341 w 439"/>
                  <a:gd name="T91" fmla="*/ 692 h 907"/>
                  <a:gd name="T92" fmla="*/ 370 w 439"/>
                  <a:gd name="T93" fmla="*/ 644 h 907"/>
                  <a:gd name="T94" fmla="*/ 390 w 439"/>
                  <a:gd name="T95" fmla="*/ 595 h 907"/>
                  <a:gd name="T96" fmla="*/ 400 w 439"/>
                  <a:gd name="T97" fmla="*/ 575 h 907"/>
                  <a:gd name="T98" fmla="*/ 400 w 439"/>
                  <a:gd name="T99" fmla="*/ 527 h 907"/>
                  <a:gd name="T100" fmla="*/ 390 w 439"/>
                  <a:gd name="T101" fmla="*/ 507 h 907"/>
                  <a:gd name="T102" fmla="*/ 400 w 439"/>
                  <a:gd name="T103" fmla="*/ 478 h 907"/>
                  <a:gd name="T104" fmla="*/ 409 w 439"/>
                  <a:gd name="T105" fmla="*/ 419 h 907"/>
                  <a:gd name="T106" fmla="*/ 419 w 439"/>
                  <a:gd name="T107" fmla="*/ 341 h 907"/>
                  <a:gd name="T108" fmla="*/ 439 w 439"/>
                  <a:gd name="T109" fmla="*/ 283 h 907"/>
                  <a:gd name="T110" fmla="*/ 439 w 439"/>
                  <a:gd name="T111" fmla="*/ 224 h 907"/>
                  <a:gd name="T112" fmla="*/ 429 w 439"/>
                  <a:gd name="T113" fmla="*/ 175 h 907"/>
                  <a:gd name="T114" fmla="*/ 419 w 439"/>
                  <a:gd name="T115" fmla="*/ 126 h 907"/>
                  <a:gd name="T116" fmla="*/ 409 w 439"/>
                  <a:gd name="T117" fmla="*/ 78 h 90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39"/>
                  <a:gd name="T178" fmla="*/ 0 h 907"/>
                  <a:gd name="T179" fmla="*/ 439 w 439"/>
                  <a:gd name="T180" fmla="*/ 907 h 90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39" h="907">
                    <a:moveTo>
                      <a:pt x="390" y="87"/>
                    </a:moveTo>
                    <a:lnTo>
                      <a:pt x="370" y="78"/>
                    </a:lnTo>
                    <a:lnTo>
                      <a:pt x="370" y="68"/>
                    </a:lnTo>
                    <a:lnTo>
                      <a:pt x="390" y="48"/>
                    </a:lnTo>
                    <a:lnTo>
                      <a:pt x="380" y="48"/>
                    </a:lnTo>
                    <a:lnTo>
                      <a:pt x="370" y="39"/>
                    </a:lnTo>
                    <a:lnTo>
                      <a:pt x="351" y="39"/>
                    </a:lnTo>
                    <a:lnTo>
                      <a:pt x="351" y="29"/>
                    </a:lnTo>
                    <a:lnTo>
                      <a:pt x="361" y="9"/>
                    </a:lnTo>
                    <a:lnTo>
                      <a:pt x="351" y="9"/>
                    </a:lnTo>
                    <a:lnTo>
                      <a:pt x="341" y="19"/>
                    </a:lnTo>
                    <a:lnTo>
                      <a:pt x="322" y="9"/>
                    </a:lnTo>
                    <a:lnTo>
                      <a:pt x="312" y="0"/>
                    </a:lnTo>
                    <a:lnTo>
                      <a:pt x="302" y="0"/>
                    </a:lnTo>
                    <a:lnTo>
                      <a:pt x="292" y="19"/>
                    </a:lnTo>
                    <a:lnTo>
                      <a:pt x="273" y="48"/>
                    </a:lnTo>
                    <a:lnTo>
                      <a:pt x="263" y="58"/>
                    </a:lnTo>
                    <a:lnTo>
                      <a:pt x="273" y="78"/>
                    </a:lnTo>
                    <a:lnTo>
                      <a:pt x="292" y="87"/>
                    </a:lnTo>
                    <a:lnTo>
                      <a:pt x="292" y="97"/>
                    </a:lnTo>
                    <a:lnTo>
                      <a:pt x="312" y="87"/>
                    </a:lnTo>
                    <a:lnTo>
                      <a:pt x="331" y="87"/>
                    </a:lnTo>
                    <a:lnTo>
                      <a:pt x="341" y="107"/>
                    </a:lnTo>
                    <a:lnTo>
                      <a:pt x="331" y="146"/>
                    </a:lnTo>
                    <a:lnTo>
                      <a:pt x="302" y="156"/>
                    </a:lnTo>
                    <a:lnTo>
                      <a:pt x="283" y="175"/>
                    </a:lnTo>
                    <a:lnTo>
                      <a:pt x="283" y="185"/>
                    </a:lnTo>
                    <a:lnTo>
                      <a:pt x="302" y="205"/>
                    </a:lnTo>
                    <a:lnTo>
                      <a:pt x="302" y="214"/>
                    </a:lnTo>
                    <a:lnTo>
                      <a:pt x="292" y="234"/>
                    </a:lnTo>
                    <a:lnTo>
                      <a:pt x="273" y="234"/>
                    </a:lnTo>
                    <a:lnTo>
                      <a:pt x="263" y="244"/>
                    </a:lnTo>
                    <a:lnTo>
                      <a:pt x="253" y="244"/>
                    </a:lnTo>
                    <a:lnTo>
                      <a:pt x="234" y="253"/>
                    </a:lnTo>
                    <a:lnTo>
                      <a:pt x="214" y="253"/>
                    </a:lnTo>
                    <a:lnTo>
                      <a:pt x="205" y="263"/>
                    </a:lnTo>
                    <a:lnTo>
                      <a:pt x="195" y="263"/>
                    </a:lnTo>
                    <a:lnTo>
                      <a:pt x="185" y="263"/>
                    </a:lnTo>
                    <a:lnTo>
                      <a:pt x="175" y="253"/>
                    </a:lnTo>
                    <a:lnTo>
                      <a:pt x="166" y="253"/>
                    </a:lnTo>
                    <a:lnTo>
                      <a:pt x="156" y="263"/>
                    </a:lnTo>
                    <a:lnTo>
                      <a:pt x="146" y="263"/>
                    </a:lnTo>
                    <a:lnTo>
                      <a:pt x="136" y="273"/>
                    </a:lnTo>
                    <a:lnTo>
                      <a:pt x="146" y="292"/>
                    </a:lnTo>
                    <a:lnTo>
                      <a:pt x="136" y="302"/>
                    </a:lnTo>
                    <a:lnTo>
                      <a:pt x="146" y="322"/>
                    </a:lnTo>
                    <a:lnTo>
                      <a:pt x="126" y="322"/>
                    </a:lnTo>
                    <a:lnTo>
                      <a:pt x="126" y="331"/>
                    </a:lnTo>
                    <a:lnTo>
                      <a:pt x="117" y="341"/>
                    </a:lnTo>
                    <a:lnTo>
                      <a:pt x="126" y="361"/>
                    </a:lnTo>
                    <a:lnTo>
                      <a:pt x="126" y="370"/>
                    </a:lnTo>
                    <a:lnTo>
                      <a:pt x="136" y="380"/>
                    </a:lnTo>
                    <a:lnTo>
                      <a:pt x="136" y="390"/>
                    </a:lnTo>
                    <a:lnTo>
                      <a:pt x="126" y="400"/>
                    </a:lnTo>
                    <a:lnTo>
                      <a:pt x="126" y="409"/>
                    </a:lnTo>
                    <a:lnTo>
                      <a:pt x="136" y="419"/>
                    </a:lnTo>
                    <a:lnTo>
                      <a:pt x="126" y="439"/>
                    </a:lnTo>
                    <a:lnTo>
                      <a:pt x="126" y="448"/>
                    </a:lnTo>
                    <a:lnTo>
                      <a:pt x="136" y="458"/>
                    </a:lnTo>
                    <a:lnTo>
                      <a:pt x="136" y="468"/>
                    </a:lnTo>
                    <a:lnTo>
                      <a:pt x="136" y="478"/>
                    </a:lnTo>
                    <a:lnTo>
                      <a:pt x="126" y="487"/>
                    </a:lnTo>
                    <a:lnTo>
                      <a:pt x="126" y="507"/>
                    </a:lnTo>
                    <a:lnTo>
                      <a:pt x="136" y="517"/>
                    </a:lnTo>
                    <a:lnTo>
                      <a:pt x="146" y="536"/>
                    </a:lnTo>
                    <a:lnTo>
                      <a:pt x="126" y="546"/>
                    </a:lnTo>
                    <a:lnTo>
                      <a:pt x="107" y="546"/>
                    </a:lnTo>
                    <a:lnTo>
                      <a:pt x="58" y="556"/>
                    </a:lnTo>
                    <a:lnTo>
                      <a:pt x="39" y="556"/>
                    </a:lnTo>
                    <a:lnTo>
                      <a:pt x="39" y="566"/>
                    </a:lnTo>
                    <a:lnTo>
                      <a:pt x="39" y="585"/>
                    </a:lnTo>
                    <a:lnTo>
                      <a:pt x="29" y="605"/>
                    </a:lnTo>
                    <a:lnTo>
                      <a:pt x="19" y="614"/>
                    </a:lnTo>
                    <a:lnTo>
                      <a:pt x="9" y="624"/>
                    </a:lnTo>
                    <a:lnTo>
                      <a:pt x="0" y="634"/>
                    </a:lnTo>
                    <a:lnTo>
                      <a:pt x="0" y="644"/>
                    </a:lnTo>
                    <a:lnTo>
                      <a:pt x="9" y="644"/>
                    </a:lnTo>
                    <a:lnTo>
                      <a:pt x="29" y="653"/>
                    </a:lnTo>
                    <a:lnTo>
                      <a:pt x="39" y="683"/>
                    </a:lnTo>
                    <a:lnTo>
                      <a:pt x="58" y="692"/>
                    </a:lnTo>
                    <a:lnTo>
                      <a:pt x="58" y="702"/>
                    </a:lnTo>
                    <a:lnTo>
                      <a:pt x="68" y="731"/>
                    </a:lnTo>
                    <a:lnTo>
                      <a:pt x="87" y="770"/>
                    </a:lnTo>
                    <a:lnTo>
                      <a:pt x="107" y="800"/>
                    </a:lnTo>
                    <a:lnTo>
                      <a:pt x="107" y="819"/>
                    </a:lnTo>
                    <a:lnTo>
                      <a:pt x="97" y="839"/>
                    </a:lnTo>
                    <a:lnTo>
                      <a:pt x="78" y="848"/>
                    </a:lnTo>
                    <a:lnTo>
                      <a:pt x="58" y="858"/>
                    </a:lnTo>
                    <a:lnTo>
                      <a:pt x="58" y="878"/>
                    </a:lnTo>
                    <a:lnTo>
                      <a:pt x="78" y="888"/>
                    </a:lnTo>
                    <a:lnTo>
                      <a:pt x="97" y="897"/>
                    </a:lnTo>
                    <a:lnTo>
                      <a:pt x="107" y="907"/>
                    </a:lnTo>
                    <a:lnTo>
                      <a:pt x="107" y="897"/>
                    </a:lnTo>
                    <a:lnTo>
                      <a:pt x="107" y="878"/>
                    </a:lnTo>
                    <a:lnTo>
                      <a:pt x="97" y="878"/>
                    </a:lnTo>
                    <a:lnTo>
                      <a:pt x="87" y="868"/>
                    </a:lnTo>
                    <a:lnTo>
                      <a:pt x="97" y="868"/>
                    </a:lnTo>
                    <a:lnTo>
                      <a:pt x="107" y="868"/>
                    </a:lnTo>
                    <a:lnTo>
                      <a:pt x="117" y="858"/>
                    </a:lnTo>
                    <a:lnTo>
                      <a:pt x="136" y="858"/>
                    </a:lnTo>
                    <a:lnTo>
                      <a:pt x="126" y="839"/>
                    </a:lnTo>
                    <a:lnTo>
                      <a:pt x="136" y="829"/>
                    </a:lnTo>
                    <a:lnTo>
                      <a:pt x="136" y="819"/>
                    </a:lnTo>
                    <a:lnTo>
                      <a:pt x="126" y="809"/>
                    </a:lnTo>
                    <a:lnTo>
                      <a:pt x="136" y="809"/>
                    </a:lnTo>
                    <a:lnTo>
                      <a:pt x="146" y="790"/>
                    </a:lnTo>
                    <a:lnTo>
                      <a:pt x="146" y="780"/>
                    </a:lnTo>
                    <a:lnTo>
                      <a:pt x="146" y="770"/>
                    </a:lnTo>
                    <a:lnTo>
                      <a:pt x="146" y="761"/>
                    </a:lnTo>
                    <a:lnTo>
                      <a:pt x="156" y="761"/>
                    </a:lnTo>
                    <a:lnTo>
                      <a:pt x="156" y="780"/>
                    </a:lnTo>
                    <a:lnTo>
                      <a:pt x="166" y="780"/>
                    </a:lnTo>
                    <a:lnTo>
                      <a:pt x="175" y="770"/>
                    </a:lnTo>
                    <a:lnTo>
                      <a:pt x="175" y="761"/>
                    </a:lnTo>
                    <a:lnTo>
                      <a:pt x="185" y="751"/>
                    </a:lnTo>
                    <a:lnTo>
                      <a:pt x="185" y="741"/>
                    </a:lnTo>
                    <a:lnTo>
                      <a:pt x="195" y="761"/>
                    </a:lnTo>
                    <a:lnTo>
                      <a:pt x="205" y="770"/>
                    </a:lnTo>
                    <a:lnTo>
                      <a:pt x="205" y="780"/>
                    </a:lnTo>
                    <a:lnTo>
                      <a:pt x="214" y="780"/>
                    </a:lnTo>
                    <a:lnTo>
                      <a:pt x="224" y="770"/>
                    </a:lnTo>
                    <a:lnTo>
                      <a:pt x="234" y="780"/>
                    </a:lnTo>
                    <a:lnTo>
                      <a:pt x="244" y="770"/>
                    </a:lnTo>
                    <a:lnTo>
                      <a:pt x="263" y="780"/>
                    </a:lnTo>
                    <a:lnTo>
                      <a:pt x="263" y="761"/>
                    </a:lnTo>
                    <a:lnTo>
                      <a:pt x="273" y="761"/>
                    </a:lnTo>
                    <a:lnTo>
                      <a:pt x="273" y="780"/>
                    </a:lnTo>
                    <a:lnTo>
                      <a:pt x="283" y="770"/>
                    </a:lnTo>
                    <a:lnTo>
                      <a:pt x="292" y="761"/>
                    </a:lnTo>
                    <a:lnTo>
                      <a:pt x="302" y="741"/>
                    </a:lnTo>
                    <a:lnTo>
                      <a:pt x="312" y="731"/>
                    </a:lnTo>
                    <a:lnTo>
                      <a:pt x="322" y="731"/>
                    </a:lnTo>
                    <a:lnTo>
                      <a:pt x="341" y="722"/>
                    </a:lnTo>
                    <a:lnTo>
                      <a:pt x="341" y="702"/>
                    </a:lnTo>
                    <a:lnTo>
                      <a:pt x="341" y="692"/>
                    </a:lnTo>
                    <a:lnTo>
                      <a:pt x="351" y="673"/>
                    </a:lnTo>
                    <a:lnTo>
                      <a:pt x="370" y="653"/>
                    </a:lnTo>
                    <a:lnTo>
                      <a:pt x="370" y="644"/>
                    </a:lnTo>
                    <a:lnTo>
                      <a:pt x="370" y="614"/>
                    </a:lnTo>
                    <a:lnTo>
                      <a:pt x="380" y="614"/>
                    </a:lnTo>
                    <a:lnTo>
                      <a:pt x="390" y="595"/>
                    </a:lnTo>
                    <a:lnTo>
                      <a:pt x="380" y="585"/>
                    </a:lnTo>
                    <a:lnTo>
                      <a:pt x="390" y="585"/>
                    </a:lnTo>
                    <a:lnTo>
                      <a:pt x="400" y="575"/>
                    </a:lnTo>
                    <a:lnTo>
                      <a:pt x="400" y="566"/>
                    </a:lnTo>
                    <a:lnTo>
                      <a:pt x="390" y="546"/>
                    </a:lnTo>
                    <a:lnTo>
                      <a:pt x="400" y="527"/>
                    </a:lnTo>
                    <a:lnTo>
                      <a:pt x="390" y="527"/>
                    </a:lnTo>
                    <a:lnTo>
                      <a:pt x="390" y="517"/>
                    </a:lnTo>
                    <a:lnTo>
                      <a:pt x="390" y="507"/>
                    </a:lnTo>
                    <a:lnTo>
                      <a:pt x="400" y="497"/>
                    </a:lnTo>
                    <a:lnTo>
                      <a:pt x="390" y="487"/>
                    </a:lnTo>
                    <a:lnTo>
                      <a:pt x="400" y="478"/>
                    </a:lnTo>
                    <a:lnTo>
                      <a:pt x="409" y="458"/>
                    </a:lnTo>
                    <a:lnTo>
                      <a:pt x="400" y="439"/>
                    </a:lnTo>
                    <a:lnTo>
                      <a:pt x="409" y="419"/>
                    </a:lnTo>
                    <a:lnTo>
                      <a:pt x="409" y="380"/>
                    </a:lnTo>
                    <a:lnTo>
                      <a:pt x="419" y="361"/>
                    </a:lnTo>
                    <a:lnTo>
                      <a:pt x="419" y="341"/>
                    </a:lnTo>
                    <a:lnTo>
                      <a:pt x="419" y="312"/>
                    </a:lnTo>
                    <a:lnTo>
                      <a:pt x="429" y="302"/>
                    </a:lnTo>
                    <a:lnTo>
                      <a:pt x="439" y="283"/>
                    </a:lnTo>
                    <a:lnTo>
                      <a:pt x="439" y="244"/>
                    </a:lnTo>
                    <a:lnTo>
                      <a:pt x="439" y="234"/>
                    </a:lnTo>
                    <a:lnTo>
                      <a:pt x="439" y="224"/>
                    </a:lnTo>
                    <a:lnTo>
                      <a:pt x="429" y="214"/>
                    </a:lnTo>
                    <a:lnTo>
                      <a:pt x="439" y="195"/>
                    </a:lnTo>
                    <a:lnTo>
                      <a:pt x="429" y="175"/>
                    </a:lnTo>
                    <a:lnTo>
                      <a:pt x="429" y="166"/>
                    </a:lnTo>
                    <a:lnTo>
                      <a:pt x="419" y="136"/>
                    </a:lnTo>
                    <a:lnTo>
                      <a:pt x="419" y="126"/>
                    </a:lnTo>
                    <a:lnTo>
                      <a:pt x="419" y="97"/>
                    </a:lnTo>
                    <a:lnTo>
                      <a:pt x="419" y="87"/>
                    </a:lnTo>
                    <a:lnTo>
                      <a:pt x="409" y="78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48" name="Freeform 197"/>
            <p:cNvSpPr>
              <a:spLocks/>
            </p:cNvSpPr>
            <p:nvPr/>
          </p:nvSpPr>
          <p:spPr bwMode="auto">
            <a:xfrm>
              <a:off x="3803" y="3561"/>
              <a:ext cx="624" cy="447"/>
            </a:xfrm>
            <a:custGeom>
              <a:avLst/>
              <a:gdLst>
                <a:gd name="T0" fmla="*/ 488 w 624"/>
                <a:gd name="T1" fmla="*/ 350 h 449"/>
                <a:gd name="T2" fmla="*/ 517 w 624"/>
                <a:gd name="T3" fmla="*/ 331 h 449"/>
                <a:gd name="T4" fmla="*/ 527 w 624"/>
                <a:gd name="T5" fmla="*/ 311 h 449"/>
                <a:gd name="T6" fmla="*/ 556 w 624"/>
                <a:gd name="T7" fmla="*/ 301 h 449"/>
                <a:gd name="T8" fmla="*/ 585 w 624"/>
                <a:gd name="T9" fmla="*/ 301 h 449"/>
                <a:gd name="T10" fmla="*/ 585 w 624"/>
                <a:gd name="T11" fmla="*/ 272 h 449"/>
                <a:gd name="T12" fmla="*/ 624 w 624"/>
                <a:gd name="T13" fmla="*/ 272 h 449"/>
                <a:gd name="T14" fmla="*/ 605 w 624"/>
                <a:gd name="T15" fmla="*/ 253 h 449"/>
                <a:gd name="T16" fmla="*/ 615 w 624"/>
                <a:gd name="T17" fmla="*/ 224 h 449"/>
                <a:gd name="T18" fmla="*/ 595 w 624"/>
                <a:gd name="T19" fmla="*/ 205 h 449"/>
                <a:gd name="T20" fmla="*/ 615 w 624"/>
                <a:gd name="T21" fmla="*/ 195 h 449"/>
                <a:gd name="T22" fmla="*/ 624 w 624"/>
                <a:gd name="T23" fmla="*/ 176 h 449"/>
                <a:gd name="T24" fmla="*/ 605 w 624"/>
                <a:gd name="T25" fmla="*/ 166 h 449"/>
                <a:gd name="T26" fmla="*/ 585 w 624"/>
                <a:gd name="T27" fmla="*/ 127 h 449"/>
                <a:gd name="T28" fmla="*/ 566 w 624"/>
                <a:gd name="T29" fmla="*/ 108 h 449"/>
                <a:gd name="T30" fmla="*/ 546 w 624"/>
                <a:gd name="T31" fmla="*/ 78 h 449"/>
                <a:gd name="T32" fmla="*/ 527 w 624"/>
                <a:gd name="T33" fmla="*/ 59 h 449"/>
                <a:gd name="T34" fmla="*/ 498 w 624"/>
                <a:gd name="T35" fmla="*/ 49 h 449"/>
                <a:gd name="T36" fmla="*/ 478 w 624"/>
                <a:gd name="T37" fmla="*/ 69 h 449"/>
                <a:gd name="T38" fmla="*/ 449 w 624"/>
                <a:gd name="T39" fmla="*/ 59 h 449"/>
                <a:gd name="T40" fmla="*/ 410 w 624"/>
                <a:gd name="T41" fmla="*/ 59 h 449"/>
                <a:gd name="T42" fmla="*/ 390 w 624"/>
                <a:gd name="T43" fmla="*/ 69 h 449"/>
                <a:gd name="T44" fmla="*/ 381 w 624"/>
                <a:gd name="T45" fmla="*/ 59 h 449"/>
                <a:gd name="T46" fmla="*/ 351 w 624"/>
                <a:gd name="T47" fmla="*/ 69 h 449"/>
                <a:gd name="T48" fmla="*/ 342 w 624"/>
                <a:gd name="T49" fmla="*/ 88 h 449"/>
                <a:gd name="T50" fmla="*/ 332 w 624"/>
                <a:gd name="T51" fmla="*/ 98 h 449"/>
                <a:gd name="T52" fmla="*/ 303 w 624"/>
                <a:gd name="T53" fmla="*/ 78 h 449"/>
                <a:gd name="T54" fmla="*/ 293 w 624"/>
                <a:gd name="T55" fmla="*/ 49 h 449"/>
                <a:gd name="T56" fmla="*/ 244 w 624"/>
                <a:gd name="T57" fmla="*/ 0 h 449"/>
                <a:gd name="T58" fmla="*/ 205 w 624"/>
                <a:gd name="T59" fmla="*/ 10 h 449"/>
                <a:gd name="T60" fmla="*/ 137 w 624"/>
                <a:gd name="T61" fmla="*/ 20 h 449"/>
                <a:gd name="T62" fmla="*/ 117 w 624"/>
                <a:gd name="T63" fmla="*/ 29 h 449"/>
                <a:gd name="T64" fmla="*/ 68 w 624"/>
                <a:gd name="T65" fmla="*/ 20 h 449"/>
                <a:gd name="T66" fmla="*/ 20 w 624"/>
                <a:gd name="T67" fmla="*/ 0 h 449"/>
                <a:gd name="T68" fmla="*/ 20 w 624"/>
                <a:gd name="T69" fmla="*/ 20 h 449"/>
                <a:gd name="T70" fmla="*/ 0 w 624"/>
                <a:gd name="T71" fmla="*/ 20 h 449"/>
                <a:gd name="T72" fmla="*/ 20 w 624"/>
                <a:gd name="T73" fmla="*/ 78 h 449"/>
                <a:gd name="T74" fmla="*/ 29 w 624"/>
                <a:gd name="T75" fmla="*/ 156 h 449"/>
                <a:gd name="T76" fmla="*/ 49 w 624"/>
                <a:gd name="T77" fmla="*/ 272 h 449"/>
                <a:gd name="T78" fmla="*/ 68 w 624"/>
                <a:gd name="T79" fmla="*/ 331 h 449"/>
                <a:gd name="T80" fmla="*/ 78 w 624"/>
                <a:gd name="T81" fmla="*/ 350 h 449"/>
                <a:gd name="T82" fmla="*/ 98 w 624"/>
                <a:gd name="T83" fmla="*/ 331 h 449"/>
                <a:gd name="T84" fmla="*/ 107 w 624"/>
                <a:gd name="T85" fmla="*/ 321 h 449"/>
                <a:gd name="T86" fmla="*/ 127 w 624"/>
                <a:gd name="T87" fmla="*/ 301 h 449"/>
                <a:gd name="T88" fmla="*/ 146 w 624"/>
                <a:gd name="T89" fmla="*/ 301 h 449"/>
                <a:gd name="T90" fmla="*/ 146 w 624"/>
                <a:gd name="T91" fmla="*/ 331 h 449"/>
                <a:gd name="T92" fmla="*/ 156 w 624"/>
                <a:gd name="T93" fmla="*/ 350 h 449"/>
                <a:gd name="T94" fmla="*/ 166 w 624"/>
                <a:gd name="T95" fmla="*/ 360 h 449"/>
                <a:gd name="T96" fmla="*/ 176 w 624"/>
                <a:gd name="T97" fmla="*/ 379 h 449"/>
                <a:gd name="T98" fmla="*/ 205 w 624"/>
                <a:gd name="T99" fmla="*/ 379 h 449"/>
                <a:gd name="T100" fmla="*/ 244 w 624"/>
                <a:gd name="T101" fmla="*/ 399 h 449"/>
                <a:gd name="T102" fmla="*/ 264 w 624"/>
                <a:gd name="T103" fmla="*/ 389 h 449"/>
                <a:gd name="T104" fmla="*/ 303 w 624"/>
                <a:gd name="T105" fmla="*/ 379 h 449"/>
                <a:gd name="T106" fmla="*/ 342 w 624"/>
                <a:gd name="T107" fmla="*/ 389 h 449"/>
                <a:gd name="T108" fmla="*/ 351 w 624"/>
                <a:gd name="T109" fmla="*/ 428 h 449"/>
                <a:gd name="T110" fmla="*/ 361 w 624"/>
                <a:gd name="T111" fmla="*/ 438 h 449"/>
                <a:gd name="T112" fmla="*/ 381 w 624"/>
                <a:gd name="T113" fmla="*/ 428 h 449"/>
                <a:gd name="T114" fmla="*/ 381 w 624"/>
                <a:gd name="T115" fmla="*/ 409 h 449"/>
                <a:gd name="T116" fmla="*/ 361 w 624"/>
                <a:gd name="T117" fmla="*/ 379 h 449"/>
                <a:gd name="T118" fmla="*/ 390 w 624"/>
                <a:gd name="T119" fmla="*/ 370 h 449"/>
                <a:gd name="T120" fmla="*/ 449 w 624"/>
                <a:gd name="T121" fmla="*/ 360 h 44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24"/>
                <a:gd name="T184" fmla="*/ 0 h 449"/>
                <a:gd name="T185" fmla="*/ 624 w 624"/>
                <a:gd name="T186" fmla="*/ 449 h 44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24" h="449">
                  <a:moveTo>
                    <a:pt x="468" y="361"/>
                  </a:moveTo>
                  <a:lnTo>
                    <a:pt x="488" y="361"/>
                  </a:lnTo>
                  <a:lnTo>
                    <a:pt x="498" y="361"/>
                  </a:lnTo>
                  <a:lnTo>
                    <a:pt x="517" y="342"/>
                  </a:lnTo>
                  <a:lnTo>
                    <a:pt x="517" y="322"/>
                  </a:lnTo>
                  <a:lnTo>
                    <a:pt x="527" y="322"/>
                  </a:lnTo>
                  <a:lnTo>
                    <a:pt x="546" y="322"/>
                  </a:lnTo>
                  <a:lnTo>
                    <a:pt x="556" y="312"/>
                  </a:lnTo>
                  <a:lnTo>
                    <a:pt x="566" y="312"/>
                  </a:lnTo>
                  <a:lnTo>
                    <a:pt x="585" y="312"/>
                  </a:lnTo>
                  <a:lnTo>
                    <a:pt x="585" y="303"/>
                  </a:lnTo>
                  <a:lnTo>
                    <a:pt x="585" y="283"/>
                  </a:lnTo>
                  <a:lnTo>
                    <a:pt x="595" y="283"/>
                  </a:lnTo>
                  <a:lnTo>
                    <a:pt x="624" y="283"/>
                  </a:lnTo>
                  <a:lnTo>
                    <a:pt x="615" y="273"/>
                  </a:lnTo>
                  <a:lnTo>
                    <a:pt x="605" y="264"/>
                  </a:lnTo>
                  <a:lnTo>
                    <a:pt x="605" y="244"/>
                  </a:lnTo>
                  <a:lnTo>
                    <a:pt x="615" y="225"/>
                  </a:lnTo>
                  <a:lnTo>
                    <a:pt x="605" y="215"/>
                  </a:lnTo>
                  <a:lnTo>
                    <a:pt x="595" y="205"/>
                  </a:lnTo>
                  <a:lnTo>
                    <a:pt x="605" y="195"/>
                  </a:lnTo>
                  <a:lnTo>
                    <a:pt x="615" y="195"/>
                  </a:lnTo>
                  <a:lnTo>
                    <a:pt x="624" y="195"/>
                  </a:lnTo>
                  <a:lnTo>
                    <a:pt x="624" y="176"/>
                  </a:lnTo>
                  <a:lnTo>
                    <a:pt x="624" y="166"/>
                  </a:lnTo>
                  <a:lnTo>
                    <a:pt x="605" y="166"/>
                  </a:lnTo>
                  <a:lnTo>
                    <a:pt x="595" y="147"/>
                  </a:lnTo>
                  <a:lnTo>
                    <a:pt x="585" y="127"/>
                  </a:lnTo>
                  <a:lnTo>
                    <a:pt x="585" y="117"/>
                  </a:lnTo>
                  <a:lnTo>
                    <a:pt x="566" y="108"/>
                  </a:lnTo>
                  <a:lnTo>
                    <a:pt x="556" y="88"/>
                  </a:lnTo>
                  <a:lnTo>
                    <a:pt x="546" y="78"/>
                  </a:lnTo>
                  <a:lnTo>
                    <a:pt x="537" y="78"/>
                  </a:lnTo>
                  <a:lnTo>
                    <a:pt x="527" y="59"/>
                  </a:lnTo>
                  <a:lnTo>
                    <a:pt x="517" y="49"/>
                  </a:lnTo>
                  <a:lnTo>
                    <a:pt x="498" y="49"/>
                  </a:lnTo>
                  <a:lnTo>
                    <a:pt x="488" y="59"/>
                  </a:lnTo>
                  <a:lnTo>
                    <a:pt x="478" y="69"/>
                  </a:lnTo>
                  <a:lnTo>
                    <a:pt x="468" y="69"/>
                  </a:lnTo>
                  <a:lnTo>
                    <a:pt x="449" y="59"/>
                  </a:lnTo>
                  <a:lnTo>
                    <a:pt x="429" y="59"/>
                  </a:lnTo>
                  <a:lnTo>
                    <a:pt x="410" y="59"/>
                  </a:lnTo>
                  <a:lnTo>
                    <a:pt x="410" y="78"/>
                  </a:lnTo>
                  <a:lnTo>
                    <a:pt x="390" y="69"/>
                  </a:lnTo>
                  <a:lnTo>
                    <a:pt x="390" y="59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1" y="69"/>
                  </a:lnTo>
                  <a:lnTo>
                    <a:pt x="351" y="78"/>
                  </a:lnTo>
                  <a:lnTo>
                    <a:pt x="342" y="88"/>
                  </a:lnTo>
                  <a:lnTo>
                    <a:pt x="332" y="88"/>
                  </a:lnTo>
                  <a:lnTo>
                    <a:pt x="332" y="98"/>
                  </a:lnTo>
                  <a:lnTo>
                    <a:pt x="322" y="98"/>
                  </a:lnTo>
                  <a:lnTo>
                    <a:pt x="303" y="78"/>
                  </a:lnTo>
                  <a:lnTo>
                    <a:pt x="283" y="78"/>
                  </a:lnTo>
                  <a:lnTo>
                    <a:pt x="293" y="49"/>
                  </a:lnTo>
                  <a:lnTo>
                    <a:pt x="254" y="20"/>
                  </a:lnTo>
                  <a:lnTo>
                    <a:pt x="244" y="0"/>
                  </a:lnTo>
                  <a:lnTo>
                    <a:pt x="215" y="0"/>
                  </a:lnTo>
                  <a:lnTo>
                    <a:pt x="205" y="10"/>
                  </a:lnTo>
                  <a:lnTo>
                    <a:pt x="156" y="20"/>
                  </a:lnTo>
                  <a:lnTo>
                    <a:pt x="137" y="20"/>
                  </a:lnTo>
                  <a:lnTo>
                    <a:pt x="117" y="29"/>
                  </a:lnTo>
                  <a:lnTo>
                    <a:pt x="107" y="20"/>
                  </a:lnTo>
                  <a:lnTo>
                    <a:pt x="68" y="20"/>
                  </a:lnTo>
                  <a:lnTo>
                    <a:pt x="39" y="20"/>
                  </a:lnTo>
                  <a:lnTo>
                    <a:pt x="2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10" y="49"/>
                  </a:lnTo>
                  <a:lnTo>
                    <a:pt x="20" y="78"/>
                  </a:lnTo>
                  <a:lnTo>
                    <a:pt x="20" y="108"/>
                  </a:lnTo>
                  <a:lnTo>
                    <a:pt x="29" y="156"/>
                  </a:lnTo>
                  <a:lnTo>
                    <a:pt x="49" y="215"/>
                  </a:lnTo>
                  <a:lnTo>
                    <a:pt x="49" y="283"/>
                  </a:lnTo>
                  <a:lnTo>
                    <a:pt x="68" y="322"/>
                  </a:lnTo>
                  <a:lnTo>
                    <a:pt x="68" y="342"/>
                  </a:lnTo>
                  <a:lnTo>
                    <a:pt x="68" y="361"/>
                  </a:lnTo>
                  <a:lnTo>
                    <a:pt x="78" y="361"/>
                  </a:lnTo>
                  <a:lnTo>
                    <a:pt x="78" y="351"/>
                  </a:lnTo>
                  <a:lnTo>
                    <a:pt x="98" y="342"/>
                  </a:lnTo>
                  <a:lnTo>
                    <a:pt x="107" y="342"/>
                  </a:lnTo>
                  <a:lnTo>
                    <a:pt x="107" y="332"/>
                  </a:lnTo>
                  <a:lnTo>
                    <a:pt x="117" y="322"/>
                  </a:lnTo>
                  <a:lnTo>
                    <a:pt x="127" y="312"/>
                  </a:lnTo>
                  <a:lnTo>
                    <a:pt x="137" y="312"/>
                  </a:lnTo>
                  <a:lnTo>
                    <a:pt x="146" y="312"/>
                  </a:lnTo>
                  <a:lnTo>
                    <a:pt x="156" y="322"/>
                  </a:lnTo>
                  <a:lnTo>
                    <a:pt x="146" y="342"/>
                  </a:lnTo>
                  <a:lnTo>
                    <a:pt x="146" y="361"/>
                  </a:lnTo>
                  <a:lnTo>
                    <a:pt x="156" y="361"/>
                  </a:lnTo>
                  <a:lnTo>
                    <a:pt x="166" y="361"/>
                  </a:lnTo>
                  <a:lnTo>
                    <a:pt x="166" y="371"/>
                  </a:lnTo>
                  <a:lnTo>
                    <a:pt x="166" y="381"/>
                  </a:lnTo>
                  <a:lnTo>
                    <a:pt x="176" y="390"/>
                  </a:lnTo>
                  <a:lnTo>
                    <a:pt x="195" y="390"/>
                  </a:lnTo>
                  <a:lnTo>
                    <a:pt x="205" y="390"/>
                  </a:lnTo>
                  <a:lnTo>
                    <a:pt x="224" y="400"/>
                  </a:lnTo>
                  <a:lnTo>
                    <a:pt x="244" y="410"/>
                  </a:lnTo>
                  <a:lnTo>
                    <a:pt x="254" y="410"/>
                  </a:lnTo>
                  <a:lnTo>
                    <a:pt x="264" y="400"/>
                  </a:lnTo>
                  <a:lnTo>
                    <a:pt x="283" y="390"/>
                  </a:lnTo>
                  <a:lnTo>
                    <a:pt x="303" y="390"/>
                  </a:lnTo>
                  <a:lnTo>
                    <a:pt x="322" y="400"/>
                  </a:lnTo>
                  <a:lnTo>
                    <a:pt x="342" y="400"/>
                  </a:lnTo>
                  <a:lnTo>
                    <a:pt x="342" y="420"/>
                  </a:lnTo>
                  <a:lnTo>
                    <a:pt x="351" y="439"/>
                  </a:lnTo>
                  <a:lnTo>
                    <a:pt x="351" y="449"/>
                  </a:lnTo>
                  <a:lnTo>
                    <a:pt x="361" y="449"/>
                  </a:lnTo>
                  <a:lnTo>
                    <a:pt x="371" y="439"/>
                  </a:lnTo>
                  <a:lnTo>
                    <a:pt x="381" y="439"/>
                  </a:lnTo>
                  <a:lnTo>
                    <a:pt x="381" y="420"/>
                  </a:lnTo>
                  <a:lnTo>
                    <a:pt x="361" y="410"/>
                  </a:lnTo>
                  <a:lnTo>
                    <a:pt x="361" y="390"/>
                  </a:lnTo>
                  <a:lnTo>
                    <a:pt x="361" y="381"/>
                  </a:lnTo>
                  <a:lnTo>
                    <a:pt x="390" y="381"/>
                  </a:lnTo>
                  <a:lnTo>
                    <a:pt x="420" y="371"/>
                  </a:lnTo>
                  <a:lnTo>
                    <a:pt x="449" y="371"/>
                  </a:lnTo>
                  <a:lnTo>
                    <a:pt x="468" y="361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196"/>
            <p:cNvSpPr>
              <a:spLocks/>
            </p:cNvSpPr>
            <p:nvPr/>
          </p:nvSpPr>
          <p:spPr bwMode="auto">
            <a:xfrm>
              <a:off x="3699" y="3131"/>
              <a:ext cx="643" cy="529"/>
            </a:xfrm>
            <a:custGeom>
              <a:avLst/>
              <a:gdLst>
                <a:gd name="T0" fmla="*/ 127 w 644"/>
                <a:gd name="T1" fmla="*/ 460 h 527"/>
                <a:gd name="T2" fmla="*/ 146 w 644"/>
                <a:gd name="T3" fmla="*/ 450 h 527"/>
                <a:gd name="T4" fmla="*/ 224 w 644"/>
                <a:gd name="T5" fmla="*/ 469 h 527"/>
                <a:gd name="T6" fmla="*/ 263 w 644"/>
                <a:gd name="T7" fmla="*/ 450 h 527"/>
                <a:gd name="T8" fmla="*/ 330 w 644"/>
                <a:gd name="T9" fmla="*/ 440 h 527"/>
                <a:gd name="T10" fmla="*/ 379 w 644"/>
                <a:gd name="T11" fmla="*/ 518 h 527"/>
                <a:gd name="T12" fmla="*/ 428 w 644"/>
                <a:gd name="T13" fmla="*/ 538 h 527"/>
                <a:gd name="T14" fmla="*/ 447 w 644"/>
                <a:gd name="T15" fmla="*/ 518 h 527"/>
                <a:gd name="T16" fmla="*/ 477 w 644"/>
                <a:gd name="T17" fmla="*/ 499 h 527"/>
                <a:gd name="T18" fmla="*/ 506 w 644"/>
                <a:gd name="T19" fmla="*/ 518 h 527"/>
                <a:gd name="T20" fmla="*/ 545 w 644"/>
                <a:gd name="T21" fmla="*/ 499 h 527"/>
                <a:gd name="T22" fmla="*/ 584 w 644"/>
                <a:gd name="T23" fmla="*/ 499 h 527"/>
                <a:gd name="T24" fmla="*/ 603 w 644"/>
                <a:gd name="T25" fmla="*/ 469 h 527"/>
                <a:gd name="T26" fmla="*/ 623 w 644"/>
                <a:gd name="T27" fmla="*/ 450 h 527"/>
                <a:gd name="T28" fmla="*/ 613 w 644"/>
                <a:gd name="T29" fmla="*/ 421 h 527"/>
                <a:gd name="T30" fmla="*/ 633 w 644"/>
                <a:gd name="T31" fmla="*/ 382 h 527"/>
                <a:gd name="T32" fmla="*/ 633 w 644"/>
                <a:gd name="T33" fmla="*/ 362 h 527"/>
                <a:gd name="T34" fmla="*/ 623 w 644"/>
                <a:gd name="T35" fmla="*/ 333 h 527"/>
                <a:gd name="T36" fmla="*/ 603 w 644"/>
                <a:gd name="T37" fmla="*/ 304 h 527"/>
                <a:gd name="T38" fmla="*/ 564 w 644"/>
                <a:gd name="T39" fmla="*/ 323 h 527"/>
                <a:gd name="T40" fmla="*/ 545 w 644"/>
                <a:gd name="T41" fmla="*/ 313 h 527"/>
                <a:gd name="T42" fmla="*/ 545 w 644"/>
                <a:gd name="T43" fmla="*/ 244 h 527"/>
                <a:gd name="T44" fmla="*/ 545 w 644"/>
                <a:gd name="T45" fmla="*/ 224 h 527"/>
                <a:gd name="T46" fmla="*/ 525 w 644"/>
                <a:gd name="T47" fmla="*/ 234 h 527"/>
                <a:gd name="T48" fmla="*/ 467 w 644"/>
                <a:gd name="T49" fmla="*/ 224 h 527"/>
                <a:gd name="T50" fmla="*/ 438 w 644"/>
                <a:gd name="T51" fmla="*/ 185 h 527"/>
                <a:gd name="T52" fmla="*/ 399 w 644"/>
                <a:gd name="T53" fmla="*/ 176 h 527"/>
                <a:gd name="T54" fmla="*/ 360 w 644"/>
                <a:gd name="T55" fmla="*/ 146 h 527"/>
                <a:gd name="T56" fmla="*/ 302 w 644"/>
                <a:gd name="T57" fmla="*/ 78 h 527"/>
                <a:gd name="T58" fmla="*/ 244 w 644"/>
                <a:gd name="T59" fmla="*/ 49 h 527"/>
                <a:gd name="T60" fmla="*/ 185 w 644"/>
                <a:gd name="T61" fmla="*/ 19 h 527"/>
                <a:gd name="T62" fmla="*/ 146 w 644"/>
                <a:gd name="T63" fmla="*/ 39 h 527"/>
                <a:gd name="T64" fmla="*/ 127 w 644"/>
                <a:gd name="T65" fmla="*/ 78 h 527"/>
                <a:gd name="T66" fmla="*/ 127 w 644"/>
                <a:gd name="T67" fmla="*/ 117 h 527"/>
                <a:gd name="T68" fmla="*/ 107 w 644"/>
                <a:gd name="T69" fmla="*/ 127 h 527"/>
                <a:gd name="T70" fmla="*/ 58 w 644"/>
                <a:gd name="T71" fmla="*/ 127 h 527"/>
                <a:gd name="T72" fmla="*/ 39 w 644"/>
                <a:gd name="T73" fmla="*/ 156 h 527"/>
                <a:gd name="T74" fmla="*/ 19 w 644"/>
                <a:gd name="T75" fmla="*/ 176 h 527"/>
                <a:gd name="T76" fmla="*/ 19 w 644"/>
                <a:gd name="T77" fmla="*/ 234 h 527"/>
                <a:gd name="T78" fmla="*/ 29 w 644"/>
                <a:gd name="T79" fmla="*/ 284 h 527"/>
                <a:gd name="T80" fmla="*/ 10 w 644"/>
                <a:gd name="T81" fmla="*/ 304 h 527"/>
                <a:gd name="T82" fmla="*/ 0 w 644"/>
                <a:gd name="T83" fmla="*/ 343 h 527"/>
                <a:gd name="T84" fmla="*/ 39 w 644"/>
                <a:gd name="T85" fmla="*/ 333 h 527"/>
                <a:gd name="T86" fmla="*/ 88 w 644"/>
                <a:gd name="T87" fmla="*/ 333 h 527"/>
                <a:gd name="T88" fmla="*/ 88 w 644"/>
                <a:gd name="T89" fmla="*/ 352 h 527"/>
                <a:gd name="T90" fmla="*/ 49 w 644"/>
                <a:gd name="T91" fmla="*/ 362 h 527"/>
                <a:gd name="T92" fmla="*/ 88 w 644"/>
                <a:gd name="T93" fmla="*/ 430 h 5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44"/>
                <a:gd name="T142" fmla="*/ 0 h 527"/>
                <a:gd name="T143" fmla="*/ 644 w 644"/>
                <a:gd name="T144" fmla="*/ 527 h 5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44" h="527">
                  <a:moveTo>
                    <a:pt x="107" y="449"/>
                  </a:move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46" y="439"/>
                  </a:lnTo>
                  <a:lnTo>
                    <a:pt x="175" y="449"/>
                  </a:lnTo>
                  <a:lnTo>
                    <a:pt x="214" y="449"/>
                  </a:lnTo>
                  <a:lnTo>
                    <a:pt x="224" y="458"/>
                  </a:lnTo>
                  <a:lnTo>
                    <a:pt x="244" y="449"/>
                  </a:lnTo>
                  <a:lnTo>
                    <a:pt x="244" y="439"/>
                  </a:lnTo>
                  <a:lnTo>
                    <a:pt x="263" y="439"/>
                  </a:lnTo>
                  <a:lnTo>
                    <a:pt x="312" y="439"/>
                  </a:lnTo>
                  <a:lnTo>
                    <a:pt x="322" y="429"/>
                  </a:lnTo>
                  <a:lnTo>
                    <a:pt x="341" y="429"/>
                  </a:lnTo>
                  <a:lnTo>
                    <a:pt x="361" y="449"/>
                  </a:lnTo>
                  <a:lnTo>
                    <a:pt x="400" y="478"/>
                  </a:lnTo>
                  <a:lnTo>
                    <a:pt x="390" y="507"/>
                  </a:lnTo>
                  <a:lnTo>
                    <a:pt x="410" y="507"/>
                  </a:lnTo>
                  <a:lnTo>
                    <a:pt x="429" y="527"/>
                  </a:lnTo>
                  <a:lnTo>
                    <a:pt x="439" y="527"/>
                  </a:lnTo>
                  <a:lnTo>
                    <a:pt x="439" y="517"/>
                  </a:lnTo>
                  <a:lnTo>
                    <a:pt x="449" y="517"/>
                  </a:lnTo>
                  <a:lnTo>
                    <a:pt x="458" y="507"/>
                  </a:lnTo>
                  <a:lnTo>
                    <a:pt x="458" y="498"/>
                  </a:lnTo>
                  <a:lnTo>
                    <a:pt x="478" y="498"/>
                  </a:lnTo>
                  <a:lnTo>
                    <a:pt x="488" y="488"/>
                  </a:lnTo>
                  <a:lnTo>
                    <a:pt x="497" y="488"/>
                  </a:lnTo>
                  <a:lnTo>
                    <a:pt x="497" y="498"/>
                  </a:lnTo>
                  <a:lnTo>
                    <a:pt x="517" y="507"/>
                  </a:lnTo>
                  <a:lnTo>
                    <a:pt x="517" y="488"/>
                  </a:lnTo>
                  <a:lnTo>
                    <a:pt x="536" y="488"/>
                  </a:lnTo>
                  <a:lnTo>
                    <a:pt x="556" y="488"/>
                  </a:lnTo>
                  <a:lnTo>
                    <a:pt x="575" y="498"/>
                  </a:lnTo>
                  <a:lnTo>
                    <a:pt x="585" y="498"/>
                  </a:lnTo>
                  <a:lnTo>
                    <a:pt x="595" y="488"/>
                  </a:lnTo>
                  <a:lnTo>
                    <a:pt x="605" y="478"/>
                  </a:lnTo>
                  <a:lnTo>
                    <a:pt x="624" y="478"/>
                  </a:lnTo>
                  <a:lnTo>
                    <a:pt x="614" y="458"/>
                  </a:lnTo>
                  <a:lnTo>
                    <a:pt x="624" y="449"/>
                  </a:lnTo>
                  <a:lnTo>
                    <a:pt x="624" y="439"/>
                  </a:lnTo>
                  <a:lnTo>
                    <a:pt x="634" y="439"/>
                  </a:lnTo>
                  <a:lnTo>
                    <a:pt x="634" y="429"/>
                  </a:lnTo>
                  <a:lnTo>
                    <a:pt x="624" y="419"/>
                  </a:lnTo>
                  <a:lnTo>
                    <a:pt x="624" y="410"/>
                  </a:lnTo>
                  <a:lnTo>
                    <a:pt x="634" y="400"/>
                  </a:lnTo>
                  <a:lnTo>
                    <a:pt x="634" y="380"/>
                  </a:lnTo>
                  <a:lnTo>
                    <a:pt x="644" y="371"/>
                  </a:lnTo>
                  <a:lnTo>
                    <a:pt x="634" y="361"/>
                  </a:lnTo>
                  <a:lnTo>
                    <a:pt x="624" y="351"/>
                  </a:lnTo>
                  <a:lnTo>
                    <a:pt x="644" y="351"/>
                  </a:lnTo>
                  <a:lnTo>
                    <a:pt x="644" y="341"/>
                  </a:lnTo>
                  <a:lnTo>
                    <a:pt x="644" y="332"/>
                  </a:lnTo>
                  <a:lnTo>
                    <a:pt x="634" y="322"/>
                  </a:lnTo>
                  <a:lnTo>
                    <a:pt x="634" y="312"/>
                  </a:lnTo>
                  <a:lnTo>
                    <a:pt x="624" y="293"/>
                  </a:lnTo>
                  <a:lnTo>
                    <a:pt x="614" y="293"/>
                  </a:lnTo>
                  <a:lnTo>
                    <a:pt x="595" y="293"/>
                  </a:lnTo>
                  <a:lnTo>
                    <a:pt x="575" y="302"/>
                  </a:lnTo>
                  <a:lnTo>
                    <a:pt x="575" y="312"/>
                  </a:lnTo>
                  <a:lnTo>
                    <a:pt x="566" y="312"/>
                  </a:lnTo>
                  <a:lnTo>
                    <a:pt x="556" y="312"/>
                  </a:lnTo>
                  <a:lnTo>
                    <a:pt x="556" y="302"/>
                  </a:lnTo>
                  <a:lnTo>
                    <a:pt x="556" y="293"/>
                  </a:lnTo>
                  <a:lnTo>
                    <a:pt x="556" y="263"/>
                  </a:lnTo>
                  <a:lnTo>
                    <a:pt x="556" y="244"/>
                  </a:lnTo>
                  <a:lnTo>
                    <a:pt x="566" y="234"/>
                  </a:lnTo>
                  <a:lnTo>
                    <a:pt x="556" y="224"/>
                  </a:lnTo>
                  <a:lnTo>
                    <a:pt x="546" y="215"/>
                  </a:lnTo>
                  <a:lnTo>
                    <a:pt x="536" y="224"/>
                  </a:lnTo>
                  <a:lnTo>
                    <a:pt x="536" y="234"/>
                  </a:lnTo>
                  <a:lnTo>
                    <a:pt x="517" y="234"/>
                  </a:lnTo>
                  <a:lnTo>
                    <a:pt x="497" y="224"/>
                  </a:lnTo>
                  <a:lnTo>
                    <a:pt x="478" y="224"/>
                  </a:lnTo>
                  <a:lnTo>
                    <a:pt x="468" y="224"/>
                  </a:lnTo>
                  <a:lnTo>
                    <a:pt x="458" y="215"/>
                  </a:lnTo>
                  <a:lnTo>
                    <a:pt x="449" y="185"/>
                  </a:lnTo>
                  <a:lnTo>
                    <a:pt x="439" y="176"/>
                  </a:lnTo>
                  <a:lnTo>
                    <a:pt x="429" y="176"/>
                  </a:lnTo>
                  <a:lnTo>
                    <a:pt x="410" y="176"/>
                  </a:lnTo>
                  <a:lnTo>
                    <a:pt x="390" y="176"/>
                  </a:lnTo>
                  <a:lnTo>
                    <a:pt x="380" y="166"/>
                  </a:lnTo>
                  <a:lnTo>
                    <a:pt x="371" y="146"/>
                  </a:lnTo>
                  <a:lnTo>
                    <a:pt x="351" y="117"/>
                  </a:lnTo>
                  <a:lnTo>
                    <a:pt x="322" y="88"/>
                  </a:lnTo>
                  <a:lnTo>
                    <a:pt x="302" y="78"/>
                  </a:lnTo>
                  <a:lnTo>
                    <a:pt x="292" y="68"/>
                  </a:lnTo>
                  <a:lnTo>
                    <a:pt x="283" y="58"/>
                  </a:lnTo>
                  <a:lnTo>
                    <a:pt x="244" y="49"/>
                  </a:lnTo>
                  <a:lnTo>
                    <a:pt x="224" y="39"/>
                  </a:lnTo>
                  <a:lnTo>
                    <a:pt x="205" y="29"/>
                  </a:lnTo>
                  <a:lnTo>
                    <a:pt x="185" y="19"/>
                  </a:lnTo>
                  <a:lnTo>
                    <a:pt x="166" y="19"/>
                  </a:lnTo>
                  <a:lnTo>
                    <a:pt x="146" y="0"/>
                  </a:lnTo>
                  <a:lnTo>
                    <a:pt x="146" y="39"/>
                  </a:lnTo>
                  <a:lnTo>
                    <a:pt x="146" y="58"/>
                  </a:lnTo>
                  <a:lnTo>
                    <a:pt x="146" y="68"/>
                  </a:lnTo>
                  <a:lnTo>
                    <a:pt x="127" y="78"/>
                  </a:lnTo>
                  <a:lnTo>
                    <a:pt x="117" y="78"/>
                  </a:lnTo>
                  <a:lnTo>
                    <a:pt x="107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17" y="127"/>
                  </a:lnTo>
                  <a:lnTo>
                    <a:pt x="107" y="127"/>
                  </a:lnTo>
                  <a:lnTo>
                    <a:pt x="88" y="117"/>
                  </a:lnTo>
                  <a:lnTo>
                    <a:pt x="88" y="127"/>
                  </a:lnTo>
                  <a:lnTo>
                    <a:pt x="58" y="127"/>
                  </a:lnTo>
                  <a:lnTo>
                    <a:pt x="49" y="137"/>
                  </a:lnTo>
                  <a:lnTo>
                    <a:pt x="49" y="156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76"/>
                  </a:lnTo>
                  <a:lnTo>
                    <a:pt x="19" y="176"/>
                  </a:lnTo>
                  <a:lnTo>
                    <a:pt x="10" y="195"/>
                  </a:lnTo>
                  <a:lnTo>
                    <a:pt x="10" y="215"/>
                  </a:lnTo>
                  <a:lnTo>
                    <a:pt x="19" y="234"/>
                  </a:lnTo>
                  <a:lnTo>
                    <a:pt x="29" y="244"/>
                  </a:lnTo>
                  <a:lnTo>
                    <a:pt x="29" y="263"/>
                  </a:lnTo>
                  <a:lnTo>
                    <a:pt x="29" y="273"/>
                  </a:lnTo>
                  <a:lnTo>
                    <a:pt x="19" y="273"/>
                  </a:lnTo>
                  <a:lnTo>
                    <a:pt x="10" y="293"/>
                  </a:lnTo>
                  <a:lnTo>
                    <a:pt x="10" y="312"/>
                  </a:lnTo>
                  <a:lnTo>
                    <a:pt x="0" y="322"/>
                  </a:lnTo>
                  <a:lnTo>
                    <a:pt x="0" y="332"/>
                  </a:lnTo>
                  <a:lnTo>
                    <a:pt x="10" y="332"/>
                  </a:lnTo>
                  <a:lnTo>
                    <a:pt x="29" y="332"/>
                  </a:lnTo>
                  <a:lnTo>
                    <a:pt x="39" y="322"/>
                  </a:lnTo>
                  <a:lnTo>
                    <a:pt x="49" y="322"/>
                  </a:lnTo>
                  <a:lnTo>
                    <a:pt x="68" y="332"/>
                  </a:lnTo>
                  <a:lnTo>
                    <a:pt x="88" y="322"/>
                  </a:lnTo>
                  <a:lnTo>
                    <a:pt x="97" y="322"/>
                  </a:lnTo>
                  <a:lnTo>
                    <a:pt x="97" y="332"/>
                  </a:lnTo>
                  <a:lnTo>
                    <a:pt x="88" y="341"/>
                  </a:lnTo>
                  <a:lnTo>
                    <a:pt x="78" y="351"/>
                  </a:lnTo>
                  <a:lnTo>
                    <a:pt x="58" y="351"/>
                  </a:lnTo>
                  <a:lnTo>
                    <a:pt x="49" y="351"/>
                  </a:lnTo>
                  <a:lnTo>
                    <a:pt x="58" y="371"/>
                  </a:lnTo>
                  <a:lnTo>
                    <a:pt x="68" y="390"/>
                  </a:lnTo>
                  <a:lnTo>
                    <a:pt x="88" y="419"/>
                  </a:lnTo>
                  <a:lnTo>
                    <a:pt x="97" y="439"/>
                  </a:lnTo>
                  <a:lnTo>
                    <a:pt x="107" y="449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195"/>
            <p:cNvSpPr>
              <a:spLocks/>
            </p:cNvSpPr>
            <p:nvPr/>
          </p:nvSpPr>
          <p:spPr bwMode="auto">
            <a:xfrm>
              <a:off x="2040" y="1784"/>
              <a:ext cx="479" cy="291"/>
            </a:xfrm>
            <a:custGeom>
              <a:avLst/>
              <a:gdLst/>
              <a:ahLst/>
              <a:cxnLst>
                <a:cxn ang="0">
                  <a:pos x="458" y="186"/>
                </a:cxn>
                <a:cxn ang="0">
                  <a:pos x="429" y="176"/>
                </a:cxn>
                <a:cxn ang="0">
                  <a:pos x="400" y="186"/>
                </a:cxn>
                <a:cxn ang="0">
                  <a:pos x="361" y="186"/>
                </a:cxn>
                <a:cxn ang="0">
                  <a:pos x="341" y="157"/>
                </a:cxn>
                <a:cxn ang="0">
                  <a:pos x="312" y="108"/>
                </a:cxn>
                <a:cxn ang="0">
                  <a:pos x="302" y="79"/>
                </a:cxn>
                <a:cxn ang="0">
                  <a:pos x="282" y="49"/>
                </a:cxn>
                <a:cxn ang="0">
                  <a:pos x="263" y="30"/>
                </a:cxn>
                <a:cxn ang="0">
                  <a:pos x="243" y="10"/>
                </a:cxn>
                <a:cxn ang="0">
                  <a:pos x="234" y="20"/>
                </a:cxn>
                <a:cxn ang="0">
                  <a:pos x="175" y="0"/>
                </a:cxn>
                <a:cxn ang="0">
                  <a:pos x="146" y="20"/>
                </a:cxn>
                <a:cxn ang="0">
                  <a:pos x="117" y="30"/>
                </a:cxn>
                <a:cxn ang="0">
                  <a:pos x="78" y="40"/>
                </a:cxn>
                <a:cxn ang="0">
                  <a:pos x="58" y="59"/>
                </a:cxn>
                <a:cxn ang="0">
                  <a:pos x="39" y="59"/>
                </a:cxn>
                <a:cxn ang="0">
                  <a:pos x="19" y="88"/>
                </a:cxn>
                <a:cxn ang="0">
                  <a:pos x="0" y="88"/>
                </a:cxn>
                <a:cxn ang="0">
                  <a:pos x="29" y="118"/>
                </a:cxn>
                <a:cxn ang="0">
                  <a:pos x="48" y="137"/>
                </a:cxn>
                <a:cxn ang="0">
                  <a:pos x="78" y="127"/>
                </a:cxn>
                <a:cxn ang="0">
                  <a:pos x="87" y="157"/>
                </a:cxn>
                <a:cxn ang="0">
                  <a:pos x="117" y="166"/>
                </a:cxn>
                <a:cxn ang="0">
                  <a:pos x="107" y="186"/>
                </a:cxn>
                <a:cxn ang="0">
                  <a:pos x="117" y="215"/>
                </a:cxn>
                <a:cxn ang="0">
                  <a:pos x="136" y="215"/>
                </a:cxn>
                <a:cxn ang="0">
                  <a:pos x="146" y="254"/>
                </a:cxn>
                <a:cxn ang="0">
                  <a:pos x="214" y="254"/>
                </a:cxn>
                <a:cxn ang="0">
                  <a:pos x="243" y="244"/>
                </a:cxn>
                <a:cxn ang="0">
                  <a:pos x="263" y="264"/>
                </a:cxn>
                <a:cxn ang="0">
                  <a:pos x="302" y="283"/>
                </a:cxn>
                <a:cxn ang="0">
                  <a:pos x="331" y="283"/>
                </a:cxn>
                <a:cxn ang="0">
                  <a:pos x="361" y="264"/>
                </a:cxn>
                <a:cxn ang="0">
                  <a:pos x="409" y="274"/>
                </a:cxn>
                <a:cxn ang="0">
                  <a:pos x="458" y="254"/>
                </a:cxn>
                <a:cxn ang="0">
                  <a:pos x="468" y="225"/>
                </a:cxn>
                <a:cxn ang="0">
                  <a:pos x="478" y="205"/>
                </a:cxn>
              </a:cxnLst>
              <a:rect l="0" t="0" r="r" b="b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2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2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96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54"/>
                  </a:lnTo>
                  <a:lnTo>
                    <a:pt x="214" y="254"/>
                  </a:lnTo>
                  <a:lnTo>
                    <a:pt x="234" y="244"/>
                  </a:lnTo>
                  <a:lnTo>
                    <a:pt x="243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74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74"/>
                  </a:lnTo>
                  <a:lnTo>
                    <a:pt x="439" y="274"/>
                  </a:lnTo>
                  <a:lnTo>
                    <a:pt x="458" y="25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  <a:lnTo>
                    <a:pt x="478" y="20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194"/>
            <p:cNvSpPr>
              <a:spLocks/>
            </p:cNvSpPr>
            <p:nvPr/>
          </p:nvSpPr>
          <p:spPr bwMode="auto">
            <a:xfrm>
              <a:off x="2040" y="1787"/>
              <a:ext cx="476" cy="294"/>
            </a:xfrm>
            <a:custGeom>
              <a:avLst/>
              <a:gdLst>
                <a:gd name="T0" fmla="*/ 458 w 478"/>
                <a:gd name="T1" fmla="*/ 186 h 293"/>
                <a:gd name="T2" fmla="*/ 439 w 478"/>
                <a:gd name="T3" fmla="*/ 176 h 293"/>
                <a:gd name="T4" fmla="*/ 400 w 478"/>
                <a:gd name="T5" fmla="*/ 186 h 293"/>
                <a:gd name="T6" fmla="*/ 361 w 478"/>
                <a:gd name="T7" fmla="*/ 186 h 293"/>
                <a:gd name="T8" fmla="*/ 341 w 478"/>
                <a:gd name="T9" fmla="*/ 157 h 293"/>
                <a:gd name="T10" fmla="*/ 312 w 478"/>
                <a:gd name="T11" fmla="*/ 108 h 293"/>
                <a:gd name="T12" fmla="*/ 302 w 478"/>
                <a:gd name="T13" fmla="*/ 79 h 293"/>
                <a:gd name="T14" fmla="*/ 282 w 478"/>
                <a:gd name="T15" fmla="*/ 49 h 293"/>
                <a:gd name="T16" fmla="*/ 263 w 478"/>
                <a:gd name="T17" fmla="*/ 30 h 293"/>
                <a:gd name="T18" fmla="*/ 243 w 478"/>
                <a:gd name="T19" fmla="*/ 10 h 293"/>
                <a:gd name="T20" fmla="*/ 234 w 478"/>
                <a:gd name="T21" fmla="*/ 20 h 293"/>
                <a:gd name="T22" fmla="*/ 175 w 478"/>
                <a:gd name="T23" fmla="*/ 0 h 293"/>
                <a:gd name="T24" fmla="*/ 146 w 478"/>
                <a:gd name="T25" fmla="*/ 20 h 293"/>
                <a:gd name="T26" fmla="*/ 117 w 478"/>
                <a:gd name="T27" fmla="*/ 30 h 293"/>
                <a:gd name="T28" fmla="*/ 78 w 478"/>
                <a:gd name="T29" fmla="*/ 40 h 293"/>
                <a:gd name="T30" fmla="*/ 58 w 478"/>
                <a:gd name="T31" fmla="*/ 59 h 293"/>
                <a:gd name="T32" fmla="*/ 39 w 478"/>
                <a:gd name="T33" fmla="*/ 59 h 293"/>
                <a:gd name="T34" fmla="*/ 19 w 478"/>
                <a:gd name="T35" fmla="*/ 88 h 293"/>
                <a:gd name="T36" fmla="*/ 0 w 478"/>
                <a:gd name="T37" fmla="*/ 88 h 293"/>
                <a:gd name="T38" fmla="*/ 29 w 478"/>
                <a:gd name="T39" fmla="*/ 118 h 293"/>
                <a:gd name="T40" fmla="*/ 48 w 478"/>
                <a:gd name="T41" fmla="*/ 137 h 293"/>
                <a:gd name="T42" fmla="*/ 78 w 478"/>
                <a:gd name="T43" fmla="*/ 127 h 293"/>
                <a:gd name="T44" fmla="*/ 87 w 478"/>
                <a:gd name="T45" fmla="*/ 157 h 293"/>
                <a:gd name="T46" fmla="*/ 117 w 478"/>
                <a:gd name="T47" fmla="*/ 166 h 293"/>
                <a:gd name="T48" fmla="*/ 107 w 478"/>
                <a:gd name="T49" fmla="*/ 186 h 293"/>
                <a:gd name="T50" fmla="*/ 117 w 478"/>
                <a:gd name="T51" fmla="*/ 215 h 293"/>
                <a:gd name="T52" fmla="*/ 136 w 478"/>
                <a:gd name="T53" fmla="*/ 215 h 293"/>
                <a:gd name="T54" fmla="*/ 146 w 478"/>
                <a:gd name="T55" fmla="*/ 254 h 293"/>
                <a:gd name="T56" fmla="*/ 214 w 478"/>
                <a:gd name="T57" fmla="*/ 264 h 293"/>
                <a:gd name="T58" fmla="*/ 234 w 478"/>
                <a:gd name="T59" fmla="*/ 244 h 293"/>
                <a:gd name="T60" fmla="*/ 263 w 478"/>
                <a:gd name="T61" fmla="*/ 264 h 293"/>
                <a:gd name="T62" fmla="*/ 302 w 478"/>
                <a:gd name="T63" fmla="*/ 283 h 293"/>
                <a:gd name="T64" fmla="*/ 331 w 478"/>
                <a:gd name="T65" fmla="*/ 283 h 293"/>
                <a:gd name="T66" fmla="*/ 361 w 478"/>
                <a:gd name="T67" fmla="*/ 264 h 293"/>
                <a:gd name="T68" fmla="*/ 409 w 478"/>
                <a:gd name="T69" fmla="*/ 283 h 293"/>
                <a:gd name="T70" fmla="*/ 458 w 478"/>
                <a:gd name="T71" fmla="*/ 264 h 293"/>
                <a:gd name="T72" fmla="*/ 468 w 478"/>
                <a:gd name="T73" fmla="*/ 225 h 29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78"/>
                <a:gd name="T112" fmla="*/ 0 h 293"/>
                <a:gd name="T113" fmla="*/ 478 w 478"/>
                <a:gd name="T114" fmla="*/ 293 h 29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78" h="293">
                  <a:moveTo>
                    <a:pt x="478" y="205"/>
                  </a:moveTo>
                  <a:lnTo>
                    <a:pt x="458" y="186"/>
                  </a:lnTo>
                  <a:lnTo>
                    <a:pt x="448" y="176"/>
                  </a:lnTo>
                  <a:lnTo>
                    <a:pt x="439" y="176"/>
                  </a:lnTo>
                  <a:lnTo>
                    <a:pt x="419" y="196"/>
                  </a:lnTo>
                  <a:lnTo>
                    <a:pt x="400" y="186"/>
                  </a:lnTo>
                  <a:lnTo>
                    <a:pt x="380" y="196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341" y="157"/>
                  </a:lnTo>
                  <a:lnTo>
                    <a:pt x="331" y="137"/>
                  </a:lnTo>
                  <a:lnTo>
                    <a:pt x="312" y="108"/>
                  </a:lnTo>
                  <a:lnTo>
                    <a:pt x="302" y="98"/>
                  </a:lnTo>
                  <a:lnTo>
                    <a:pt x="302" y="79"/>
                  </a:lnTo>
                  <a:lnTo>
                    <a:pt x="292" y="59"/>
                  </a:lnTo>
                  <a:lnTo>
                    <a:pt x="282" y="49"/>
                  </a:lnTo>
                  <a:lnTo>
                    <a:pt x="263" y="49"/>
                  </a:lnTo>
                  <a:lnTo>
                    <a:pt x="263" y="30"/>
                  </a:lnTo>
                  <a:lnTo>
                    <a:pt x="253" y="30"/>
                  </a:lnTo>
                  <a:lnTo>
                    <a:pt x="243" y="10"/>
                  </a:lnTo>
                  <a:lnTo>
                    <a:pt x="234" y="0"/>
                  </a:lnTo>
                  <a:lnTo>
                    <a:pt x="234" y="20"/>
                  </a:lnTo>
                  <a:lnTo>
                    <a:pt x="214" y="30"/>
                  </a:lnTo>
                  <a:lnTo>
                    <a:pt x="175" y="0"/>
                  </a:lnTo>
                  <a:lnTo>
                    <a:pt x="156" y="10"/>
                  </a:lnTo>
                  <a:lnTo>
                    <a:pt x="146" y="20"/>
                  </a:lnTo>
                  <a:lnTo>
                    <a:pt x="136" y="20"/>
                  </a:lnTo>
                  <a:lnTo>
                    <a:pt x="117" y="30"/>
                  </a:lnTo>
                  <a:lnTo>
                    <a:pt x="97" y="40"/>
                  </a:lnTo>
                  <a:lnTo>
                    <a:pt x="78" y="40"/>
                  </a:lnTo>
                  <a:lnTo>
                    <a:pt x="68" y="49"/>
                  </a:lnTo>
                  <a:lnTo>
                    <a:pt x="58" y="59"/>
                  </a:lnTo>
                  <a:lnTo>
                    <a:pt x="48" y="59"/>
                  </a:lnTo>
                  <a:lnTo>
                    <a:pt x="39" y="59"/>
                  </a:lnTo>
                  <a:lnTo>
                    <a:pt x="29" y="79"/>
                  </a:lnTo>
                  <a:lnTo>
                    <a:pt x="19" y="88"/>
                  </a:lnTo>
                  <a:lnTo>
                    <a:pt x="9" y="88"/>
                  </a:lnTo>
                  <a:lnTo>
                    <a:pt x="0" y="88"/>
                  </a:lnTo>
                  <a:lnTo>
                    <a:pt x="0" y="98"/>
                  </a:lnTo>
                  <a:lnTo>
                    <a:pt x="29" y="118"/>
                  </a:lnTo>
                  <a:lnTo>
                    <a:pt x="39" y="13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78" y="127"/>
                  </a:lnTo>
                  <a:lnTo>
                    <a:pt x="78" y="137"/>
                  </a:lnTo>
                  <a:lnTo>
                    <a:pt x="87" y="157"/>
                  </a:lnTo>
                  <a:lnTo>
                    <a:pt x="107" y="166"/>
                  </a:lnTo>
                  <a:lnTo>
                    <a:pt x="117" y="16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205"/>
                  </a:lnTo>
                  <a:lnTo>
                    <a:pt x="117" y="215"/>
                  </a:lnTo>
                  <a:lnTo>
                    <a:pt x="126" y="225"/>
                  </a:lnTo>
                  <a:lnTo>
                    <a:pt x="136" y="215"/>
                  </a:lnTo>
                  <a:lnTo>
                    <a:pt x="136" y="244"/>
                  </a:lnTo>
                  <a:lnTo>
                    <a:pt x="146" y="254"/>
                  </a:lnTo>
                  <a:lnTo>
                    <a:pt x="165" y="264"/>
                  </a:lnTo>
                  <a:lnTo>
                    <a:pt x="214" y="264"/>
                  </a:lnTo>
                  <a:lnTo>
                    <a:pt x="234" y="244"/>
                  </a:lnTo>
                  <a:lnTo>
                    <a:pt x="263" y="244"/>
                  </a:lnTo>
                  <a:lnTo>
                    <a:pt x="263" y="264"/>
                  </a:lnTo>
                  <a:lnTo>
                    <a:pt x="282" y="274"/>
                  </a:lnTo>
                  <a:lnTo>
                    <a:pt x="302" y="283"/>
                  </a:lnTo>
                  <a:lnTo>
                    <a:pt x="312" y="293"/>
                  </a:lnTo>
                  <a:lnTo>
                    <a:pt x="331" y="283"/>
                  </a:lnTo>
                  <a:lnTo>
                    <a:pt x="341" y="283"/>
                  </a:lnTo>
                  <a:lnTo>
                    <a:pt x="361" y="264"/>
                  </a:lnTo>
                  <a:lnTo>
                    <a:pt x="380" y="274"/>
                  </a:lnTo>
                  <a:lnTo>
                    <a:pt x="409" y="283"/>
                  </a:lnTo>
                  <a:lnTo>
                    <a:pt x="439" y="283"/>
                  </a:lnTo>
                  <a:lnTo>
                    <a:pt x="458" y="264"/>
                  </a:lnTo>
                  <a:lnTo>
                    <a:pt x="458" y="235"/>
                  </a:lnTo>
                  <a:lnTo>
                    <a:pt x="468" y="225"/>
                  </a:lnTo>
                  <a:lnTo>
                    <a:pt x="478" y="215"/>
                  </a:lnTo>
                </a:path>
              </a:pathLst>
            </a:custGeom>
            <a:noFill/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2" name="Freeform 193"/>
            <p:cNvSpPr>
              <a:spLocks/>
            </p:cNvSpPr>
            <p:nvPr/>
          </p:nvSpPr>
          <p:spPr bwMode="auto">
            <a:xfrm>
              <a:off x="2274" y="1873"/>
              <a:ext cx="566" cy="595"/>
            </a:xfrm>
            <a:custGeom>
              <a:avLst/>
              <a:gdLst/>
              <a:ahLst/>
              <a:cxnLst>
                <a:cxn ang="0">
                  <a:pos x="195" y="547"/>
                </a:cxn>
                <a:cxn ang="0">
                  <a:pos x="224" y="488"/>
                </a:cxn>
                <a:cxn ang="0">
                  <a:pos x="302" y="478"/>
                </a:cxn>
                <a:cxn ang="0">
                  <a:pos x="322" y="420"/>
                </a:cxn>
                <a:cxn ang="0">
                  <a:pos x="380" y="410"/>
                </a:cxn>
                <a:cxn ang="0">
                  <a:pos x="439" y="469"/>
                </a:cxn>
                <a:cxn ang="0">
                  <a:pos x="468" y="439"/>
                </a:cxn>
                <a:cxn ang="0">
                  <a:pos x="487" y="410"/>
                </a:cxn>
                <a:cxn ang="0">
                  <a:pos x="526" y="352"/>
                </a:cxn>
                <a:cxn ang="0">
                  <a:pos x="565" y="322"/>
                </a:cxn>
                <a:cxn ang="0">
                  <a:pos x="526" y="283"/>
                </a:cxn>
                <a:cxn ang="0">
                  <a:pos x="497" y="254"/>
                </a:cxn>
                <a:cxn ang="0">
                  <a:pos x="458" y="225"/>
                </a:cxn>
                <a:cxn ang="0">
                  <a:pos x="370" y="215"/>
                </a:cxn>
                <a:cxn ang="0">
                  <a:pos x="322" y="244"/>
                </a:cxn>
                <a:cxn ang="0">
                  <a:pos x="322" y="205"/>
                </a:cxn>
                <a:cxn ang="0">
                  <a:pos x="322" y="166"/>
                </a:cxn>
                <a:cxn ang="0">
                  <a:pos x="361" y="117"/>
                </a:cxn>
                <a:cxn ang="0">
                  <a:pos x="370" y="108"/>
                </a:cxn>
                <a:cxn ang="0">
                  <a:pos x="370" y="49"/>
                </a:cxn>
                <a:cxn ang="0">
                  <a:pos x="351" y="10"/>
                </a:cxn>
                <a:cxn ang="0">
                  <a:pos x="322" y="39"/>
                </a:cxn>
                <a:cxn ang="0">
                  <a:pos x="273" y="39"/>
                </a:cxn>
                <a:cxn ang="0">
                  <a:pos x="244" y="49"/>
                </a:cxn>
                <a:cxn ang="0">
                  <a:pos x="263" y="78"/>
                </a:cxn>
                <a:cxn ang="0">
                  <a:pos x="244" y="117"/>
                </a:cxn>
                <a:cxn ang="0">
                  <a:pos x="224" y="147"/>
                </a:cxn>
                <a:cxn ang="0">
                  <a:pos x="175" y="186"/>
                </a:cxn>
                <a:cxn ang="0">
                  <a:pos x="107" y="186"/>
                </a:cxn>
                <a:cxn ang="0">
                  <a:pos x="88" y="225"/>
                </a:cxn>
                <a:cxn ang="0">
                  <a:pos x="107" y="273"/>
                </a:cxn>
                <a:cxn ang="0">
                  <a:pos x="68" y="283"/>
                </a:cxn>
                <a:cxn ang="0">
                  <a:pos x="29" y="283"/>
                </a:cxn>
                <a:cxn ang="0">
                  <a:pos x="0" y="313"/>
                </a:cxn>
                <a:cxn ang="0">
                  <a:pos x="9" y="342"/>
                </a:cxn>
                <a:cxn ang="0">
                  <a:pos x="48" y="352"/>
                </a:cxn>
                <a:cxn ang="0">
                  <a:pos x="107" y="371"/>
                </a:cxn>
                <a:cxn ang="0">
                  <a:pos x="136" y="391"/>
                </a:cxn>
                <a:cxn ang="0">
                  <a:pos x="136" y="430"/>
                </a:cxn>
                <a:cxn ang="0">
                  <a:pos x="127" y="478"/>
                </a:cxn>
                <a:cxn ang="0">
                  <a:pos x="136" y="527"/>
                </a:cxn>
                <a:cxn ang="0">
                  <a:pos x="146" y="586"/>
                </a:cxn>
                <a:cxn ang="0">
                  <a:pos x="166" y="576"/>
                </a:cxn>
              </a:cxnLst>
              <a:rect l="0" t="0" r="r" b="b"/>
              <a:pathLst>
                <a:path w="565" h="595">
                  <a:moveTo>
                    <a:pt x="166" y="547"/>
                  </a:moveTo>
                  <a:lnTo>
                    <a:pt x="185" y="537"/>
                  </a:lnTo>
                  <a:lnTo>
                    <a:pt x="195" y="547"/>
                  </a:lnTo>
                  <a:lnTo>
                    <a:pt x="214" y="537"/>
                  </a:lnTo>
                  <a:lnTo>
                    <a:pt x="214" y="508"/>
                  </a:lnTo>
                  <a:lnTo>
                    <a:pt x="224" y="488"/>
                  </a:lnTo>
                  <a:lnTo>
                    <a:pt x="244" y="469"/>
                  </a:lnTo>
                  <a:lnTo>
                    <a:pt x="273" y="488"/>
                  </a:lnTo>
                  <a:lnTo>
                    <a:pt x="302" y="478"/>
                  </a:lnTo>
                  <a:lnTo>
                    <a:pt x="312" y="449"/>
                  </a:lnTo>
                  <a:lnTo>
                    <a:pt x="331" y="439"/>
                  </a:lnTo>
                  <a:lnTo>
                    <a:pt x="322" y="420"/>
                  </a:lnTo>
                  <a:lnTo>
                    <a:pt x="341" y="410"/>
                  </a:lnTo>
                  <a:lnTo>
                    <a:pt x="361" y="410"/>
                  </a:lnTo>
                  <a:lnTo>
                    <a:pt x="380" y="410"/>
                  </a:lnTo>
                  <a:lnTo>
                    <a:pt x="400" y="430"/>
                  </a:lnTo>
                  <a:lnTo>
                    <a:pt x="419" y="439"/>
                  </a:lnTo>
                  <a:lnTo>
                    <a:pt x="439" y="469"/>
                  </a:lnTo>
                  <a:lnTo>
                    <a:pt x="458" y="469"/>
                  </a:lnTo>
                  <a:lnTo>
                    <a:pt x="468" y="469"/>
                  </a:lnTo>
                  <a:lnTo>
                    <a:pt x="468" y="439"/>
                  </a:lnTo>
                  <a:lnTo>
                    <a:pt x="478" y="420"/>
                  </a:lnTo>
                  <a:lnTo>
                    <a:pt x="497" y="410"/>
                  </a:lnTo>
                  <a:lnTo>
                    <a:pt x="487" y="410"/>
                  </a:lnTo>
                  <a:lnTo>
                    <a:pt x="487" y="391"/>
                  </a:lnTo>
                  <a:lnTo>
                    <a:pt x="487" y="381"/>
                  </a:lnTo>
                  <a:lnTo>
                    <a:pt x="526" y="352"/>
                  </a:lnTo>
                  <a:lnTo>
                    <a:pt x="536" y="361"/>
                  </a:lnTo>
                  <a:lnTo>
                    <a:pt x="565" y="342"/>
                  </a:lnTo>
                  <a:lnTo>
                    <a:pt x="565" y="322"/>
                  </a:lnTo>
                  <a:lnTo>
                    <a:pt x="565" y="303"/>
                  </a:lnTo>
                  <a:lnTo>
                    <a:pt x="556" y="303"/>
                  </a:lnTo>
                  <a:lnTo>
                    <a:pt x="526" y="283"/>
                  </a:lnTo>
                  <a:lnTo>
                    <a:pt x="517" y="273"/>
                  </a:lnTo>
                  <a:lnTo>
                    <a:pt x="507" y="244"/>
                  </a:lnTo>
                  <a:lnTo>
                    <a:pt x="497" y="254"/>
                  </a:lnTo>
                  <a:lnTo>
                    <a:pt x="468" y="264"/>
                  </a:lnTo>
                  <a:lnTo>
                    <a:pt x="468" y="244"/>
                  </a:lnTo>
                  <a:lnTo>
                    <a:pt x="458" y="225"/>
                  </a:lnTo>
                  <a:lnTo>
                    <a:pt x="429" y="234"/>
                  </a:lnTo>
                  <a:lnTo>
                    <a:pt x="400" y="225"/>
                  </a:lnTo>
                  <a:lnTo>
                    <a:pt x="370" y="215"/>
                  </a:lnTo>
                  <a:lnTo>
                    <a:pt x="341" y="234"/>
                  </a:lnTo>
                  <a:lnTo>
                    <a:pt x="331" y="254"/>
                  </a:lnTo>
                  <a:lnTo>
                    <a:pt x="322" y="244"/>
                  </a:lnTo>
                  <a:lnTo>
                    <a:pt x="322" y="234"/>
                  </a:lnTo>
                  <a:lnTo>
                    <a:pt x="331" y="225"/>
                  </a:lnTo>
                  <a:lnTo>
                    <a:pt x="322" y="205"/>
                  </a:lnTo>
                  <a:lnTo>
                    <a:pt x="341" y="186"/>
                  </a:lnTo>
                  <a:lnTo>
                    <a:pt x="322" y="166"/>
                  </a:lnTo>
                  <a:lnTo>
                    <a:pt x="322" y="156"/>
                  </a:lnTo>
                  <a:lnTo>
                    <a:pt x="331" y="147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0" y="117"/>
                  </a:lnTo>
                  <a:lnTo>
                    <a:pt x="370" y="108"/>
                  </a:lnTo>
                  <a:lnTo>
                    <a:pt x="380" y="88"/>
                  </a:lnTo>
                  <a:lnTo>
                    <a:pt x="400" y="59"/>
                  </a:lnTo>
                  <a:lnTo>
                    <a:pt x="370" y="49"/>
                  </a:lnTo>
                  <a:lnTo>
                    <a:pt x="400" y="30"/>
                  </a:lnTo>
                  <a:lnTo>
                    <a:pt x="370" y="0"/>
                  </a:lnTo>
                  <a:lnTo>
                    <a:pt x="351" y="10"/>
                  </a:lnTo>
                  <a:lnTo>
                    <a:pt x="341" y="30"/>
                  </a:lnTo>
                  <a:lnTo>
                    <a:pt x="331" y="39"/>
                  </a:lnTo>
                  <a:lnTo>
                    <a:pt x="322" y="39"/>
                  </a:lnTo>
                  <a:lnTo>
                    <a:pt x="302" y="39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63" y="30"/>
                  </a:lnTo>
                  <a:lnTo>
                    <a:pt x="253" y="39"/>
                  </a:lnTo>
                  <a:lnTo>
                    <a:pt x="244" y="49"/>
                  </a:lnTo>
                  <a:lnTo>
                    <a:pt x="263" y="59"/>
                  </a:lnTo>
                  <a:lnTo>
                    <a:pt x="273" y="69"/>
                  </a:lnTo>
                  <a:lnTo>
                    <a:pt x="263" y="78"/>
                  </a:lnTo>
                  <a:lnTo>
                    <a:pt x="263" y="98"/>
                  </a:lnTo>
                  <a:lnTo>
                    <a:pt x="253" y="108"/>
                  </a:lnTo>
                  <a:lnTo>
                    <a:pt x="244" y="117"/>
                  </a:lnTo>
                  <a:lnTo>
                    <a:pt x="244" y="127"/>
                  </a:lnTo>
                  <a:lnTo>
                    <a:pt x="234" y="127"/>
                  </a:lnTo>
                  <a:lnTo>
                    <a:pt x="224" y="147"/>
                  </a:lnTo>
                  <a:lnTo>
                    <a:pt x="224" y="166"/>
                  </a:lnTo>
                  <a:lnTo>
                    <a:pt x="205" y="186"/>
                  </a:lnTo>
                  <a:lnTo>
                    <a:pt x="175" y="186"/>
                  </a:lnTo>
                  <a:lnTo>
                    <a:pt x="146" y="186"/>
                  </a:lnTo>
                  <a:lnTo>
                    <a:pt x="127" y="176"/>
                  </a:lnTo>
                  <a:lnTo>
                    <a:pt x="107" y="186"/>
                  </a:lnTo>
                  <a:lnTo>
                    <a:pt x="97" y="195"/>
                  </a:lnTo>
                  <a:lnTo>
                    <a:pt x="78" y="205"/>
                  </a:lnTo>
                  <a:lnTo>
                    <a:pt x="88" y="225"/>
                  </a:lnTo>
                  <a:lnTo>
                    <a:pt x="107" y="244"/>
                  </a:lnTo>
                  <a:lnTo>
                    <a:pt x="117" y="254"/>
                  </a:lnTo>
                  <a:lnTo>
                    <a:pt x="107" y="273"/>
                  </a:lnTo>
                  <a:lnTo>
                    <a:pt x="97" y="283"/>
                  </a:lnTo>
                  <a:lnTo>
                    <a:pt x="78" y="293"/>
                  </a:lnTo>
                  <a:lnTo>
                    <a:pt x="68" y="283"/>
                  </a:lnTo>
                  <a:lnTo>
                    <a:pt x="48" y="273"/>
                  </a:lnTo>
                  <a:lnTo>
                    <a:pt x="39" y="273"/>
                  </a:lnTo>
                  <a:lnTo>
                    <a:pt x="29" y="283"/>
                  </a:lnTo>
                  <a:lnTo>
                    <a:pt x="29" y="293"/>
                  </a:lnTo>
                  <a:lnTo>
                    <a:pt x="9" y="303"/>
                  </a:lnTo>
                  <a:lnTo>
                    <a:pt x="0" y="313"/>
                  </a:lnTo>
                  <a:lnTo>
                    <a:pt x="9" y="322"/>
                  </a:lnTo>
                  <a:lnTo>
                    <a:pt x="9" y="332"/>
                  </a:lnTo>
                  <a:lnTo>
                    <a:pt x="9" y="342"/>
                  </a:lnTo>
                  <a:lnTo>
                    <a:pt x="9" y="352"/>
                  </a:lnTo>
                  <a:lnTo>
                    <a:pt x="29" y="352"/>
                  </a:lnTo>
                  <a:lnTo>
                    <a:pt x="48" y="352"/>
                  </a:lnTo>
                  <a:lnTo>
                    <a:pt x="58" y="361"/>
                  </a:lnTo>
                  <a:lnTo>
                    <a:pt x="88" y="361"/>
                  </a:lnTo>
                  <a:lnTo>
                    <a:pt x="107" y="371"/>
                  </a:lnTo>
                  <a:lnTo>
                    <a:pt x="107" y="391"/>
                  </a:lnTo>
                  <a:lnTo>
                    <a:pt x="127" y="381"/>
                  </a:lnTo>
                  <a:lnTo>
                    <a:pt x="136" y="391"/>
                  </a:lnTo>
                  <a:lnTo>
                    <a:pt x="127" y="410"/>
                  </a:lnTo>
                  <a:lnTo>
                    <a:pt x="146" y="420"/>
                  </a:lnTo>
                  <a:lnTo>
                    <a:pt x="136" y="430"/>
                  </a:lnTo>
                  <a:lnTo>
                    <a:pt x="136" y="439"/>
                  </a:lnTo>
                  <a:lnTo>
                    <a:pt x="136" y="459"/>
                  </a:lnTo>
                  <a:lnTo>
                    <a:pt x="127" y="478"/>
                  </a:lnTo>
                  <a:lnTo>
                    <a:pt x="136" y="488"/>
                  </a:lnTo>
                  <a:lnTo>
                    <a:pt x="136" y="527"/>
                  </a:lnTo>
                  <a:lnTo>
                    <a:pt x="146" y="537"/>
                  </a:lnTo>
                  <a:lnTo>
                    <a:pt x="136" y="556"/>
                  </a:lnTo>
                  <a:lnTo>
                    <a:pt x="146" y="586"/>
                  </a:lnTo>
                  <a:lnTo>
                    <a:pt x="146" y="595"/>
                  </a:lnTo>
                  <a:lnTo>
                    <a:pt x="166" y="586"/>
                  </a:lnTo>
                  <a:lnTo>
                    <a:pt x="166" y="576"/>
                  </a:lnTo>
                  <a:lnTo>
                    <a:pt x="175" y="556"/>
                  </a:lnTo>
                  <a:lnTo>
                    <a:pt x="166" y="54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Freeform 192"/>
            <p:cNvSpPr>
              <a:spLocks/>
            </p:cNvSpPr>
            <p:nvPr/>
          </p:nvSpPr>
          <p:spPr bwMode="auto">
            <a:xfrm>
              <a:off x="1365" y="1505"/>
              <a:ext cx="334" cy="254"/>
            </a:xfrm>
            <a:custGeom>
              <a:avLst/>
              <a:gdLst>
                <a:gd name="T0" fmla="*/ 146 w 331"/>
                <a:gd name="T1" fmla="*/ 214 h 253"/>
                <a:gd name="T2" fmla="*/ 117 w 331"/>
                <a:gd name="T3" fmla="*/ 224 h 253"/>
                <a:gd name="T4" fmla="*/ 97 w 331"/>
                <a:gd name="T5" fmla="*/ 234 h 253"/>
                <a:gd name="T6" fmla="*/ 87 w 331"/>
                <a:gd name="T7" fmla="*/ 234 h 253"/>
                <a:gd name="T8" fmla="*/ 78 w 331"/>
                <a:gd name="T9" fmla="*/ 234 h 253"/>
                <a:gd name="T10" fmla="*/ 48 w 331"/>
                <a:gd name="T11" fmla="*/ 234 h 253"/>
                <a:gd name="T12" fmla="*/ 19 w 331"/>
                <a:gd name="T13" fmla="*/ 234 h 253"/>
                <a:gd name="T14" fmla="*/ 9 w 331"/>
                <a:gd name="T15" fmla="*/ 234 h 253"/>
                <a:gd name="T16" fmla="*/ 0 w 331"/>
                <a:gd name="T17" fmla="*/ 214 h 253"/>
                <a:gd name="T18" fmla="*/ 9 w 331"/>
                <a:gd name="T19" fmla="*/ 195 h 253"/>
                <a:gd name="T20" fmla="*/ 9 w 331"/>
                <a:gd name="T21" fmla="*/ 195 h 253"/>
                <a:gd name="T22" fmla="*/ 9 w 331"/>
                <a:gd name="T23" fmla="*/ 175 h 253"/>
                <a:gd name="T24" fmla="*/ 9 w 331"/>
                <a:gd name="T25" fmla="*/ 156 h 253"/>
                <a:gd name="T26" fmla="*/ 19 w 331"/>
                <a:gd name="T27" fmla="*/ 156 h 253"/>
                <a:gd name="T28" fmla="*/ 29 w 331"/>
                <a:gd name="T29" fmla="*/ 136 h 253"/>
                <a:gd name="T30" fmla="*/ 29 w 331"/>
                <a:gd name="T31" fmla="*/ 117 h 253"/>
                <a:gd name="T32" fmla="*/ 29 w 331"/>
                <a:gd name="T33" fmla="*/ 97 h 253"/>
                <a:gd name="T34" fmla="*/ 39 w 331"/>
                <a:gd name="T35" fmla="*/ 97 h 253"/>
                <a:gd name="T36" fmla="*/ 48 w 331"/>
                <a:gd name="T37" fmla="*/ 78 h 253"/>
                <a:gd name="T38" fmla="*/ 68 w 331"/>
                <a:gd name="T39" fmla="*/ 68 h 253"/>
                <a:gd name="T40" fmla="*/ 68 w 331"/>
                <a:gd name="T41" fmla="*/ 48 h 253"/>
                <a:gd name="T42" fmla="*/ 68 w 331"/>
                <a:gd name="T43" fmla="*/ 39 h 253"/>
                <a:gd name="T44" fmla="*/ 87 w 331"/>
                <a:gd name="T45" fmla="*/ 39 h 253"/>
                <a:gd name="T46" fmla="*/ 97 w 331"/>
                <a:gd name="T47" fmla="*/ 39 h 253"/>
                <a:gd name="T48" fmla="*/ 107 w 331"/>
                <a:gd name="T49" fmla="*/ 29 h 253"/>
                <a:gd name="T50" fmla="*/ 107 w 331"/>
                <a:gd name="T51" fmla="*/ 19 h 253"/>
                <a:gd name="T52" fmla="*/ 117 w 331"/>
                <a:gd name="T53" fmla="*/ 9 h 253"/>
                <a:gd name="T54" fmla="*/ 136 w 331"/>
                <a:gd name="T55" fmla="*/ 9 h 253"/>
                <a:gd name="T56" fmla="*/ 146 w 331"/>
                <a:gd name="T57" fmla="*/ 0 h 253"/>
                <a:gd name="T58" fmla="*/ 156 w 331"/>
                <a:gd name="T59" fmla="*/ 0 h 253"/>
                <a:gd name="T60" fmla="*/ 165 w 331"/>
                <a:gd name="T61" fmla="*/ 9 h 253"/>
                <a:gd name="T62" fmla="*/ 165 w 331"/>
                <a:gd name="T63" fmla="*/ 29 h 253"/>
                <a:gd name="T64" fmla="*/ 175 w 331"/>
                <a:gd name="T65" fmla="*/ 39 h 253"/>
                <a:gd name="T66" fmla="*/ 195 w 331"/>
                <a:gd name="T67" fmla="*/ 87 h 253"/>
                <a:gd name="T68" fmla="*/ 224 w 331"/>
                <a:gd name="T69" fmla="*/ 107 h 253"/>
                <a:gd name="T70" fmla="*/ 243 w 331"/>
                <a:gd name="T71" fmla="*/ 126 h 253"/>
                <a:gd name="T72" fmla="*/ 282 w 331"/>
                <a:gd name="T73" fmla="*/ 136 h 253"/>
                <a:gd name="T74" fmla="*/ 302 w 331"/>
                <a:gd name="T75" fmla="*/ 126 h 253"/>
                <a:gd name="T76" fmla="*/ 312 w 331"/>
                <a:gd name="T77" fmla="*/ 136 h 253"/>
                <a:gd name="T78" fmla="*/ 312 w 331"/>
                <a:gd name="T79" fmla="*/ 156 h 253"/>
                <a:gd name="T80" fmla="*/ 312 w 331"/>
                <a:gd name="T81" fmla="*/ 175 h 253"/>
                <a:gd name="T82" fmla="*/ 321 w 331"/>
                <a:gd name="T83" fmla="*/ 185 h 253"/>
                <a:gd name="T84" fmla="*/ 331 w 331"/>
                <a:gd name="T85" fmla="*/ 195 h 253"/>
                <a:gd name="T86" fmla="*/ 331 w 331"/>
                <a:gd name="T87" fmla="*/ 204 h 253"/>
                <a:gd name="T88" fmla="*/ 321 w 331"/>
                <a:gd name="T89" fmla="*/ 214 h 253"/>
                <a:gd name="T90" fmla="*/ 292 w 331"/>
                <a:gd name="T91" fmla="*/ 234 h 253"/>
                <a:gd name="T92" fmla="*/ 273 w 331"/>
                <a:gd name="T93" fmla="*/ 243 h 253"/>
                <a:gd name="T94" fmla="*/ 253 w 331"/>
                <a:gd name="T95" fmla="*/ 253 h 253"/>
                <a:gd name="T96" fmla="*/ 234 w 331"/>
                <a:gd name="T97" fmla="*/ 253 h 253"/>
                <a:gd name="T98" fmla="*/ 214 w 331"/>
                <a:gd name="T99" fmla="*/ 243 h 253"/>
                <a:gd name="T100" fmla="*/ 195 w 331"/>
                <a:gd name="T101" fmla="*/ 253 h 253"/>
                <a:gd name="T102" fmla="*/ 175 w 331"/>
                <a:gd name="T103" fmla="*/ 243 h 253"/>
                <a:gd name="T104" fmla="*/ 165 w 331"/>
                <a:gd name="T105" fmla="*/ 243 h 253"/>
                <a:gd name="T106" fmla="*/ 156 w 331"/>
                <a:gd name="T107" fmla="*/ 243 h 253"/>
                <a:gd name="T108" fmla="*/ 156 w 331"/>
                <a:gd name="T109" fmla="*/ 234 h 253"/>
                <a:gd name="T110" fmla="*/ 146 w 331"/>
                <a:gd name="T111" fmla="*/ 214 h 2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1"/>
                <a:gd name="T169" fmla="*/ 0 h 253"/>
                <a:gd name="T170" fmla="*/ 331 w 331"/>
                <a:gd name="T171" fmla="*/ 253 h 2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1" h="253">
                  <a:moveTo>
                    <a:pt x="146" y="214"/>
                  </a:moveTo>
                  <a:lnTo>
                    <a:pt x="117" y="224"/>
                  </a:lnTo>
                  <a:lnTo>
                    <a:pt x="97" y="234"/>
                  </a:lnTo>
                  <a:lnTo>
                    <a:pt x="87" y="234"/>
                  </a:lnTo>
                  <a:lnTo>
                    <a:pt x="78" y="234"/>
                  </a:lnTo>
                  <a:lnTo>
                    <a:pt x="48" y="234"/>
                  </a:lnTo>
                  <a:lnTo>
                    <a:pt x="19" y="234"/>
                  </a:lnTo>
                  <a:lnTo>
                    <a:pt x="9" y="234"/>
                  </a:lnTo>
                  <a:lnTo>
                    <a:pt x="0" y="214"/>
                  </a:lnTo>
                  <a:lnTo>
                    <a:pt x="9" y="195"/>
                  </a:lnTo>
                  <a:lnTo>
                    <a:pt x="9" y="175"/>
                  </a:lnTo>
                  <a:lnTo>
                    <a:pt x="9" y="156"/>
                  </a:lnTo>
                  <a:lnTo>
                    <a:pt x="19" y="15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97"/>
                  </a:lnTo>
                  <a:lnTo>
                    <a:pt x="39" y="97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68" y="48"/>
                  </a:lnTo>
                  <a:lnTo>
                    <a:pt x="68" y="39"/>
                  </a:lnTo>
                  <a:lnTo>
                    <a:pt x="87" y="39"/>
                  </a:lnTo>
                  <a:lnTo>
                    <a:pt x="97" y="39"/>
                  </a:lnTo>
                  <a:lnTo>
                    <a:pt x="107" y="29"/>
                  </a:lnTo>
                  <a:lnTo>
                    <a:pt x="107" y="19"/>
                  </a:lnTo>
                  <a:lnTo>
                    <a:pt x="117" y="9"/>
                  </a:lnTo>
                  <a:lnTo>
                    <a:pt x="136" y="9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5" y="9"/>
                  </a:lnTo>
                  <a:lnTo>
                    <a:pt x="165" y="29"/>
                  </a:lnTo>
                  <a:lnTo>
                    <a:pt x="175" y="39"/>
                  </a:lnTo>
                  <a:lnTo>
                    <a:pt x="195" y="87"/>
                  </a:lnTo>
                  <a:lnTo>
                    <a:pt x="224" y="107"/>
                  </a:lnTo>
                  <a:lnTo>
                    <a:pt x="243" y="126"/>
                  </a:lnTo>
                  <a:lnTo>
                    <a:pt x="282" y="136"/>
                  </a:lnTo>
                  <a:lnTo>
                    <a:pt x="302" y="126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12" y="175"/>
                  </a:lnTo>
                  <a:lnTo>
                    <a:pt x="321" y="185"/>
                  </a:lnTo>
                  <a:lnTo>
                    <a:pt x="331" y="195"/>
                  </a:lnTo>
                  <a:lnTo>
                    <a:pt x="331" y="204"/>
                  </a:lnTo>
                  <a:lnTo>
                    <a:pt x="321" y="214"/>
                  </a:lnTo>
                  <a:lnTo>
                    <a:pt x="292" y="234"/>
                  </a:lnTo>
                  <a:lnTo>
                    <a:pt x="273" y="243"/>
                  </a:lnTo>
                  <a:lnTo>
                    <a:pt x="253" y="253"/>
                  </a:lnTo>
                  <a:lnTo>
                    <a:pt x="234" y="253"/>
                  </a:lnTo>
                  <a:lnTo>
                    <a:pt x="214" y="243"/>
                  </a:lnTo>
                  <a:lnTo>
                    <a:pt x="195" y="253"/>
                  </a:lnTo>
                  <a:lnTo>
                    <a:pt x="175" y="243"/>
                  </a:lnTo>
                  <a:lnTo>
                    <a:pt x="165" y="243"/>
                  </a:lnTo>
                  <a:lnTo>
                    <a:pt x="156" y="243"/>
                  </a:lnTo>
                  <a:lnTo>
                    <a:pt x="156" y="234"/>
                  </a:lnTo>
                  <a:lnTo>
                    <a:pt x="146" y="21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54" name="Group 189"/>
            <p:cNvGrpSpPr>
              <a:grpSpLocks/>
            </p:cNvGrpSpPr>
            <p:nvPr/>
          </p:nvGrpSpPr>
          <p:grpSpPr bwMode="auto">
            <a:xfrm>
              <a:off x="1366" y="1503"/>
              <a:ext cx="331" cy="253"/>
              <a:chOff x="1366" y="1503"/>
              <a:chExt cx="331" cy="253"/>
            </a:xfrm>
          </p:grpSpPr>
          <p:sp>
            <p:nvSpPr>
              <p:cNvPr id="328" name="Freeform 191"/>
              <p:cNvSpPr>
                <a:spLocks/>
              </p:cNvSpPr>
              <p:nvPr/>
            </p:nvSpPr>
            <p:spPr bwMode="auto">
              <a:xfrm>
                <a:off x="1367" y="1502"/>
                <a:ext cx="331" cy="254"/>
              </a:xfrm>
              <a:custGeom>
                <a:avLst/>
                <a:gdLst>
                  <a:gd name="T0" fmla="*/ 146 w 331"/>
                  <a:gd name="T1" fmla="*/ 225 h 253"/>
                  <a:gd name="T2" fmla="*/ 117 w 331"/>
                  <a:gd name="T3" fmla="*/ 235 h 253"/>
                  <a:gd name="T4" fmla="*/ 97 w 331"/>
                  <a:gd name="T5" fmla="*/ 245 h 253"/>
                  <a:gd name="T6" fmla="*/ 87 w 331"/>
                  <a:gd name="T7" fmla="*/ 245 h 253"/>
                  <a:gd name="T8" fmla="*/ 78 w 331"/>
                  <a:gd name="T9" fmla="*/ 245 h 253"/>
                  <a:gd name="T10" fmla="*/ 48 w 331"/>
                  <a:gd name="T11" fmla="*/ 245 h 253"/>
                  <a:gd name="T12" fmla="*/ 19 w 331"/>
                  <a:gd name="T13" fmla="*/ 245 h 253"/>
                  <a:gd name="T14" fmla="*/ 9 w 331"/>
                  <a:gd name="T15" fmla="*/ 245 h 253"/>
                  <a:gd name="T16" fmla="*/ 0 w 331"/>
                  <a:gd name="T17" fmla="*/ 225 h 253"/>
                  <a:gd name="T18" fmla="*/ 9 w 331"/>
                  <a:gd name="T19" fmla="*/ 206 h 253"/>
                  <a:gd name="T20" fmla="*/ 9 w 331"/>
                  <a:gd name="T21" fmla="*/ 206 h 253"/>
                  <a:gd name="T22" fmla="*/ 0 w 331"/>
                  <a:gd name="T23" fmla="*/ 186 h 253"/>
                  <a:gd name="T24" fmla="*/ 0 w 331"/>
                  <a:gd name="T25" fmla="*/ 167 h 253"/>
                  <a:gd name="T26" fmla="*/ 19 w 331"/>
                  <a:gd name="T27" fmla="*/ 167 h 253"/>
                  <a:gd name="T28" fmla="*/ 29 w 331"/>
                  <a:gd name="T29" fmla="*/ 147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86 w 331"/>
                  <a:gd name="T65" fmla="*/ 39 h 253"/>
                  <a:gd name="T66" fmla="*/ 206 w 331"/>
                  <a:gd name="T67" fmla="*/ 78 h 253"/>
                  <a:gd name="T68" fmla="*/ 235 w 331"/>
                  <a:gd name="T69" fmla="*/ 107 h 253"/>
                  <a:gd name="T70" fmla="*/ 264 w 331"/>
                  <a:gd name="T71" fmla="*/ 126 h 253"/>
                  <a:gd name="T72" fmla="*/ 293 w 331"/>
                  <a:gd name="T73" fmla="*/ 147 h 253"/>
                  <a:gd name="T74" fmla="*/ 313 w 331"/>
                  <a:gd name="T75" fmla="*/ 126 h 253"/>
                  <a:gd name="T76" fmla="*/ 323 w 331"/>
                  <a:gd name="T77" fmla="*/ 147 h 253"/>
                  <a:gd name="T78" fmla="*/ 323 w 331"/>
                  <a:gd name="T79" fmla="*/ 167 h 253"/>
                  <a:gd name="T80" fmla="*/ 323 w 331"/>
                  <a:gd name="T81" fmla="*/ 186 h 253"/>
                  <a:gd name="T82" fmla="*/ 332 w 331"/>
                  <a:gd name="T83" fmla="*/ 196 h 253"/>
                  <a:gd name="T84" fmla="*/ 342 w 331"/>
                  <a:gd name="T85" fmla="*/ 206 h 253"/>
                  <a:gd name="T86" fmla="*/ 342 w 331"/>
                  <a:gd name="T87" fmla="*/ 215 h 253"/>
                  <a:gd name="T88" fmla="*/ 332 w 331"/>
                  <a:gd name="T89" fmla="*/ 225 h 253"/>
                  <a:gd name="T90" fmla="*/ 303 w 331"/>
                  <a:gd name="T91" fmla="*/ 245 h 253"/>
                  <a:gd name="T92" fmla="*/ 284 w 331"/>
                  <a:gd name="T93" fmla="*/ 254 h 253"/>
                  <a:gd name="T94" fmla="*/ 264 w 331"/>
                  <a:gd name="T95" fmla="*/ 264 h 253"/>
                  <a:gd name="T96" fmla="*/ 245 w 331"/>
                  <a:gd name="T97" fmla="*/ 264 h 253"/>
                  <a:gd name="T98" fmla="*/ 225 w 331"/>
                  <a:gd name="T99" fmla="*/ 254 h 253"/>
                  <a:gd name="T100" fmla="*/ 206 w 331"/>
                  <a:gd name="T101" fmla="*/ 264 h 253"/>
                  <a:gd name="T102" fmla="*/ 186 w 331"/>
                  <a:gd name="T103" fmla="*/ 254 h 253"/>
                  <a:gd name="T104" fmla="*/ 165 w 331"/>
                  <a:gd name="T105" fmla="*/ 254 h 253"/>
                  <a:gd name="T106" fmla="*/ 156 w 331"/>
                  <a:gd name="T107" fmla="*/ 254 h 253"/>
                  <a:gd name="T108" fmla="*/ 156 w 331"/>
                  <a:gd name="T109" fmla="*/ 245 h 253"/>
                  <a:gd name="T110" fmla="*/ 146 w 331"/>
                  <a:gd name="T111" fmla="*/ 225 h 2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31"/>
                  <a:gd name="T169" fmla="*/ 0 h 253"/>
                  <a:gd name="T170" fmla="*/ 331 w 331"/>
                  <a:gd name="T171" fmla="*/ 253 h 253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  <a:lnTo>
                      <a:pt x="146" y="214"/>
                    </a:lnTo>
                    <a:close/>
                  </a:path>
                </a:pathLst>
              </a:custGeom>
              <a:solidFill>
                <a:srgbClr val="0078D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9" name="Freeform 190"/>
              <p:cNvSpPr>
                <a:spLocks/>
              </p:cNvSpPr>
              <p:nvPr/>
            </p:nvSpPr>
            <p:spPr bwMode="auto">
              <a:xfrm>
                <a:off x="1367" y="1502"/>
                <a:ext cx="331" cy="254"/>
              </a:xfrm>
              <a:custGeom>
                <a:avLst/>
                <a:gdLst>
                  <a:gd name="T0" fmla="*/ 146 w 331"/>
                  <a:gd name="T1" fmla="*/ 214 h 253"/>
                  <a:gd name="T2" fmla="*/ 117 w 331"/>
                  <a:gd name="T3" fmla="*/ 224 h 253"/>
                  <a:gd name="T4" fmla="*/ 97 w 331"/>
                  <a:gd name="T5" fmla="*/ 234 h 253"/>
                  <a:gd name="T6" fmla="*/ 87 w 331"/>
                  <a:gd name="T7" fmla="*/ 234 h 253"/>
                  <a:gd name="T8" fmla="*/ 78 w 331"/>
                  <a:gd name="T9" fmla="*/ 234 h 253"/>
                  <a:gd name="T10" fmla="*/ 48 w 331"/>
                  <a:gd name="T11" fmla="*/ 234 h 253"/>
                  <a:gd name="T12" fmla="*/ 19 w 331"/>
                  <a:gd name="T13" fmla="*/ 234 h 253"/>
                  <a:gd name="T14" fmla="*/ 9 w 331"/>
                  <a:gd name="T15" fmla="*/ 234 h 253"/>
                  <a:gd name="T16" fmla="*/ 0 w 331"/>
                  <a:gd name="T17" fmla="*/ 214 h 253"/>
                  <a:gd name="T18" fmla="*/ 9 w 331"/>
                  <a:gd name="T19" fmla="*/ 195 h 253"/>
                  <a:gd name="T20" fmla="*/ 9 w 331"/>
                  <a:gd name="T21" fmla="*/ 195 h 253"/>
                  <a:gd name="T22" fmla="*/ 0 w 331"/>
                  <a:gd name="T23" fmla="*/ 175 h 253"/>
                  <a:gd name="T24" fmla="*/ 0 w 331"/>
                  <a:gd name="T25" fmla="*/ 156 h 253"/>
                  <a:gd name="T26" fmla="*/ 19 w 331"/>
                  <a:gd name="T27" fmla="*/ 156 h 253"/>
                  <a:gd name="T28" fmla="*/ 29 w 331"/>
                  <a:gd name="T29" fmla="*/ 136 h 253"/>
                  <a:gd name="T30" fmla="*/ 29 w 331"/>
                  <a:gd name="T31" fmla="*/ 117 h 253"/>
                  <a:gd name="T32" fmla="*/ 29 w 331"/>
                  <a:gd name="T33" fmla="*/ 97 h 253"/>
                  <a:gd name="T34" fmla="*/ 39 w 331"/>
                  <a:gd name="T35" fmla="*/ 97 h 253"/>
                  <a:gd name="T36" fmla="*/ 48 w 331"/>
                  <a:gd name="T37" fmla="*/ 78 h 253"/>
                  <a:gd name="T38" fmla="*/ 68 w 331"/>
                  <a:gd name="T39" fmla="*/ 68 h 253"/>
                  <a:gd name="T40" fmla="*/ 68 w 331"/>
                  <a:gd name="T41" fmla="*/ 48 h 253"/>
                  <a:gd name="T42" fmla="*/ 68 w 331"/>
                  <a:gd name="T43" fmla="*/ 39 h 253"/>
                  <a:gd name="T44" fmla="*/ 87 w 331"/>
                  <a:gd name="T45" fmla="*/ 39 h 253"/>
                  <a:gd name="T46" fmla="*/ 97 w 331"/>
                  <a:gd name="T47" fmla="*/ 39 h 253"/>
                  <a:gd name="T48" fmla="*/ 107 w 331"/>
                  <a:gd name="T49" fmla="*/ 29 h 253"/>
                  <a:gd name="T50" fmla="*/ 107 w 331"/>
                  <a:gd name="T51" fmla="*/ 19 h 253"/>
                  <a:gd name="T52" fmla="*/ 117 w 331"/>
                  <a:gd name="T53" fmla="*/ 9 h 253"/>
                  <a:gd name="T54" fmla="*/ 136 w 331"/>
                  <a:gd name="T55" fmla="*/ 9 h 253"/>
                  <a:gd name="T56" fmla="*/ 146 w 331"/>
                  <a:gd name="T57" fmla="*/ 0 h 253"/>
                  <a:gd name="T58" fmla="*/ 156 w 331"/>
                  <a:gd name="T59" fmla="*/ 0 h 253"/>
                  <a:gd name="T60" fmla="*/ 165 w 331"/>
                  <a:gd name="T61" fmla="*/ 9 h 253"/>
                  <a:gd name="T62" fmla="*/ 165 w 331"/>
                  <a:gd name="T63" fmla="*/ 29 h 253"/>
                  <a:gd name="T64" fmla="*/ 175 w 331"/>
                  <a:gd name="T65" fmla="*/ 39 h 253"/>
                  <a:gd name="T66" fmla="*/ 195 w 331"/>
                  <a:gd name="T67" fmla="*/ 78 h 253"/>
                  <a:gd name="T68" fmla="*/ 224 w 331"/>
                  <a:gd name="T69" fmla="*/ 107 h 253"/>
                  <a:gd name="T70" fmla="*/ 253 w 331"/>
                  <a:gd name="T71" fmla="*/ 126 h 253"/>
                  <a:gd name="T72" fmla="*/ 282 w 331"/>
                  <a:gd name="T73" fmla="*/ 136 h 253"/>
                  <a:gd name="T74" fmla="*/ 302 w 331"/>
                  <a:gd name="T75" fmla="*/ 126 h 253"/>
                  <a:gd name="T76" fmla="*/ 312 w 331"/>
                  <a:gd name="T77" fmla="*/ 136 h 253"/>
                  <a:gd name="T78" fmla="*/ 312 w 331"/>
                  <a:gd name="T79" fmla="*/ 156 h 253"/>
                  <a:gd name="T80" fmla="*/ 312 w 331"/>
                  <a:gd name="T81" fmla="*/ 175 h 253"/>
                  <a:gd name="T82" fmla="*/ 321 w 331"/>
                  <a:gd name="T83" fmla="*/ 185 h 253"/>
                  <a:gd name="T84" fmla="*/ 331 w 331"/>
                  <a:gd name="T85" fmla="*/ 195 h 253"/>
                  <a:gd name="T86" fmla="*/ 331 w 331"/>
                  <a:gd name="T87" fmla="*/ 204 h 253"/>
                  <a:gd name="T88" fmla="*/ 321 w 331"/>
                  <a:gd name="T89" fmla="*/ 214 h 253"/>
                  <a:gd name="T90" fmla="*/ 292 w 331"/>
                  <a:gd name="T91" fmla="*/ 234 h 253"/>
                  <a:gd name="T92" fmla="*/ 273 w 331"/>
                  <a:gd name="T93" fmla="*/ 243 h 253"/>
                  <a:gd name="T94" fmla="*/ 253 w 331"/>
                  <a:gd name="T95" fmla="*/ 253 h 253"/>
                  <a:gd name="T96" fmla="*/ 234 w 331"/>
                  <a:gd name="T97" fmla="*/ 253 h 253"/>
                  <a:gd name="T98" fmla="*/ 214 w 331"/>
                  <a:gd name="T99" fmla="*/ 243 h 253"/>
                  <a:gd name="T100" fmla="*/ 195 w 331"/>
                  <a:gd name="T101" fmla="*/ 253 h 253"/>
                  <a:gd name="T102" fmla="*/ 175 w 331"/>
                  <a:gd name="T103" fmla="*/ 243 h 253"/>
                  <a:gd name="T104" fmla="*/ 165 w 331"/>
                  <a:gd name="T105" fmla="*/ 243 h 253"/>
                  <a:gd name="T106" fmla="*/ 156 w 331"/>
                  <a:gd name="T107" fmla="*/ 243 h 253"/>
                  <a:gd name="T108" fmla="*/ 156 w 331"/>
                  <a:gd name="T109" fmla="*/ 234 h 25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31"/>
                  <a:gd name="T166" fmla="*/ 0 h 253"/>
                  <a:gd name="T167" fmla="*/ 331 w 331"/>
                  <a:gd name="T168" fmla="*/ 253 h 25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31" h="253">
                    <a:moveTo>
                      <a:pt x="146" y="214"/>
                    </a:moveTo>
                    <a:lnTo>
                      <a:pt x="117" y="224"/>
                    </a:lnTo>
                    <a:lnTo>
                      <a:pt x="97" y="234"/>
                    </a:lnTo>
                    <a:lnTo>
                      <a:pt x="87" y="234"/>
                    </a:lnTo>
                    <a:lnTo>
                      <a:pt x="78" y="234"/>
                    </a:lnTo>
                    <a:lnTo>
                      <a:pt x="48" y="234"/>
                    </a:lnTo>
                    <a:lnTo>
                      <a:pt x="19" y="234"/>
                    </a:lnTo>
                    <a:lnTo>
                      <a:pt x="9" y="234"/>
                    </a:lnTo>
                    <a:lnTo>
                      <a:pt x="0" y="214"/>
                    </a:lnTo>
                    <a:lnTo>
                      <a:pt x="9" y="195"/>
                    </a:lnTo>
                    <a:lnTo>
                      <a:pt x="0" y="175"/>
                    </a:lnTo>
                    <a:lnTo>
                      <a:pt x="0" y="156"/>
                    </a:lnTo>
                    <a:lnTo>
                      <a:pt x="19" y="156"/>
                    </a:lnTo>
                    <a:lnTo>
                      <a:pt x="29" y="136"/>
                    </a:lnTo>
                    <a:lnTo>
                      <a:pt x="29" y="117"/>
                    </a:lnTo>
                    <a:lnTo>
                      <a:pt x="29" y="97"/>
                    </a:lnTo>
                    <a:lnTo>
                      <a:pt x="39" y="97"/>
                    </a:lnTo>
                    <a:lnTo>
                      <a:pt x="48" y="78"/>
                    </a:lnTo>
                    <a:lnTo>
                      <a:pt x="68" y="68"/>
                    </a:lnTo>
                    <a:lnTo>
                      <a:pt x="68" y="48"/>
                    </a:lnTo>
                    <a:lnTo>
                      <a:pt x="68" y="39"/>
                    </a:lnTo>
                    <a:lnTo>
                      <a:pt x="87" y="39"/>
                    </a:lnTo>
                    <a:lnTo>
                      <a:pt x="97" y="39"/>
                    </a:lnTo>
                    <a:lnTo>
                      <a:pt x="107" y="29"/>
                    </a:lnTo>
                    <a:lnTo>
                      <a:pt x="107" y="19"/>
                    </a:lnTo>
                    <a:lnTo>
                      <a:pt x="117" y="9"/>
                    </a:lnTo>
                    <a:lnTo>
                      <a:pt x="136" y="9"/>
                    </a:lnTo>
                    <a:lnTo>
                      <a:pt x="146" y="0"/>
                    </a:lnTo>
                    <a:lnTo>
                      <a:pt x="156" y="0"/>
                    </a:lnTo>
                    <a:lnTo>
                      <a:pt x="165" y="9"/>
                    </a:lnTo>
                    <a:lnTo>
                      <a:pt x="165" y="29"/>
                    </a:lnTo>
                    <a:lnTo>
                      <a:pt x="175" y="39"/>
                    </a:lnTo>
                    <a:lnTo>
                      <a:pt x="195" y="78"/>
                    </a:lnTo>
                    <a:lnTo>
                      <a:pt x="224" y="107"/>
                    </a:lnTo>
                    <a:lnTo>
                      <a:pt x="253" y="126"/>
                    </a:lnTo>
                    <a:lnTo>
                      <a:pt x="282" y="136"/>
                    </a:lnTo>
                    <a:lnTo>
                      <a:pt x="302" y="126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12" y="175"/>
                    </a:lnTo>
                    <a:lnTo>
                      <a:pt x="321" y="185"/>
                    </a:lnTo>
                    <a:lnTo>
                      <a:pt x="331" y="195"/>
                    </a:lnTo>
                    <a:lnTo>
                      <a:pt x="331" y="204"/>
                    </a:lnTo>
                    <a:lnTo>
                      <a:pt x="321" y="214"/>
                    </a:lnTo>
                    <a:lnTo>
                      <a:pt x="292" y="234"/>
                    </a:lnTo>
                    <a:lnTo>
                      <a:pt x="273" y="243"/>
                    </a:lnTo>
                    <a:lnTo>
                      <a:pt x="253" y="253"/>
                    </a:lnTo>
                    <a:lnTo>
                      <a:pt x="234" y="253"/>
                    </a:lnTo>
                    <a:lnTo>
                      <a:pt x="214" y="243"/>
                    </a:lnTo>
                    <a:lnTo>
                      <a:pt x="195" y="253"/>
                    </a:lnTo>
                    <a:lnTo>
                      <a:pt x="175" y="243"/>
                    </a:lnTo>
                    <a:lnTo>
                      <a:pt x="165" y="243"/>
                    </a:lnTo>
                    <a:lnTo>
                      <a:pt x="156" y="243"/>
                    </a:lnTo>
                    <a:lnTo>
                      <a:pt x="156" y="234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55" name="Freeform 188"/>
            <p:cNvSpPr>
              <a:spLocks/>
            </p:cNvSpPr>
            <p:nvPr/>
          </p:nvSpPr>
          <p:spPr bwMode="auto">
            <a:xfrm>
              <a:off x="1203" y="1678"/>
              <a:ext cx="249" cy="242"/>
            </a:xfrm>
            <a:custGeom>
              <a:avLst/>
              <a:gdLst/>
              <a:ahLst/>
              <a:cxnLst>
                <a:cxn ang="0">
                  <a:pos x="127" y="244"/>
                </a:cxn>
                <a:cxn ang="0">
                  <a:pos x="107" y="244"/>
                </a:cxn>
                <a:cxn ang="0">
                  <a:pos x="78" y="225"/>
                </a:cxn>
                <a:cxn ang="0">
                  <a:pos x="97" y="195"/>
                </a:cxn>
                <a:cxn ang="0">
                  <a:pos x="88" y="166"/>
                </a:cxn>
                <a:cxn ang="0">
                  <a:pos x="68" y="166"/>
                </a:cxn>
                <a:cxn ang="0">
                  <a:pos x="58" y="147"/>
                </a:cxn>
                <a:cxn ang="0">
                  <a:pos x="39" y="107"/>
                </a:cxn>
                <a:cxn ang="0">
                  <a:pos x="19" y="107"/>
                </a:cxn>
                <a:cxn ang="0">
                  <a:pos x="0" y="88"/>
                </a:cxn>
                <a:cxn ang="0">
                  <a:pos x="10" y="59"/>
                </a:cxn>
                <a:cxn ang="0">
                  <a:pos x="29" y="49"/>
                </a:cxn>
                <a:cxn ang="0">
                  <a:pos x="49" y="29"/>
                </a:cxn>
                <a:cxn ang="0">
                  <a:pos x="58" y="10"/>
                </a:cxn>
                <a:cxn ang="0">
                  <a:pos x="78" y="0"/>
                </a:cxn>
                <a:cxn ang="0">
                  <a:pos x="97" y="10"/>
                </a:cxn>
                <a:cxn ang="0">
                  <a:pos x="97" y="39"/>
                </a:cxn>
                <a:cxn ang="0">
                  <a:pos x="117" y="59"/>
                </a:cxn>
                <a:cxn ang="0">
                  <a:pos x="146" y="59"/>
                </a:cxn>
                <a:cxn ang="0">
                  <a:pos x="166" y="39"/>
                </a:cxn>
                <a:cxn ang="0">
                  <a:pos x="185" y="59"/>
                </a:cxn>
                <a:cxn ang="0">
                  <a:pos x="244" y="59"/>
                </a:cxn>
                <a:cxn ang="0">
                  <a:pos x="253" y="59"/>
                </a:cxn>
                <a:cxn ang="0">
                  <a:pos x="253" y="88"/>
                </a:cxn>
                <a:cxn ang="0">
                  <a:pos x="253" y="107"/>
                </a:cxn>
                <a:cxn ang="0">
                  <a:pos x="253" y="137"/>
                </a:cxn>
                <a:cxn ang="0">
                  <a:pos x="234" y="156"/>
                </a:cxn>
                <a:cxn ang="0">
                  <a:pos x="234" y="186"/>
                </a:cxn>
                <a:cxn ang="0">
                  <a:pos x="214" y="205"/>
                </a:cxn>
                <a:cxn ang="0">
                  <a:pos x="185" y="195"/>
                </a:cxn>
                <a:cxn ang="0">
                  <a:pos x="166" y="205"/>
                </a:cxn>
                <a:cxn ang="0">
                  <a:pos x="166" y="225"/>
                </a:cxn>
                <a:cxn ang="0">
                  <a:pos x="146" y="225"/>
                </a:cxn>
                <a:cxn ang="0">
                  <a:pos x="127" y="234"/>
                </a:cxn>
              </a:cxnLst>
              <a:rect l="0" t="0" r="r" b="b"/>
              <a:pathLst>
                <a:path w="253" h="244">
                  <a:moveTo>
                    <a:pt x="136" y="244"/>
                  </a:moveTo>
                  <a:lnTo>
                    <a:pt x="127" y="244"/>
                  </a:lnTo>
                  <a:lnTo>
                    <a:pt x="117" y="244"/>
                  </a:lnTo>
                  <a:lnTo>
                    <a:pt x="107" y="244"/>
                  </a:lnTo>
                  <a:lnTo>
                    <a:pt x="68" y="234"/>
                  </a:lnTo>
                  <a:lnTo>
                    <a:pt x="78" y="225"/>
                  </a:lnTo>
                  <a:lnTo>
                    <a:pt x="88" y="205"/>
                  </a:lnTo>
                  <a:lnTo>
                    <a:pt x="97" y="195"/>
                  </a:lnTo>
                  <a:lnTo>
                    <a:pt x="97" y="186"/>
                  </a:lnTo>
                  <a:lnTo>
                    <a:pt x="88" y="166"/>
                  </a:lnTo>
                  <a:lnTo>
                    <a:pt x="68" y="166"/>
                  </a:lnTo>
                  <a:lnTo>
                    <a:pt x="68" y="156"/>
                  </a:lnTo>
                  <a:lnTo>
                    <a:pt x="58" y="147"/>
                  </a:lnTo>
                  <a:lnTo>
                    <a:pt x="49" y="137"/>
                  </a:lnTo>
                  <a:lnTo>
                    <a:pt x="39" y="107"/>
                  </a:lnTo>
                  <a:lnTo>
                    <a:pt x="29" y="107"/>
                  </a:lnTo>
                  <a:lnTo>
                    <a:pt x="19" y="107"/>
                  </a:lnTo>
                  <a:lnTo>
                    <a:pt x="0" y="107"/>
                  </a:lnTo>
                  <a:lnTo>
                    <a:pt x="0" y="88"/>
                  </a:lnTo>
                  <a:lnTo>
                    <a:pt x="0" y="68"/>
                  </a:lnTo>
                  <a:lnTo>
                    <a:pt x="10" y="5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39" y="39"/>
                  </a:lnTo>
                  <a:lnTo>
                    <a:pt x="49" y="29"/>
                  </a:lnTo>
                  <a:lnTo>
                    <a:pt x="58" y="29"/>
                  </a:lnTo>
                  <a:lnTo>
                    <a:pt x="58" y="10"/>
                  </a:lnTo>
                  <a:lnTo>
                    <a:pt x="68" y="0"/>
                  </a:lnTo>
                  <a:lnTo>
                    <a:pt x="78" y="0"/>
                  </a:lnTo>
                  <a:lnTo>
                    <a:pt x="88" y="0"/>
                  </a:lnTo>
                  <a:lnTo>
                    <a:pt x="97" y="10"/>
                  </a:lnTo>
                  <a:lnTo>
                    <a:pt x="97" y="29"/>
                  </a:lnTo>
                  <a:lnTo>
                    <a:pt x="97" y="39"/>
                  </a:lnTo>
                  <a:lnTo>
                    <a:pt x="97" y="49"/>
                  </a:lnTo>
                  <a:lnTo>
                    <a:pt x="117" y="59"/>
                  </a:lnTo>
                  <a:lnTo>
                    <a:pt x="136" y="59"/>
                  </a:lnTo>
                  <a:lnTo>
                    <a:pt x="146" y="59"/>
                  </a:lnTo>
                  <a:lnTo>
                    <a:pt x="156" y="68"/>
                  </a:lnTo>
                  <a:lnTo>
                    <a:pt x="166" y="39"/>
                  </a:lnTo>
                  <a:lnTo>
                    <a:pt x="175" y="59"/>
                  </a:lnTo>
                  <a:lnTo>
                    <a:pt x="185" y="59"/>
                  </a:lnTo>
                  <a:lnTo>
                    <a:pt x="214" y="59"/>
                  </a:lnTo>
                  <a:lnTo>
                    <a:pt x="244" y="59"/>
                  </a:lnTo>
                  <a:lnTo>
                    <a:pt x="253" y="59"/>
                  </a:lnTo>
                  <a:lnTo>
                    <a:pt x="253" y="78"/>
                  </a:lnTo>
                  <a:lnTo>
                    <a:pt x="253" y="88"/>
                  </a:lnTo>
                  <a:lnTo>
                    <a:pt x="253" y="98"/>
                  </a:lnTo>
                  <a:lnTo>
                    <a:pt x="253" y="107"/>
                  </a:lnTo>
                  <a:lnTo>
                    <a:pt x="253" y="117"/>
                  </a:lnTo>
                  <a:lnTo>
                    <a:pt x="253" y="137"/>
                  </a:lnTo>
                  <a:lnTo>
                    <a:pt x="234" y="147"/>
                  </a:lnTo>
                  <a:lnTo>
                    <a:pt x="234" y="156"/>
                  </a:lnTo>
                  <a:lnTo>
                    <a:pt x="244" y="166"/>
                  </a:lnTo>
                  <a:lnTo>
                    <a:pt x="234" y="186"/>
                  </a:lnTo>
                  <a:lnTo>
                    <a:pt x="224" y="195"/>
                  </a:lnTo>
                  <a:lnTo>
                    <a:pt x="214" y="205"/>
                  </a:lnTo>
                  <a:lnTo>
                    <a:pt x="205" y="205"/>
                  </a:lnTo>
                  <a:lnTo>
                    <a:pt x="185" y="195"/>
                  </a:lnTo>
                  <a:lnTo>
                    <a:pt x="175" y="195"/>
                  </a:lnTo>
                  <a:lnTo>
                    <a:pt x="166" y="205"/>
                  </a:lnTo>
                  <a:lnTo>
                    <a:pt x="175" y="215"/>
                  </a:lnTo>
                  <a:lnTo>
                    <a:pt x="166" y="225"/>
                  </a:lnTo>
                  <a:lnTo>
                    <a:pt x="156" y="225"/>
                  </a:lnTo>
                  <a:lnTo>
                    <a:pt x="146" y="225"/>
                  </a:lnTo>
                  <a:lnTo>
                    <a:pt x="127" y="225"/>
                  </a:lnTo>
                  <a:lnTo>
                    <a:pt x="127" y="234"/>
                  </a:lnTo>
                  <a:lnTo>
                    <a:pt x="136" y="244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187"/>
            <p:cNvSpPr>
              <a:spLocks/>
            </p:cNvSpPr>
            <p:nvPr/>
          </p:nvSpPr>
          <p:spPr bwMode="auto">
            <a:xfrm>
              <a:off x="1435" y="1718"/>
              <a:ext cx="264" cy="183"/>
            </a:xfrm>
            <a:custGeom>
              <a:avLst/>
              <a:gdLst/>
              <a:ahLst/>
              <a:cxnLst>
                <a:cxn ang="0">
                  <a:pos x="244" y="186"/>
                </a:cxn>
                <a:cxn ang="0">
                  <a:pos x="224" y="186"/>
                </a:cxn>
                <a:cxn ang="0">
                  <a:pos x="195" y="186"/>
                </a:cxn>
                <a:cxn ang="0">
                  <a:pos x="166" y="186"/>
                </a:cxn>
                <a:cxn ang="0">
                  <a:pos x="156" y="176"/>
                </a:cxn>
                <a:cxn ang="0">
                  <a:pos x="136" y="156"/>
                </a:cxn>
                <a:cxn ang="0">
                  <a:pos x="136" y="147"/>
                </a:cxn>
                <a:cxn ang="0">
                  <a:pos x="127" y="156"/>
                </a:cxn>
                <a:cxn ang="0">
                  <a:pos x="127" y="176"/>
                </a:cxn>
                <a:cxn ang="0">
                  <a:pos x="107" y="176"/>
                </a:cxn>
                <a:cxn ang="0">
                  <a:pos x="88" y="176"/>
                </a:cxn>
                <a:cxn ang="0">
                  <a:pos x="78" y="186"/>
                </a:cxn>
                <a:cxn ang="0">
                  <a:pos x="68" y="186"/>
                </a:cxn>
                <a:cxn ang="0">
                  <a:pos x="58" y="186"/>
                </a:cxn>
                <a:cxn ang="0">
                  <a:pos x="49" y="176"/>
                </a:cxn>
                <a:cxn ang="0">
                  <a:pos x="10" y="147"/>
                </a:cxn>
                <a:cxn ang="0">
                  <a:pos x="10" y="137"/>
                </a:cxn>
                <a:cxn ang="0">
                  <a:pos x="0" y="117"/>
                </a:cxn>
                <a:cxn ang="0">
                  <a:pos x="10" y="108"/>
                </a:cxn>
                <a:cxn ang="0">
                  <a:pos x="19" y="98"/>
                </a:cxn>
                <a:cxn ang="0">
                  <a:pos x="19" y="88"/>
                </a:cxn>
                <a:cxn ang="0">
                  <a:pos x="19" y="68"/>
                </a:cxn>
                <a:cxn ang="0">
                  <a:pos x="19" y="59"/>
                </a:cxn>
                <a:cxn ang="0">
                  <a:pos x="19" y="49"/>
                </a:cxn>
                <a:cxn ang="0">
                  <a:pos x="29" y="39"/>
                </a:cxn>
                <a:cxn ang="0">
                  <a:pos x="19" y="20"/>
                </a:cxn>
                <a:cxn ang="0">
                  <a:pos x="19" y="20"/>
                </a:cxn>
                <a:cxn ang="0">
                  <a:pos x="29" y="20"/>
                </a:cxn>
                <a:cxn ang="0">
                  <a:pos x="49" y="10"/>
                </a:cxn>
                <a:cxn ang="0">
                  <a:pos x="78" y="0"/>
                </a:cxn>
                <a:cxn ang="0">
                  <a:pos x="88" y="20"/>
                </a:cxn>
                <a:cxn ang="0">
                  <a:pos x="88" y="29"/>
                </a:cxn>
                <a:cxn ang="0">
                  <a:pos x="107" y="29"/>
                </a:cxn>
                <a:cxn ang="0">
                  <a:pos x="107" y="29"/>
                </a:cxn>
                <a:cxn ang="0">
                  <a:pos x="127" y="39"/>
                </a:cxn>
                <a:cxn ang="0">
                  <a:pos x="146" y="29"/>
                </a:cxn>
                <a:cxn ang="0">
                  <a:pos x="166" y="39"/>
                </a:cxn>
                <a:cxn ang="0">
                  <a:pos x="195" y="39"/>
                </a:cxn>
                <a:cxn ang="0">
                  <a:pos x="205" y="29"/>
                </a:cxn>
                <a:cxn ang="0">
                  <a:pos x="214" y="49"/>
                </a:cxn>
                <a:cxn ang="0">
                  <a:pos x="214" y="68"/>
                </a:cxn>
                <a:cxn ang="0">
                  <a:pos x="234" y="88"/>
                </a:cxn>
                <a:cxn ang="0">
                  <a:pos x="244" y="88"/>
                </a:cxn>
                <a:cxn ang="0">
                  <a:pos x="253" y="88"/>
                </a:cxn>
                <a:cxn ang="0">
                  <a:pos x="263" y="117"/>
                </a:cxn>
                <a:cxn ang="0">
                  <a:pos x="263" y="147"/>
                </a:cxn>
                <a:cxn ang="0">
                  <a:pos x="244" y="156"/>
                </a:cxn>
                <a:cxn ang="0">
                  <a:pos x="234" y="176"/>
                </a:cxn>
                <a:cxn ang="0">
                  <a:pos x="244" y="186"/>
                </a:cxn>
              </a:cxnLst>
              <a:rect l="0" t="0" r="r" b="b"/>
              <a:pathLst>
                <a:path w="263" h="186">
                  <a:moveTo>
                    <a:pt x="244" y="186"/>
                  </a:moveTo>
                  <a:lnTo>
                    <a:pt x="224" y="186"/>
                  </a:lnTo>
                  <a:lnTo>
                    <a:pt x="195" y="186"/>
                  </a:lnTo>
                  <a:lnTo>
                    <a:pt x="166" y="186"/>
                  </a:lnTo>
                  <a:lnTo>
                    <a:pt x="156" y="176"/>
                  </a:lnTo>
                  <a:lnTo>
                    <a:pt x="136" y="156"/>
                  </a:lnTo>
                  <a:lnTo>
                    <a:pt x="136" y="147"/>
                  </a:lnTo>
                  <a:lnTo>
                    <a:pt x="127" y="156"/>
                  </a:lnTo>
                  <a:lnTo>
                    <a:pt x="127" y="176"/>
                  </a:lnTo>
                  <a:lnTo>
                    <a:pt x="107" y="17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68" y="186"/>
                  </a:lnTo>
                  <a:lnTo>
                    <a:pt x="58" y="186"/>
                  </a:lnTo>
                  <a:lnTo>
                    <a:pt x="49" y="176"/>
                  </a:lnTo>
                  <a:lnTo>
                    <a:pt x="10" y="147"/>
                  </a:lnTo>
                  <a:lnTo>
                    <a:pt x="10" y="13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9" y="98"/>
                  </a:lnTo>
                  <a:lnTo>
                    <a:pt x="19" y="88"/>
                  </a:lnTo>
                  <a:lnTo>
                    <a:pt x="19" y="68"/>
                  </a:lnTo>
                  <a:lnTo>
                    <a:pt x="19" y="59"/>
                  </a:lnTo>
                  <a:lnTo>
                    <a:pt x="19" y="49"/>
                  </a:lnTo>
                  <a:lnTo>
                    <a:pt x="29" y="39"/>
                  </a:lnTo>
                  <a:lnTo>
                    <a:pt x="19" y="20"/>
                  </a:lnTo>
                  <a:lnTo>
                    <a:pt x="29" y="20"/>
                  </a:lnTo>
                  <a:lnTo>
                    <a:pt x="49" y="10"/>
                  </a:lnTo>
                  <a:lnTo>
                    <a:pt x="78" y="0"/>
                  </a:lnTo>
                  <a:lnTo>
                    <a:pt x="88" y="20"/>
                  </a:lnTo>
                  <a:lnTo>
                    <a:pt x="88" y="29"/>
                  </a:lnTo>
                  <a:lnTo>
                    <a:pt x="107" y="29"/>
                  </a:lnTo>
                  <a:lnTo>
                    <a:pt x="127" y="39"/>
                  </a:lnTo>
                  <a:lnTo>
                    <a:pt x="146" y="29"/>
                  </a:lnTo>
                  <a:lnTo>
                    <a:pt x="166" y="39"/>
                  </a:lnTo>
                  <a:lnTo>
                    <a:pt x="195" y="39"/>
                  </a:lnTo>
                  <a:lnTo>
                    <a:pt x="205" y="29"/>
                  </a:lnTo>
                  <a:lnTo>
                    <a:pt x="214" y="49"/>
                  </a:lnTo>
                  <a:lnTo>
                    <a:pt x="214" y="68"/>
                  </a:lnTo>
                  <a:lnTo>
                    <a:pt x="234" y="88"/>
                  </a:lnTo>
                  <a:lnTo>
                    <a:pt x="244" y="88"/>
                  </a:lnTo>
                  <a:lnTo>
                    <a:pt x="253" y="88"/>
                  </a:lnTo>
                  <a:lnTo>
                    <a:pt x="263" y="117"/>
                  </a:lnTo>
                  <a:lnTo>
                    <a:pt x="263" y="147"/>
                  </a:lnTo>
                  <a:lnTo>
                    <a:pt x="244" y="156"/>
                  </a:lnTo>
                  <a:lnTo>
                    <a:pt x="234" y="176"/>
                  </a:lnTo>
                  <a:lnTo>
                    <a:pt x="244" y="18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186"/>
            <p:cNvSpPr>
              <a:spLocks/>
            </p:cNvSpPr>
            <p:nvPr/>
          </p:nvSpPr>
          <p:spPr bwMode="auto">
            <a:xfrm>
              <a:off x="1641" y="1688"/>
              <a:ext cx="252" cy="322"/>
            </a:xfrm>
            <a:custGeom>
              <a:avLst/>
              <a:gdLst>
                <a:gd name="T0" fmla="*/ 48 w 253"/>
                <a:gd name="T1" fmla="*/ 245 h 322"/>
                <a:gd name="T2" fmla="*/ 48 w 253"/>
                <a:gd name="T3" fmla="*/ 255 h 322"/>
                <a:gd name="T4" fmla="*/ 48 w 253"/>
                <a:gd name="T5" fmla="*/ 284 h 322"/>
                <a:gd name="T6" fmla="*/ 39 w 253"/>
                <a:gd name="T7" fmla="*/ 313 h 322"/>
                <a:gd name="T8" fmla="*/ 48 w 253"/>
                <a:gd name="T9" fmla="*/ 313 h 322"/>
                <a:gd name="T10" fmla="*/ 68 w 253"/>
                <a:gd name="T11" fmla="*/ 313 h 322"/>
                <a:gd name="T12" fmla="*/ 87 w 253"/>
                <a:gd name="T13" fmla="*/ 304 h 322"/>
                <a:gd name="T14" fmla="*/ 97 w 253"/>
                <a:gd name="T15" fmla="*/ 313 h 322"/>
                <a:gd name="T16" fmla="*/ 135 w 253"/>
                <a:gd name="T17" fmla="*/ 333 h 322"/>
                <a:gd name="T18" fmla="*/ 174 w 253"/>
                <a:gd name="T19" fmla="*/ 333 h 322"/>
                <a:gd name="T20" fmla="*/ 194 w 253"/>
                <a:gd name="T21" fmla="*/ 323 h 322"/>
                <a:gd name="T22" fmla="*/ 213 w 253"/>
                <a:gd name="T23" fmla="*/ 313 h 322"/>
                <a:gd name="T24" fmla="*/ 213 w 253"/>
                <a:gd name="T25" fmla="*/ 284 h 322"/>
                <a:gd name="T26" fmla="*/ 203 w 253"/>
                <a:gd name="T27" fmla="*/ 255 h 322"/>
                <a:gd name="T28" fmla="*/ 203 w 253"/>
                <a:gd name="T29" fmla="*/ 216 h 322"/>
                <a:gd name="T30" fmla="*/ 194 w 253"/>
                <a:gd name="T31" fmla="*/ 187 h 322"/>
                <a:gd name="T32" fmla="*/ 242 w 253"/>
                <a:gd name="T33" fmla="*/ 127 h 322"/>
                <a:gd name="T34" fmla="*/ 242 w 253"/>
                <a:gd name="T35" fmla="*/ 97 h 322"/>
                <a:gd name="T36" fmla="*/ 233 w 253"/>
                <a:gd name="T37" fmla="*/ 88 h 322"/>
                <a:gd name="T38" fmla="*/ 213 w 253"/>
                <a:gd name="T39" fmla="*/ 68 h 322"/>
                <a:gd name="T40" fmla="*/ 194 w 253"/>
                <a:gd name="T41" fmla="*/ 78 h 322"/>
                <a:gd name="T42" fmla="*/ 174 w 253"/>
                <a:gd name="T43" fmla="*/ 78 h 322"/>
                <a:gd name="T44" fmla="*/ 155 w 253"/>
                <a:gd name="T45" fmla="*/ 49 h 322"/>
                <a:gd name="T46" fmla="*/ 126 w 253"/>
                <a:gd name="T47" fmla="*/ 19 h 322"/>
                <a:gd name="T48" fmla="*/ 107 w 253"/>
                <a:gd name="T49" fmla="*/ 0 h 322"/>
                <a:gd name="T50" fmla="*/ 68 w 253"/>
                <a:gd name="T51" fmla="*/ 0 h 322"/>
                <a:gd name="T52" fmla="*/ 58 w 253"/>
                <a:gd name="T53" fmla="*/ 19 h 322"/>
                <a:gd name="T54" fmla="*/ 19 w 253"/>
                <a:gd name="T55" fmla="*/ 49 h 322"/>
                <a:gd name="T56" fmla="*/ 9 w 253"/>
                <a:gd name="T57" fmla="*/ 78 h 322"/>
                <a:gd name="T58" fmla="*/ 29 w 253"/>
                <a:gd name="T59" fmla="*/ 107 h 322"/>
                <a:gd name="T60" fmla="*/ 48 w 253"/>
                <a:gd name="T61" fmla="*/ 117 h 322"/>
                <a:gd name="T62" fmla="*/ 58 w 253"/>
                <a:gd name="T63" fmla="*/ 187 h 322"/>
                <a:gd name="T64" fmla="*/ 97 w 253"/>
                <a:gd name="T65" fmla="*/ 156 h 322"/>
                <a:gd name="T66" fmla="*/ 97 w 253"/>
                <a:gd name="T67" fmla="*/ 146 h 322"/>
                <a:gd name="T68" fmla="*/ 117 w 253"/>
                <a:gd name="T69" fmla="*/ 127 h 322"/>
                <a:gd name="T70" fmla="*/ 135 w 253"/>
                <a:gd name="T71" fmla="*/ 127 h 322"/>
                <a:gd name="T72" fmla="*/ 155 w 253"/>
                <a:gd name="T73" fmla="*/ 127 h 322"/>
                <a:gd name="T74" fmla="*/ 164 w 253"/>
                <a:gd name="T75" fmla="*/ 146 h 322"/>
                <a:gd name="T76" fmla="*/ 164 w 253"/>
                <a:gd name="T77" fmla="*/ 177 h 322"/>
                <a:gd name="T78" fmla="*/ 155 w 253"/>
                <a:gd name="T79" fmla="*/ 196 h 322"/>
                <a:gd name="T80" fmla="*/ 126 w 253"/>
                <a:gd name="T81" fmla="*/ 196 h 322"/>
                <a:gd name="T82" fmla="*/ 117 w 253"/>
                <a:gd name="T83" fmla="*/ 196 h 322"/>
                <a:gd name="T84" fmla="*/ 97 w 253"/>
                <a:gd name="T85" fmla="*/ 187 h 322"/>
                <a:gd name="T86" fmla="*/ 58 w 253"/>
                <a:gd name="T87" fmla="*/ 187 h 322"/>
                <a:gd name="T88" fmla="*/ 29 w 253"/>
                <a:gd name="T89" fmla="*/ 216 h 322"/>
                <a:gd name="T90" fmla="*/ 39 w 253"/>
                <a:gd name="T91" fmla="*/ 235 h 3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53"/>
                <a:gd name="T139" fmla="*/ 0 h 322"/>
                <a:gd name="T140" fmla="*/ 253 w 253"/>
                <a:gd name="T141" fmla="*/ 322 h 32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53" h="322">
                  <a:moveTo>
                    <a:pt x="39" y="234"/>
                  </a:moveTo>
                  <a:lnTo>
                    <a:pt x="48" y="234"/>
                  </a:lnTo>
                  <a:lnTo>
                    <a:pt x="58" y="234"/>
                  </a:lnTo>
                  <a:lnTo>
                    <a:pt x="48" y="244"/>
                  </a:lnTo>
                  <a:lnTo>
                    <a:pt x="58" y="263"/>
                  </a:lnTo>
                  <a:lnTo>
                    <a:pt x="48" y="273"/>
                  </a:lnTo>
                  <a:lnTo>
                    <a:pt x="39" y="283"/>
                  </a:lnTo>
                  <a:lnTo>
                    <a:pt x="39" y="302"/>
                  </a:lnTo>
                  <a:lnTo>
                    <a:pt x="39" y="312"/>
                  </a:lnTo>
                  <a:lnTo>
                    <a:pt x="48" y="302"/>
                  </a:lnTo>
                  <a:lnTo>
                    <a:pt x="58" y="312"/>
                  </a:lnTo>
                  <a:lnTo>
                    <a:pt x="68" y="302"/>
                  </a:lnTo>
                  <a:lnTo>
                    <a:pt x="68" y="293"/>
                  </a:lnTo>
                  <a:lnTo>
                    <a:pt x="87" y="293"/>
                  </a:lnTo>
                  <a:lnTo>
                    <a:pt x="97" y="302"/>
                  </a:lnTo>
                  <a:lnTo>
                    <a:pt x="117" y="302"/>
                  </a:lnTo>
                  <a:lnTo>
                    <a:pt x="146" y="322"/>
                  </a:lnTo>
                  <a:lnTo>
                    <a:pt x="166" y="312"/>
                  </a:lnTo>
                  <a:lnTo>
                    <a:pt x="185" y="322"/>
                  </a:lnTo>
                  <a:lnTo>
                    <a:pt x="205" y="322"/>
                  </a:lnTo>
                  <a:lnTo>
                    <a:pt x="205" y="312"/>
                  </a:lnTo>
                  <a:lnTo>
                    <a:pt x="224" y="312"/>
                  </a:lnTo>
                  <a:lnTo>
                    <a:pt x="224" y="302"/>
                  </a:lnTo>
                  <a:lnTo>
                    <a:pt x="224" y="283"/>
                  </a:lnTo>
                  <a:lnTo>
                    <a:pt x="224" y="273"/>
                  </a:lnTo>
                  <a:lnTo>
                    <a:pt x="234" y="263"/>
                  </a:lnTo>
                  <a:lnTo>
                    <a:pt x="214" y="244"/>
                  </a:lnTo>
                  <a:lnTo>
                    <a:pt x="214" y="224"/>
                  </a:lnTo>
                  <a:lnTo>
                    <a:pt x="214" y="205"/>
                  </a:lnTo>
                  <a:lnTo>
                    <a:pt x="205" y="195"/>
                  </a:lnTo>
                  <a:lnTo>
                    <a:pt x="205" y="176"/>
                  </a:lnTo>
                  <a:lnTo>
                    <a:pt x="244" y="146"/>
                  </a:lnTo>
                  <a:lnTo>
                    <a:pt x="253" y="127"/>
                  </a:lnTo>
                  <a:lnTo>
                    <a:pt x="253" y="107"/>
                  </a:lnTo>
                  <a:lnTo>
                    <a:pt x="253" y="97"/>
                  </a:lnTo>
                  <a:lnTo>
                    <a:pt x="253" y="88"/>
                  </a:lnTo>
                  <a:lnTo>
                    <a:pt x="244" y="88"/>
                  </a:lnTo>
                  <a:lnTo>
                    <a:pt x="234" y="68"/>
                  </a:lnTo>
                  <a:lnTo>
                    <a:pt x="224" y="68"/>
                  </a:lnTo>
                  <a:lnTo>
                    <a:pt x="214" y="78"/>
                  </a:lnTo>
                  <a:lnTo>
                    <a:pt x="205" y="78"/>
                  </a:lnTo>
                  <a:lnTo>
                    <a:pt x="195" y="78"/>
                  </a:lnTo>
                  <a:lnTo>
                    <a:pt x="185" y="78"/>
                  </a:lnTo>
                  <a:lnTo>
                    <a:pt x="185" y="58"/>
                  </a:lnTo>
                  <a:lnTo>
                    <a:pt x="166" y="49"/>
                  </a:lnTo>
                  <a:lnTo>
                    <a:pt x="127" y="39"/>
                  </a:lnTo>
                  <a:lnTo>
                    <a:pt x="127" y="19"/>
                  </a:lnTo>
                  <a:lnTo>
                    <a:pt x="127" y="0"/>
                  </a:lnTo>
                  <a:lnTo>
                    <a:pt x="107" y="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58" y="10"/>
                  </a:lnTo>
                  <a:lnTo>
                    <a:pt x="58" y="19"/>
                  </a:lnTo>
                  <a:lnTo>
                    <a:pt x="48" y="29"/>
                  </a:lnTo>
                  <a:lnTo>
                    <a:pt x="19" y="49"/>
                  </a:lnTo>
                  <a:lnTo>
                    <a:pt x="0" y="58"/>
                  </a:lnTo>
                  <a:lnTo>
                    <a:pt x="9" y="78"/>
                  </a:lnTo>
                  <a:lnTo>
                    <a:pt x="9" y="97"/>
                  </a:lnTo>
                  <a:lnTo>
                    <a:pt x="29" y="107"/>
                  </a:lnTo>
                  <a:lnTo>
                    <a:pt x="39" y="117"/>
                  </a:lnTo>
                  <a:lnTo>
                    <a:pt x="48" y="117"/>
                  </a:lnTo>
                  <a:lnTo>
                    <a:pt x="58" y="146"/>
                  </a:lnTo>
                  <a:lnTo>
                    <a:pt x="58" y="176"/>
                  </a:lnTo>
                  <a:lnTo>
                    <a:pt x="97" y="166"/>
                  </a:lnTo>
                  <a:lnTo>
                    <a:pt x="97" y="156"/>
                  </a:lnTo>
                  <a:lnTo>
                    <a:pt x="97" y="146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27" y="127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66" y="127"/>
                  </a:lnTo>
                  <a:lnTo>
                    <a:pt x="175" y="137"/>
                  </a:lnTo>
                  <a:lnTo>
                    <a:pt x="175" y="146"/>
                  </a:lnTo>
                  <a:lnTo>
                    <a:pt x="175" y="156"/>
                  </a:lnTo>
                  <a:lnTo>
                    <a:pt x="175" y="166"/>
                  </a:lnTo>
                  <a:lnTo>
                    <a:pt x="175" y="176"/>
                  </a:lnTo>
                  <a:lnTo>
                    <a:pt x="166" y="185"/>
                  </a:lnTo>
                  <a:lnTo>
                    <a:pt x="156" y="185"/>
                  </a:lnTo>
                  <a:lnTo>
                    <a:pt x="136" y="185"/>
                  </a:lnTo>
                  <a:lnTo>
                    <a:pt x="127" y="185"/>
                  </a:lnTo>
                  <a:lnTo>
                    <a:pt x="117" y="185"/>
                  </a:lnTo>
                  <a:lnTo>
                    <a:pt x="107" y="185"/>
                  </a:lnTo>
                  <a:lnTo>
                    <a:pt x="97" y="176"/>
                  </a:lnTo>
                  <a:lnTo>
                    <a:pt x="97" y="166"/>
                  </a:lnTo>
                  <a:lnTo>
                    <a:pt x="58" y="176"/>
                  </a:lnTo>
                  <a:lnTo>
                    <a:pt x="48" y="185"/>
                  </a:lnTo>
                  <a:lnTo>
                    <a:pt x="29" y="205"/>
                  </a:lnTo>
                  <a:lnTo>
                    <a:pt x="39" y="215"/>
                  </a:lnTo>
                  <a:lnTo>
                    <a:pt x="39" y="224"/>
                  </a:lnTo>
                  <a:lnTo>
                    <a:pt x="39" y="234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185"/>
            <p:cNvSpPr>
              <a:spLocks/>
            </p:cNvSpPr>
            <p:nvPr/>
          </p:nvSpPr>
          <p:spPr bwMode="auto">
            <a:xfrm>
              <a:off x="1943" y="1857"/>
              <a:ext cx="235" cy="19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0" y="29"/>
                </a:cxn>
                <a:cxn ang="0">
                  <a:pos x="10" y="39"/>
                </a:cxn>
                <a:cxn ang="0">
                  <a:pos x="0" y="58"/>
                </a:cxn>
                <a:cxn ang="0">
                  <a:pos x="10" y="68"/>
                </a:cxn>
                <a:cxn ang="0">
                  <a:pos x="20" y="68"/>
                </a:cxn>
                <a:cxn ang="0">
                  <a:pos x="39" y="78"/>
                </a:cxn>
                <a:cxn ang="0">
                  <a:pos x="49" y="88"/>
                </a:cxn>
                <a:cxn ang="0">
                  <a:pos x="39" y="107"/>
                </a:cxn>
                <a:cxn ang="0">
                  <a:pos x="59" y="107"/>
                </a:cxn>
                <a:cxn ang="0">
                  <a:pos x="59" y="136"/>
                </a:cxn>
                <a:cxn ang="0">
                  <a:pos x="78" y="156"/>
                </a:cxn>
                <a:cxn ang="0">
                  <a:pos x="88" y="175"/>
                </a:cxn>
                <a:cxn ang="0">
                  <a:pos x="107" y="185"/>
                </a:cxn>
                <a:cxn ang="0">
                  <a:pos x="127" y="195"/>
                </a:cxn>
                <a:cxn ang="0">
                  <a:pos x="137" y="195"/>
                </a:cxn>
                <a:cxn ang="0">
                  <a:pos x="137" y="175"/>
                </a:cxn>
                <a:cxn ang="0">
                  <a:pos x="146" y="175"/>
                </a:cxn>
                <a:cxn ang="0">
                  <a:pos x="166" y="185"/>
                </a:cxn>
                <a:cxn ang="0">
                  <a:pos x="185" y="195"/>
                </a:cxn>
                <a:cxn ang="0">
                  <a:pos x="195" y="195"/>
                </a:cxn>
                <a:cxn ang="0">
                  <a:pos x="205" y="175"/>
                </a:cxn>
                <a:cxn ang="0">
                  <a:pos x="215" y="185"/>
                </a:cxn>
                <a:cxn ang="0">
                  <a:pos x="224" y="175"/>
                </a:cxn>
                <a:cxn ang="0">
                  <a:pos x="234" y="175"/>
                </a:cxn>
                <a:cxn ang="0">
                  <a:pos x="234" y="146"/>
                </a:cxn>
                <a:cxn ang="0">
                  <a:pos x="224" y="156"/>
                </a:cxn>
                <a:cxn ang="0">
                  <a:pos x="215" y="146"/>
                </a:cxn>
                <a:cxn ang="0">
                  <a:pos x="195" y="136"/>
                </a:cxn>
                <a:cxn ang="0">
                  <a:pos x="205" y="127"/>
                </a:cxn>
                <a:cxn ang="0">
                  <a:pos x="215" y="117"/>
                </a:cxn>
                <a:cxn ang="0">
                  <a:pos x="215" y="97"/>
                </a:cxn>
                <a:cxn ang="0">
                  <a:pos x="205" y="97"/>
                </a:cxn>
                <a:cxn ang="0">
                  <a:pos x="185" y="88"/>
                </a:cxn>
                <a:cxn ang="0">
                  <a:pos x="176" y="68"/>
                </a:cxn>
                <a:cxn ang="0">
                  <a:pos x="176" y="58"/>
                </a:cxn>
                <a:cxn ang="0">
                  <a:pos x="156" y="58"/>
                </a:cxn>
                <a:cxn ang="0">
                  <a:pos x="146" y="68"/>
                </a:cxn>
                <a:cxn ang="0">
                  <a:pos x="137" y="68"/>
                </a:cxn>
                <a:cxn ang="0">
                  <a:pos x="127" y="49"/>
                </a:cxn>
                <a:cxn ang="0">
                  <a:pos x="98" y="29"/>
                </a:cxn>
                <a:cxn ang="0">
                  <a:pos x="98" y="19"/>
                </a:cxn>
                <a:cxn ang="0">
                  <a:pos x="88" y="29"/>
                </a:cxn>
                <a:cxn ang="0">
                  <a:pos x="78" y="29"/>
                </a:cxn>
                <a:cxn ang="0">
                  <a:pos x="88" y="10"/>
                </a:cxn>
                <a:cxn ang="0">
                  <a:pos x="59" y="10"/>
                </a:cxn>
                <a:cxn ang="0">
                  <a:pos x="49" y="0"/>
                </a:cxn>
                <a:cxn ang="0">
                  <a:pos x="39" y="10"/>
                </a:cxn>
                <a:cxn ang="0">
                  <a:pos x="29" y="10"/>
                </a:cxn>
                <a:cxn ang="0">
                  <a:pos x="10" y="10"/>
                </a:cxn>
                <a:cxn ang="0">
                  <a:pos x="0" y="10"/>
                </a:cxn>
              </a:cxnLst>
              <a:rect l="0" t="0" r="r" b="b"/>
              <a:pathLst>
                <a:path w="234" h="195">
                  <a:moveTo>
                    <a:pt x="0" y="10"/>
                  </a:moveTo>
                  <a:lnTo>
                    <a:pt x="10" y="29"/>
                  </a:lnTo>
                  <a:lnTo>
                    <a:pt x="10" y="39"/>
                  </a:lnTo>
                  <a:lnTo>
                    <a:pt x="0" y="58"/>
                  </a:lnTo>
                  <a:lnTo>
                    <a:pt x="10" y="68"/>
                  </a:lnTo>
                  <a:lnTo>
                    <a:pt x="20" y="68"/>
                  </a:lnTo>
                  <a:lnTo>
                    <a:pt x="39" y="78"/>
                  </a:lnTo>
                  <a:lnTo>
                    <a:pt x="4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59" y="136"/>
                  </a:lnTo>
                  <a:lnTo>
                    <a:pt x="78" y="156"/>
                  </a:lnTo>
                  <a:lnTo>
                    <a:pt x="88" y="175"/>
                  </a:lnTo>
                  <a:lnTo>
                    <a:pt x="107" y="185"/>
                  </a:lnTo>
                  <a:lnTo>
                    <a:pt x="127" y="195"/>
                  </a:lnTo>
                  <a:lnTo>
                    <a:pt x="137" y="195"/>
                  </a:lnTo>
                  <a:lnTo>
                    <a:pt x="137" y="175"/>
                  </a:lnTo>
                  <a:lnTo>
                    <a:pt x="146" y="175"/>
                  </a:lnTo>
                  <a:lnTo>
                    <a:pt x="166" y="185"/>
                  </a:lnTo>
                  <a:lnTo>
                    <a:pt x="185" y="195"/>
                  </a:lnTo>
                  <a:lnTo>
                    <a:pt x="195" y="195"/>
                  </a:lnTo>
                  <a:lnTo>
                    <a:pt x="205" y="175"/>
                  </a:lnTo>
                  <a:lnTo>
                    <a:pt x="215" y="185"/>
                  </a:lnTo>
                  <a:lnTo>
                    <a:pt x="224" y="175"/>
                  </a:lnTo>
                  <a:lnTo>
                    <a:pt x="234" y="175"/>
                  </a:lnTo>
                  <a:lnTo>
                    <a:pt x="234" y="146"/>
                  </a:lnTo>
                  <a:lnTo>
                    <a:pt x="224" y="156"/>
                  </a:lnTo>
                  <a:lnTo>
                    <a:pt x="215" y="146"/>
                  </a:lnTo>
                  <a:lnTo>
                    <a:pt x="195" y="136"/>
                  </a:lnTo>
                  <a:lnTo>
                    <a:pt x="205" y="127"/>
                  </a:lnTo>
                  <a:lnTo>
                    <a:pt x="215" y="117"/>
                  </a:lnTo>
                  <a:lnTo>
                    <a:pt x="215" y="97"/>
                  </a:lnTo>
                  <a:lnTo>
                    <a:pt x="205" y="97"/>
                  </a:lnTo>
                  <a:lnTo>
                    <a:pt x="185" y="88"/>
                  </a:lnTo>
                  <a:lnTo>
                    <a:pt x="176" y="68"/>
                  </a:lnTo>
                  <a:lnTo>
                    <a:pt x="176" y="58"/>
                  </a:lnTo>
                  <a:lnTo>
                    <a:pt x="156" y="58"/>
                  </a:lnTo>
                  <a:lnTo>
                    <a:pt x="146" y="68"/>
                  </a:lnTo>
                  <a:lnTo>
                    <a:pt x="137" y="68"/>
                  </a:lnTo>
                  <a:lnTo>
                    <a:pt x="127" y="49"/>
                  </a:lnTo>
                  <a:lnTo>
                    <a:pt x="98" y="29"/>
                  </a:lnTo>
                  <a:lnTo>
                    <a:pt x="98" y="19"/>
                  </a:lnTo>
                  <a:lnTo>
                    <a:pt x="88" y="29"/>
                  </a:lnTo>
                  <a:lnTo>
                    <a:pt x="78" y="29"/>
                  </a:lnTo>
                  <a:lnTo>
                    <a:pt x="88" y="10"/>
                  </a:lnTo>
                  <a:lnTo>
                    <a:pt x="59" y="10"/>
                  </a:lnTo>
                  <a:lnTo>
                    <a:pt x="49" y="0"/>
                  </a:lnTo>
                  <a:lnTo>
                    <a:pt x="39" y="10"/>
                  </a:lnTo>
                  <a:lnTo>
                    <a:pt x="29" y="10"/>
                  </a:lnTo>
                  <a:lnTo>
                    <a:pt x="1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184"/>
            <p:cNvSpPr>
              <a:spLocks/>
            </p:cNvSpPr>
            <p:nvPr/>
          </p:nvSpPr>
          <p:spPr bwMode="auto">
            <a:xfrm>
              <a:off x="1836" y="1815"/>
              <a:ext cx="220" cy="291"/>
            </a:xfrm>
            <a:custGeom>
              <a:avLst/>
              <a:gdLst/>
              <a:ahLst/>
              <a:cxnLst>
                <a:cxn ang="0">
                  <a:pos x="10" y="195"/>
                </a:cxn>
                <a:cxn ang="0">
                  <a:pos x="19" y="205"/>
                </a:cxn>
                <a:cxn ang="0">
                  <a:pos x="19" y="224"/>
                </a:cxn>
                <a:cxn ang="0">
                  <a:pos x="29" y="224"/>
                </a:cxn>
                <a:cxn ang="0">
                  <a:pos x="39" y="234"/>
                </a:cxn>
                <a:cxn ang="0">
                  <a:pos x="39" y="244"/>
                </a:cxn>
                <a:cxn ang="0">
                  <a:pos x="49" y="253"/>
                </a:cxn>
                <a:cxn ang="0">
                  <a:pos x="58" y="273"/>
                </a:cxn>
                <a:cxn ang="0">
                  <a:pos x="58" y="292"/>
                </a:cxn>
                <a:cxn ang="0">
                  <a:pos x="88" y="283"/>
                </a:cxn>
                <a:cxn ang="0">
                  <a:pos x="107" y="273"/>
                </a:cxn>
                <a:cxn ang="0">
                  <a:pos x="127" y="273"/>
                </a:cxn>
                <a:cxn ang="0">
                  <a:pos x="146" y="273"/>
                </a:cxn>
                <a:cxn ang="0">
                  <a:pos x="156" y="253"/>
                </a:cxn>
                <a:cxn ang="0">
                  <a:pos x="166" y="253"/>
                </a:cxn>
                <a:cxn ang="0">
                  <a:pos x="195" y="263"/>
                </a:cxn>
                <a:cxn ang="0">
                  <a:pos x="205" y="253"/>
                </a:cxn>
                <a:cxn ang="0">
                  <a:pos x="205" y="244"/>
                </a:cxn>
                <a:cxn ang="0">
                  <a:pos x="224" y="234"/>
                </a:cxn>
                <a:cxn ang="0">
                  <a:pos x="214" y="224"/>
                </a:cxn>
                <a:cxn ang="0">
                  <a:pos x="195" y="214"/>
                </a:cxn>
                <a:cxn ang="0">
                  <a:pos x="175" y="195"/>
                </a:cxn>
                <a:cxn ang="0">
                  <a:pos x="156" y="175"/>
                </a:cxn>
                <a:cxn ang="0">
                  <a:pos x="156" y="146"/>
                </a:cxn>
                <a:cxn ang="0">
                  <a:pos x="136" y="146"/>
                </a:cxn>
                <a:cxn ang="0">
                  <a:pos x="146" y="127"/>
                </a:cxn>
                <a:cxn ang="0">
                  <a:pos x="136" y="117"/>
                </a:cxn>
                <a:cxn ang="0">
                  <a:pos x="127" y="107"/>
                </a:cxn>
                <a:cxn ang="0">
                  <a:pos x="107" y="107"/>
                </a:cxn>
                <a:cxn ang="0">
                  <a:pos x="107" y="97"/>
                </a:cxn>
                <a:cxn ang="0">
                  <a:pos x="117" y="78"/>
                </a:cxn>
                <a:cxn ang="0">
                  <a:pos x="117" y="68"/>
                </a:cxn>
                <a:cxn ang="0">
                  <a:pos x="107" y="49"/>
                </a:cxn>
                <a:cxn ang="0">
                  <a:pos x="88" y="49"/>
                </a:cxn>
                <a:cxn ang="0">
                  <a:pos x="58" y="19"/>
                </a:cxn>
                <a:cxn ang="0">
                  <a:pos x="58" y="10"/>
                </a:cxn>
                <a:cxn ang="0">
                  <a:pos x="58" y="0"/>
                </a:cxn>
                <a:cxn ang="0">
                  <a:pos x="39" y="19"/>
                </a:cxn>
                <a:cxn ang="0">
                  <a:pos x="10" y="49"/>
                </a:cxn>
                <a:cxn ang="0">
                  <a:pos x="0" y="68"/>
                </a:cxn>
                <a:cxn ang="0">
                  <a:pos x="19" y="78"/>
                </a:cxn>
                <a:cxn ang="0">
                  <a:pos x="19" y="97"/>
                </a:cxn>
                <a:cxn ang="0">
                  <a:pos x="19" y="117"/>
                </a:cxn>
                <a:cxn ang="0">
                  <a:pos x="39" y="136"/>
                </a:cxn>
                <a:cxn ang="0">
                  <a:pos x="29" y="146"/>
                </a:cxn>
                <a:cxn ang="0">
                  <a:pos x="29" y="156"/>
                </a:cxn>
                <a:cxn ang="0">
                  <a:pos x="29" y="175"/>
                </a:cxn>
                <a:cxn ang="0">
                  <a:pos x="29" y="185"/>
                </a:cxn>
                <a:cxn ang="0">
                  <a:pos x="10" y="185"/>
                </a:cxn>
                <a:cxn ang="0">
                  <a:pos x="10" y="195"/>
                </a:cxn>
              </a:cxnLst>
              <a:rect l="0" t="0" r="r" b="b"/>
              <a:pathLst>
                <a:path w="224" h="292">
                  <a:moveTo>
                    <a:pt x="10" y="195"/>
                  </a:moveTo>
                  <a:lnTo>
                    <a:pt x="19" y="205"/>
                  </a:lnTo>
                  <a:lnTo>
                    <a:pt x="19" y="224"/>
                  </a:lnTo>
                  <a:lnTo>
                    <a:pt x="29" y="224"/>
                  </a:lnTo>
                  <a:lnTo>
                    <a:pt x="39" y="234"/>
                  </a:lnTo>
                  <a:lnTo>
                    <a:pt x="39" y="244"/>
                  </a:lnTo>
                  <a:lnTo>
                    <a:pt x="49" y="253"/>
                  </a:lnTo>
                  <a:lnTo>
                    <a:pt x="58" y="273"/>
                  </a:lnTo>
                  <a:lnTo>
                    <a:pt x="58" y="292"/>
                  </a:lnTo>
                  <a:lnTo>
                    <a:pt x="88" y="283"/>
                  </a:lnTo>
                  <a:lnTo>
                    <a:pt x="107" y="27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53"/>
                  </a:lnTo>
                  <a:lnTo>
                    <a:pt x="166" y="253"/>
                  </a:lnTo>
                  <a:lnTo>
                    <a:pt x="195" y="263"/>
                  </a:lnTo>
                  <a:lnTo>
                    <a:pt x="205" y="253"/>
                  </a:lnTo>
                  <a:lnTo>
                    <a:pt x="205" y="244"/>
                  </a:lnTo>
                  <a:lnTo>
                    <a:pt x="224" y="234"/>
                  </a:lnTo>
                  <a:lnTo>
                    <a:pt x="214" y="224"/>
                  </a:lnTo>
                  <a:lnTo>
                    <a:pt x="195" y="214"/>
                  </a:lnTo>
                  <a:lnTo>
                    <a:pt x="175" y="195"/>
                  </a:lnTo>
                  <a:lnTo>
                    <a:pt x="156" y="175"/>
                  </a:lnTo>
                  <a:lnTo>
                    <a:pt x="156" y="146"/>
                  </a:lnTo>
                  <a:lnTo>
                    <a:pt x="136" y="146"/>
                  </a:lnTo>
                  <a:lnTo>
                    <a:pt x="146" y="127"/>
                  </a:lnTo>
                  <a:lnTo>
                    <a:pt x="136" y="117"/>
                  </a:lnTo>
                  <a:lnTo>
                    <a:pt x="127" y="107"/>
                  </a:lnTo>
                  <a:lnTo>
                    <a:pt x="107" y="107"/>
                  </a:lnTo>
                  <a:lnTo>
                    <a:pt x="107" y="97"/>
                  </a:lnTo>
                  <a:lnTo>
                    <a:pt x="117" y="78"/>
                  </a:lnTo>
                  <a:lnTo>
                    <a:pt x="117" y="68"/>
                  </a:lnTo>
                  <a:lnTo>
                    <a:pt x="107" y="49"/>
                  </a:lnTo>
                  <a:lnTo>
                    <a:pt x="88" y="49"/>
                  </a:lnTo>
                  <a:lnTo>
                    <a:pt x="58" y="19"/>
                  </a:lnTo>
                  <a:lnTo>
                    <a:pt x="58" y="10"/>
                  </a:lnTo>
                  <a:lnTo>
                    <a:pt x="58" y="0"/>
                  </a:lnTo>
                  <a:lnTo>
                    <a:pt x="39" y="19"/>
                  </a:lnTo>
                  <a:lnTo>
                    <a:pt x="10" y="49"/>
                  </a:lnTo>
                  <a:lnTo>
                    <a:pt x="0" y="68"/>
                  </a:lnTo>
                  <a:lnTo>
                    <a:pt x="19" y="78"/>
                  </a:lnTo>
                  <a:lnTo>
                    <a:pt x="19" y="97"/>
                  </a:lnTo>
                  <a:lnTo>
                    <a:pt x="19" y="117"/>
                  </a:lnTo>
                  <a:lnTo>
                    <a:pt x="39" y="136"/>
                  </a:lnTo>
                  <a:lnTo>
                    <a:pt x="29" y="146"/>
                  </a:lnTo>
                  <a:lnTo>
                    <a:pt x="29" y="156"/>
                  </a:lnTo>
                  <a:lnTo>
                    <a:pt x="29" y="175"/>
                  </a:lnTo>
                  <a:lnTo>
                    <a:pt x="29" y="185"/>
                  </a:lnTo>
                  <a:lnTo>
                    <a:pt x="10" y="185"/>
                  </a:lnTo>
                  <a:lnTo>
                    <a:pt x="10" y="19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183"/>
            <p:cNvSpPr>
              <a:spLocks/>
            </p:cNvSpPr>
            <p:nvPr/>
          </p:nvSpPr>
          <p:spPr bwMode="auto">
            <a:xfrm>
              <a:off x="1892" y="2031"/>
              <a:ext cx="498" cy="273"/>
            </a:xfrm>
            <a:custGeom>
              <a:avLst/>
              <a:gdLst/>
              <a:ahLst/>
              <a:cxnLst>
                <a:cxn ang="0">
                  <a:pos x="10" y="108"/>
                </a:cxn>
                <a:cxn ang="0">
                  <a:pos x="0" y="78"/>
                </a:cxn>
                <a:cxn ang="0">
                  <a:pos x="49" y="59"/>
                </a:cxn>
                <a:cxn ang="0">
                  <a:pos x="88" y="59"/>
                </a:cxn>
                <a:cxn ang="0">
                  <a:pos x="117" y="39"/>
                </a:cxn>
                <a:cxn ang="0">
                  <a:pos x="147" y="39"/>
                </a:cxn>
                <a:cxn ang="0">
                  <a:pos x="176" y="20"/>
                </a:cxn>
                <a:cxn ang="0">
                  <a:pos x="186" y="0"/>
                </a:cxn>
                <a:cxn ang="0">
                  <a:pos x="215" y="10"/>
                </a:cxn>
                <a:cxn ang="0">
                  <a:pos x="254" y="20"/>
                </a:cxn>
                <a:cxn ang="0">
                  <a:pos x="264" y="10"/>
                </a:cxn>
                <a:cxn ang="0">
                  <a:pos x="293" y="0"/>
                </a:cxn>
                <a:cxn ang="0">
                  <a:pos x="312" y="20"/>
                </a:cxn>
                <a:cxn ang="0">
                  <a:pos x="381" y="0"/>
                </a:cxn>
                <a:cxn ang="0">
                  <a:pos x="410" y="0"/>
                </a:cxn>
                <a:cxn ang="0">
                  <a:pos x="429" y="30"/>
                </a:cxn>
                <a:cxn ang="0">
                  <a:pos x="459" y="49"/>
                </a:cxn>
                <a:cxn ang="0">
                  <a:pos x="488" y="88"/>
                </a:cxn>
                <a:cxn ang="0">
                  <a:pos x="498" y="117"/>
                </a:cxn>
                <a:cxn ang="0">
                  <a:pos x="459" y="137"/>
                </a:cxn>
                <a:cxn ang="0">
                  <a:pos x="429" y="117"/>
                </a:cxn>
                <a:cxn ang="0">
                  <a:pos x="410" y="127"/>
                </a:cxn>
                <a:cxn ang="0">
                  <a:pos x="400" y="147"/>
                </a:cxn>
                <a:cxn ang="0">
                  <a:pos x="351" y="137"/>
                </a:cxn>
                <a:cxn ang="0">
                  <a:pos x="332" y="147"/>
                </a:cxn>
                <a:cxn ang="0">
                  <a:pos x="312" y="157"/>
                </a:cxn>
                <a:cxn ang="0">
                  <a:pos x="283" y="157"/>
                </a:cxn>
                <a:cxn ang="0">
                  <a:pos x="293" y="176"/>
                </a:cxn>
                <a:cxn ang="0">
                  <a:pos x="273" y="196"/>
                </a:cxn>
                <a:cxn ang="0">
                  <a:pos x="264" y="205"/>
                </a:cxn>
                <a:cxn ang="0">
                  <a:pos x="234" y="225"/>
                </a:cxn>
                <a:cxn ang="0">
                  <a:pos x="234" y="264"/>
                </a:cxn>
                <a:cxn ang="0">
                  <a:pos x="215" y="274"/>
                </a:cxn>
                <a:cxn ang="0">
                  <a:pos x="195" y="274"/>
                </a:cxn>
                <a:cxn ang="0">
                  <a:pos x="176" y="264"/>
                </a:cxn>
                <a:cxn ang="0">
                  <a:pos x="166" y="244"/>
                </a:cxn>
                <a:cxn ang="0">
                  <a:pos x="108" y="254"/>
                </a:cxn>
                <a:cxn ang="0">
                  <a:pos x="98" y="274"/>
                </a:cxn>
                <a:cxn ang="0">
                  <a:pos x="78" y="254"/>
                </a:cxn>
                <a:cxn ang="0">
                  <a:pos x="59" y="244"/>
                </a:cxn>
                <a:cxn ang="0">
                  <a:pos x="69" y="215"/>
                </a:cxn>
                <a:cxn ang="0">
                  <a:pos x="59" y="186"/>
                </a:cxn>
                <a:cxn ang="0">
                  <a:pos x="49" y="157"/>
                </a:cxn>
                <a:cxn ang="0">
                  <a:pos x="20" y="137"/>
                </a:cxn>
              </a:cxnLst>
              <a:rect l="0" t="0" r="r" b="b"/>
              <a:pathLst>
                <a:path w="498" h="274">
                  <a:moveTo>
                    <a:pt x="10" y="127"/>
                  </a:moveTo>
                  <a:lnTo>
                    <a:pt x="10" y="108"/>
                  </a:lnTo>
                  <a:lnTo>
                    <a:pt x="0" y="98"/>
                  </a:lnTo>
                  <a:lnTo>
                    <a:pt x="0" y="78"/>
                  </a:lnTo>
                  <a:lnTo>
                    <a:pt x="30" y="69"/>
                  </a:lnTo>
                  <a:lnTo>
                    <a:pt x="49" y="59"/>
                  </a:lnTo>
                  <a:lnTo>
                    <a:pt x="69" y="59"/>
                  </a:lnTo>
                  <a:lnTo>
                    <a:pt x="88" y="59"/>
                  </a:lnTo>
                  <a:lnTo>
                    <a:pt x="108" y="39"/>
                  </a:lnTo>
                  <a:lnTo>
                    <a:pt x="117" y="39"/>
                  </a:lnTo>
                  <a:lnTo>
                    <a:pt x="137" y="49"/>
                  </a:lnTo>
                  <a:lnTo>
                    <a:pt x="147" y="39"/>
                  </a:lnTo>
                  <a:lnTo>
                    <a:pt x="147" y="30"/>
                  </a:lnTo>
                  <a:lnTo>
                    <a:pt x="176" y="20"/>
                  </a:lnTo>
                  <a:lnTo>
                    <a:pt x="186" y="20"/>
                  </a:lnTo>
                  <a:lnTo>
                    <a:pt x="186" y="0"/>
                  </a:lnTo>
                  <a:lnTo>
                    <a:pt x="205" y="0"/>
                  </a:lnTo>
                  <a:lnTo>
                    <a:pt x="215" y="10"/>
                  </a:lnTo>
                  <a:lnTo>
                    <a:pt x="234" y="20"/>
                  </a:lnTo>
                  <a:lnTo>
                    <a:pt x="254" y="20"/>
                  </a:lnTo>
                  <a:lnTo>
                    <a:pt x="254" y="0"/>
                  </a:lnTo>
                  <a:lnTo>
                    <a:pt x="264" y="10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293" y="10"/>
                  </a:lnTo>
                  <a:lnTo>
                    <a:pt x="312" y="20"/>
                  </a:lnTo>
                  <a:lnTo>
                    <a:pt x="361" y="20"/>
                  </a:lnTo>
                  <a:lnTo>
                    <a:pt x="381" y="0"/>
                  </a:lnTo>
                  <a:lnTo>
                    <a:pt x="390" y="0"/>
                  </a:lnTo>
                  <a:lnTo>
                    <a:pt x="410" y="0"/>
                  </a:lnTo>
                  <a:lnTo>
                    <a:pt x="410" y="20"/>
                  </a:lnTo>
                  <a:lnTo>
                    <a:pt x="429" y="30"/>
                  </a:lnTo>
                  <a:lnTo>
                    <a:pt x="449" y="39"/>
                  </a:lnTo>
                  <a:lnTo>
                    <a:pt x="459" y="49"/>
                  </a:lnTo>
                  <a:lnTo>
                    <a:pt x="469" y="69"/>
                  </a:lnTo>
                  <a:lnTo>
                    <a:pt x="488" y="88"/>
                  </a:lnTo>
                  <a:lnTo>
                    <a:pt x="498" y="98"/>
                  </a:lnTo>
                  <a:lnTo>
                    <a:pt x="498" y="117"/>
                  </a:lnTo>
                  <a:lnTo>
                    <a:pt x="478" y="127"/>
                  </a:lnTo>
                  <a:lnTo>
                    <a:pt x="459" y="137"/>
                  </a:lnTo>
                  <a:lnTo>
                    <a:pt x="449" y="127"/>
                  </a:lnTo>
                  <a:lnTo>
                    <a:pt x="429" y="117"/>
                  </a:lnTo>
                  <a:lnTo>
                    <a:pt x="420" y="117"/>
                  </a:lnTo>
                  <a:lnTo>
                    <a:pt x="410" y="127"/>
                  </a:lnTo>
                  <a:lnTo>
                    <a:pt x="410" y="137"/>
                  </a:lnTo>
                  <a:lnTo>
                    <a:pt x="400" y="147"/>
                  </a:lnTo>
                  <a:lnTo>
                    <a:pt x="381" y="166"/>
                  </a:lnTo>
                  <a:lnTo>
                    <a:pt x="351" y="137"/>
                  </a:lnTo>
                  <a:lnTo>
                    <a:pt x="342" y="137"/>
                  </a:lnTo>
                  <a:lnTo>
                    <a:pt x="332" y="147"/>
                  </a:lnTo>
                  <a:lnTo>
                    <a:pt x="312" y="147"/>
                  </a:lnTo>
                  <a:lnTo>
                    <a:pt x="312" y="157"/>
                  </a:lnTo>
                  <a:lnTo>
                    <a:pt x="293" y="137"/>
                  </a:lnTo>
                  <a:lnTo>
                    <a:pt x="283" y="157"/>
                  </a:lnTo>
                  <a:lnTo>
                    <a:pt x="293" y="166"/>
                  </a:lnTo>
                  <a:lnTo>
                    <a:pt x="293" y="176"/>
                  </a:lnTo>
                  <a:lnTo>
                    <a:pt x="283" y="176"/>
                  </a:lnTo>
                  <a:lnTo>
                    <a:pt x="273" y="196"/>
                  </a:lnTo>
                  <a:lnTo>
                    <a:pt x="273" y="205"/>
                  </a:lnTo>
                  <a:lnTo>
                    <a:pt x="264" y="205"/>
                  </a:lnTo>
                  <a:lnTo>
                    <a:pt x="254" y="225"/>
                  </a:lnTo>
                  <a:lnTo>
                    <a:pt x="234" y="225"/>
                  </a:lnTo>
                  <a:lnTo>
                    <a:pt x="234" y="235"/>
                  </a:lnTo>
                  <a:lnTo>
                    <a:pt x="234" y="264"/>
                  </a:lnTo>
                  <a:lnTo>
                    <a:pt x="215" y="27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76" y="274"/>
                  </a:lnTo>
                  <a:lnTo>
                    <a:pt x="176" y="264"/>
                  </a:lnTo>
                  <a:lnTo>
                    <a:pt x="176" y="254"/>
                  </a:lnTo>
                  <a:lnTo>
                    <a:pt x="166" y="244"/>
                  </a:lnTo>
                  <a:lnTo>
                    <a:pt x="137" y="264"/>
                  </a:lnTo>
                  <a:lnTo>
                    <a:pt x="108" y="254"/>
                  </a:lnTo>
                  <a:lnTo>
                    <a:pt x="108" y="264"/>
                  </a:lnTo>
                  <a:lnTo>
                    <a:pt x="98" y="274"/>
                  </a:lnTo>
                  <a:lnTo>
                    <a:pt x="88" y="274"/>
                  </a:lnTo>
                  <a:lnTo>
                    <a:pt x="78" y="254"/>
                  </a:lnTo>
                  <a:lnTo>
                    <a:pt x="78" y="244"/>
                  </a:lnTo>
                  <a:lnTo>
                    <a:pt x="59" y="244"/>
                  </a:lnTo>
                  <a:lnTo>
                    <a:pt x="59" y="225"/>
                  </a:lnTo>
                  <a:lnTo>
                    <a:pt x="69" y="215"/>
                  </a:lnTo>
                  <a:lnTo>
                    <a:pt x="69" y="196"/>
                  </a:lnTo>
                  <a:lnTo>
                    <a:pt x="59" y="186"/>
                  </a:lnTo>
                  <a:lnTo>
                    <a:pt x="59" y="166"/>
                  </a:lnTo>
                  <a:lnTo>
                    <a:pt x="49" y="157"/>
                  </a:lnTo>
                  <a:lnTo>
                    <a:pt x="39" y="147"/>
                  </a:lnTo>
                  <a:lnTo>
                    <a:pt x="20" y="137"/>
                  </a:lnTo>
                  <a:lnTo>
                    <a:pt x="10" y="12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1" name="Freeform 182"/>
            <p:cNvSpPr>
              <a:spLocks/>
            </p:cNvSpPr>
            <p:nvPr/>
          </p:nvSpPr>
          <p:spPr bwMode="auto">
            <a:xfrm>
              <a:off x="2168" y="2167"/>
              <a:ext cx="254" cy="207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0" y="59"/>
                </a:cxn>
                <a:cxn ang="0">
                  <a:pos x="0" y="39"/>
                </a:cxn>
                <a:cxn ang="0">
                  <a:pos x="10" y="39"/>
                </a:cxn>
                <a:cxn ang="0">
                  <a:pos x="20" y="29"/>
                </a:cxn>
                <a:cxn ang="0">
                  <a:pos x="10" y="20"/>
                </a:cxn>
                <a:cxn ang="0">
                  <a:pos x="20" y="10"/>
                </a:cxn>
                <a:cxn ang="0">
                  <a:pos x="39" y="20"/>
                </a:cxn>
                <a:cxn ang="0">
                  <a:pos x="39" y="10"/>
                </a:cxn>
                <a:cxn ang="0">
                  <a:pos x="49" y="10"/>
                </a:cxn>
                <a:cxn ang="0">
                  <a:pos x="69" y="0"/>
                </a:cxn>
                <a:cxn ang="0">
                  <a:pos x="78" y="10"/>
                </a:cxn>
                <a:cxn ang="0">
                  <a:pos x="108" y="29"/>
                </a:cxn>
                <a:cxn ang="0">
                  <a:pos x="117" y="29"/>
                </a:cxn>
                <a:cxn ang="0">
                  <a:pos x="117" y="39"/>
                </a:cxn>
                <a:cxn ang="0">
                  <a:pos x="117" y="49"/>
                </a:cxn>
                <a:cxn ang="0">
                  <a:pos x="117" y="59"/>
                </a:cxn>
                <a:cxn ang="0">
                  <a:pos x="137" y="59"/>
                </a:cxn>
                <a:cxn ang="0">
                  <a:pos x="156" y="59"/>
                </a:cxn>
                <a:cxn ang="0">
                  <a:pos x="166" y="68"/>
                </a:cxn>
                <a:cxn ang="0">
                  <a:pos x="196" y="78"/>
                </a:cxn>
                <a:cxn ang="0">
                  <a:pos x="215" y="78"/>
                </a:cxn>
                <a:cxn ang="0">
                  <a:pos x="225" y="98"/>
                </a:cxn>
                <a:cxn ang="0">
                  <a:pos x="235" y="88"/>
                </a:cxn>
                <a:cxn ang="0">
                  <a:pos x="244" y="98"/>
                </a:cxn>
                <a:cxn ang="0">
                  <a:pos x="235" y="117"/>
                </a:cxn>
                <a:cxn ang="0">
                  <a:pos x="254" y="127"/>
                </a:cxn>
                <a:cxn ang="0">
                  <a:pos x="244" y="137"/>
                </a:cxn>
                <a:cxn ang="0">
                  <a:pos x="244" y="156"/>
                </a:cxn>
                <a:cxn ang="0">
                  <a:pos x="244" y="166"/>
                </a:cxn>
                <a:cxn ang="0">
                  <a:pos x="235" y="185"/>
                </a:cxn>
                <a:cxn ang="0">
                  <a:pos x="244" y="195"/>
                </a:cxn>
                <a:cxn ang="0">
                  <a:pos x="225" y="205"/>
                </a:cxn>
                <a:cxn ang="0">
                  <a:pos x="215" y="185"/>
                </a:cxn>
                <a:cxn ang="0">
                  <a:pos x="205" y="176"/>
                </a:cxn>
                <a:cxn ang="0">
                  <a:pos x="186" y="176"/>
                </a:cxn>
                <a:cxn ang="0">
                  <a:pos x="176" y="176"/>
                </a:cxn>
                <a:cxn ang="0">
                  <a:pos x="147" y="176"/>
                </a:cxn>
                <a:cxn ang="0">
                  <a:pos x="117" y="176"/>
                </a:cxn>
                <a:cxn ang="0">
                  <a:pos x="108" y="176"/>
                </a:cxn>
                <a:cxn ang="0">
                  <a:pos x="88" y="176"/>
                </a:cxn>
                <a:cxn ang="0">
                  <a:pos x="78" y="156"/>
                </a:cxn>
                <a:cxn ang="0">
                  <a:pos x="88" y="137"/>
                </a:cxn>
                <a:cxn ang="0">
                  <a:pos x="69" y="127"/>
                </a:cxn>
                <a:cxn ang="0">
                  <a:pos x="59" y="117"/>
                </a:cxn>
                <a:cxn ang="0">
                  <a:pos x="69" y="107"/>
                </a:cxn>
                <a:cxn ang="0">
                  <a:pos x="69" y="88"/>
                </a:cxn>
                <a:cxn ang="0">
                  <a:pos x="59" y="88"/>
                </a:cxn>
                <a:cxn ang="0">
                  <a:pos x="49" y="88"/>
                </a:cxn>
                <a:cxn ang="0">
                  <a:pos x="20" y="78"/>
                </a:cxn>
                <a:cxn ang="0">
                  <a:pos x="0" y="68"/>
                </a:cxn>
              </a:cxnLst>
              <a:rect l="0" t="0" r="r" b="b"/>
              <a:pathLst>
                <a:path w="254" h="205">
                  <a:moveTo>
                    <a:pt x="0" y="68"/>
                  </a:moveTo>
                  <a:lnTo>
                    <a:pt x="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29"/>
                  </a:lnTo>
                  <a:lnTo>
                    <a:pt x="10" y="20"/>
                  </a:lnTo>
                  <a:lnTo>
                    <a:pt x="20" y="10"/>
                  </a:lnTo>
                  <a:lnTo>
                    <a:pt x="39" y="20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17" y="39"/>
                  </a:lnTo>
                  <a:lnTo>
                    <a:pt x="117" y="49"/>
                  </a:lnTo>
                  <a:lnTo>
                    <a:pt x="117" y="59"/>
                  </a:lnTo>
                  <a:lnTo>
                    <a:pt x="137" y="59"/>
                  </a:lnTo>
                  <a:lnTo>
                    <a:pt x="156" y="59"/>
                  </a:lnTo>
                  <a:lnTo>
                    <a:pt x="166" y="68"/>
                  </a:lnTo>
                  <a:lnTo>
                    <a:pt x="196" y="78"/>
                  </a:lnTo>
                  <a:lnTo>
                    <a:pt x="215" y="78"/>
                  </a:lnTo>
                  <a:lnTo>
                    <a:pt x="225" y="98"/>
                  </a:lnTo>
                  <a:lnTo>
                    <a:pt x="235" y="88"/>
                  </a:lnTo>
                  <a:lnTo>
                    <a:pt x="244" y="98"/>
                  </a:lnTo>
                  <a:lnTo>
                    <a:pt x="235" y="117"/>
                  </a:lnTo>
                  <a:lnTo>
                    <a:pt x="254" y="127"/>
                  </a:lnTo>
                  <a:lnTo>
                    <a:pt x="244" y="137"/>
                  </a:lnTo>
                  <a:lnTo>
                    <a:pt x="244" y="156"/>
                  </a:lnTo>
                  <a:lnTo>
                    <a:pt x="244" y="166"/>
                  </a:lnTo>
                  <a:lnTo>
                    <a:pt x="235" y="185"/>
                  </a:lnTo>
                  <a:lnTo>
                    <a:pt x="244" y="195"/>
                  </a:lnTo>
                  <a:lnTo>
                    <a:pt x="225" y="205"/>
                  </a:lnTo>
                  <a:lnTo>
                    <a:pt x="215" y="185"/>
                  </a:lnTo>
                  <a:lnTo>
                    <a:pt x="205" y="176"/>
                  </a:lnTo>
                  <a:lnTo>
                    <a:pt x="186" y="176"/>
                  </a:lnTo>
                  <a:lnTo>
                    <a:pt x="176" y="176"/>
                  </a:lnTo>
                  <a:lnTo>
                    <a:pt x="147" y="176"/>
                  </a:lnTo>
                  <a:lnTo>
                    <a:pt x="117" y="176"/>
                  </a:lnTo>
                  <a:lnTo>
                    <a:pt x="108" y="176"/>
                  </a:lnTo>
                  <a:lnTo>
                    <a:pt x="88" y="176"/>
                  </a:lnTo>
                  <a:lnTo>
                    <a:pt x="78" y="156"/>
                  </a:lnTo>
                  <a:lnTo>
                    <a:pt x="88" y="137"/>
                  </a:lnTo>
                  <a:lnTo>
                    <a:pt x="69" y="127"/>
                  </a:lnTo>
                  <a:lnTo>
                    <a:pt x="59" y="117"/>
                  </a:lnTo>
                  <a:lnTo>
                    <a:pt x="69" y="107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49" y="88"/>
                  </a:lnTo>
                  <a:lnTo>
                    <a:pt x="20" y="78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2" name="Freeform 181"/>
            <p:cNvSpPr>
              <a:spLocks/>
            </p:cNvSpPr>
            <p:nvPr/>
          </p:nvSpPr>
          <p:spPr bwMode="auto">
            <a:xfrm>
              <a:off x="2606" y="633"/>
              <a:ext cx="421" cy="595"/>
            </a:xfrm>
            <a:custGeom>
              <a:avLst/>
              <a:gdLst/>
              <a:ahLst/>
              <a:cxnLst>
                <a:cxn ang="0">
                  <a:pos x="30" y="137"/>
                </a:cxn>
                <a:cxn ang="0">
                  <a:pos x="117" y="137"/>
                </a:cxn>
                <a:cxn ang="0">
                  <a:pos x="147" y="98"/>
                </a:cxn>
                <a:cxn ang="0">
                  <a:pos x="147" y="49"/>
                </a:cxn>
                <a:cxn ang="0">
                  <a:pos x="215" y="20"/>
                </a:cxn>
                <a:cxn ang="0">
                  <a:pos x="254" y="10"/>
                </a:cxn>
                <a:cxn ang="0">
                  <a:pos x="313" y="29"/>
                </a:cxn>
                <a:cxn ang="0">
                  <a:pos x="322" y="49"/>
                </a:cxn>
                <a:cxn ang="0">
                  <a:pos x="361" y="49"/>
                </a:cxn>
                <a:cxn ang="0">
                  <a:pos x="381" y="68"/>
                </a:cxn>
                <a:cxn ang="0">
                  <a:pos x="400" y="78"/>
                </a:cxn>
                <a:cxn ang="0">
                  <a:pos x="391" y="127"/>
                </a:cxn>
                <a:cxn ang="0">
                  <a:pos x="381" y="98"/>
                </a:cxn>
                <a:cxn ang="0">
                  <a:pos x="371" y="108"/>
                </a:cxn>
                <a:cxn ang="0">
                  <a:pos x="371" y="137"/>
                </a:cxn>
                <a:cxn ang="0">
                  <a:pos x="381" y="147"/>
                </a:cxn>
                <a:cxn ang="0">
                  <a:pos x="361" y="156"/>
                </a:cxn>
                <a:cxn ang="0">
                  <a:pos x="332" y="156"/>
                </a:cxn>
                <a:cxn ang="0">
                  <a:pos x="371" y="166"/>
                </a:cxn>
                <a:cxn ang="0">
                  <a:pos x="391" y="215"/>
                </a:cxn>
                <a:cxn ang="0">
                  <a:pos x="420" y="234"/>
                </a:cxn>
                <a:cxn ang="0">
                  <a:pos x="420" y="312"/>
                </a:cxn>
                <a:cxn ang="0">
                  <a:pos x="400" y="381"/>
                </a:cxn>
                <a:cxn ang="0">
                  <a:pos x="410" y="459"/>
                </a:cxn>
                <a:cxn ang="0">
                  <a:pos x="410" y="478"/>
                </a:cxn>
                <a:cxn ang="0">
                  <a:pos x="400" y="498"/>
                </a:cxn>
                <a:cxn ang="0">
                  <a:pos x="391" y="537"/>
                </a:cxn>
                <a:cxn ang="0">
                  <a:pos x="371" y="566"/>
                </a:cxn>
                <a:cxn ang="0">
                  <a:pos x="352" y="576"/>
                </a:cxn>
                <a:cxn ang="0">
                  <a:pos x="293" y="586"/>
                </a:cxn>
                <a:cxn ang="0">
                  <a:pos x="244" y="586"/>
                </a:cxn>
                <a:cxn ang="0">
                  <a:pos x="176" y="537"/>
                </a:cxn>
                <a:cxn ang="0">
                  <a:pos x="147" y="439"/>
                </a:cxn>
                <a:cxn ang="0">
                  <a:pos x="137" y="381"/>
                </a:cxn>
                <a:cxn ang="0">
                  <a:pos x="127" y="351"/>
                </a:cxn>
                <a:cxn ang="0">
                  <a:pos x="127" y="322"/>
                </a:cxn>
                <a:cxn ang="0">
                  <a:pos x="117" y="293"/>
                </a:cxn>
                <a:cxn ang="0">
                  <a:pos x="127" y="264"/>
                </a:cxn>
                <a:cxn ang="0">
                  <a:pos x="117" y="244"/>
                </a:cxn>
                <a:cxn ang="0">
                  <a:pos x="98" y="293"/>
                </a:cxn>
                <a:cxn ang="0">
                  <a:pos x="78" y="293"/>
                </a:cxn>
                <a:cxn ang="0">
                  <a:pos x="30" y="273"/>
                </a:cxn>
                <a:cxn ang="0">
                  <a:pos x="0" y="156"/>
                </a:cxn>
              </a:cxnLst>
              <a:rect l="0" t="0" r="r" b="b"/>
              <a:pathLst>
                <a:path w="420" h="595">
                  <a:moveTo>
                    <a:pt x="0" y="156"/>
                  </a:moveTo>
                  <a:lnTo>
                    <a:pt x="10" y="147"/>
                  </a:lnTo>
                  <a:lnTo>
                    <a:pt x="30" y="137"/>
                  </a:lnTo>
                  <a:lnTo>
                    <a:pt x="39" y="137"/>
                  </a:lnTo>
                  <a:lnTo>
                    <a:pt x="88" y="137"/>
                  </a:lnTo>
                  <a:lnTo>
                    <a:pt x="117" y="137"/>
                  </a:lnTo>
                  <a:lnTo>
                    <a:pt x="117" y="127"/>
                  </a:lnTo>
                  <a:lnTo>
                    <a:pt x="127" y="117"/>
                  </a:lnTo>
                  <a:lnTo>
                    <a:pt x="147" y="98"/>
                  </a:lnTo>
                  <a:lnTo>
                    <a:pt x="147" y="88"/>
                  </a:lnTo>
                  <a:lnTo>
                    <a:pt x="147" y="59"/>
                  </a:lnTo>
                  <a:lnTo>
                    <a:pt x="147" y="49"/>
                  </a:lnTo>
                  <a:lnTo>
                    <a:pt x="176" y="29"/>
                  </a:lnTo>
                  <a:lnTo>
                    <a:pt x="186" y="20"/>
                  </a:lnTo>
                  <a:lnTo>
                    <a:pt x="215" y="20"/>
                  </a:lnTo>
                  <a:lnTo>
                    <a:pt x="215" y="10"/>
                  </a:lnTo>
                  <a:lnTo>
                    <a:pt x="225" y="0"/>
                  </a:lnTo>
                  <a:lnTo>
                    <a:pt x="254" y="10"/>
                  </a:lnTo>
                  <a:lnTo>
                    <a:pt x="264" y="20"/>
                  </a:lnTo>
                  <a:lnTo>
                    <a:pt x="273" y="20"/>
                  </a:lnTo>
                  <a:lnTo>
                    <a:pt x="313" y="29"/>
                  </a:lnTo>
                  <a:lnTo>
                    <a:pt x="322" y="29"/>
                  </a:lnTo>
                  <a:lnTo>
                    <a:pt x="332" y="39"/>
                  </a:lnTo>
                  <a:lnTo>
                    <a:pt x="322" y="49"/>
                  </a:lnTo>
                  <a:lnTo>
                    <a:pt x="332" y="59"/>
                  </a:lnTo>
                  <a:lnTo>
                    <a:pt x="342" y="49"/>
                  </a:lnTo>
                  <a:lnTo>
                    <a:pt x="361" y="49"/>
                  </a:lnTo>
                  <a:lnTo>
                    <a:pt x="361" y="68"/>
                  </a:lnTo>
                  <a:lnTo>
                    <a:pt x="371" y="78"/>
                  </a:lnTo>
                  <a:lnTo>
                    <a:pt x="381" y="68"/>
                  </a:lnTo>
                  <a:lnTo>
                    <a:pt x="391" y="78"/>
                  </a:lnTo>
                  <a:lnTo>
                    <a:pt x="400" y="68"/>
                  </a:lnTo>
                  <a:lnTo>
                    <a:pt x="400" y="78"/>
                  </a:lnTo>
                  <a:lnTo>
                    <a:pt x="400" y="98"/>
                  </a:lnTo>
                  <a:lnTo>
                    <a:pt x="400" y="108"/>
                  </a:lnTo>
                  <a:lnTo>
                    <a:pt x="391" y="127"/>
                  </a:lnTo>
                  <a:lnTo>
                    <a:pt x="391" y="117"/>
                  </a:lnTo>
                  <a:lnTo>
                    <a:pt x="381" y="108"/>
                  </a:lnTo>
                  <a:lnTo>
                    <a:pt x="381" y="98"/>
                  </a:lnTo>
                  <a:lnTo>
                    <a:pt x="381" y="88"/>
                  </a:lnTo>
                  <a:lnTo>
                    <a:pt x="371" y="88"/>
                  </a:lnTo>
                  <a:lnTo>
                    <a:pt x="371" y="108"/>
                  </a:lnTo>
                  <a:lnTo>
                    <a:pt x="361" y="117"/>
                  </a:lnTo>
                  <a:lnTo>
                    <a:pt x="361" y="127"/>
                  </a:lnTo>
                  <a:lnTo>
                    <a:pt x="371" y="137"/>
                  </a:lnTo>
                  <a:lnTo>
                    <a:pt x="361" y="137"/>
                  </a:lnTo>
                  <a:lnTo>
                    <a:pt x="371" y="147"/>
                  </a:lnTo>
                  <a:lnTo>
                    <a:pt x="381" y="147"/>
                  </a:lnTo>
                  <a:lnTo>
                    <a:pt x="381" y="156"/>
                  </a:lnTo>
                  <a:lnTo>
                    <a:pt x="371" y="156"/>
                  </a:lnTo>
                  <a:lnTo>
                    <a:pt x="361" y="156"/>
                  </a:lnTo>
                  <a:lnTo>
                    <a:pt x="342" y="156"/>
                  </a:lnTo>
                  <a:lnTo>
                    <a:pt x="332" y="156"/>
                  </a:lnTo>
                  <a:lnTo>
                    <a:pt x="342" y="166"/>
                  </a:lnTo>
                  <a:lnTo>
                    <a:pt x="361" y="176"/>
                  </a:lnTo>
                  <a:lnTo>
                    <a:pt x="371" y="166"/>
                  </a:lnTo>
                  <a:lnTo>
                    <a:pt x="381" y="176"/>
                  </a:lnTo>
                  <a:lnTo>
                    <a:pt x="391" y="195"/>
                  </a:lnTo>
                  <a:lnTo>
                    <a:pt x="391" y="215"/>
                  </a:lnTo>
                  <a:lnTo>
                    <a:pt x="400" y="225"/>
                  </a:lnTo>
                  <a:lnTo>
                    <a:pt x="410" y="225"/>
                  </a:lnTo>
                  <a:lnTo>
                    <a:pt x="420" y="234"/>
                  </a:lnTo>
                  <a:lnTo>
                    <a:pt x="420" y="254"/>
                  </a:lnTo>
                  <a:lnTo>
                    <a:pt x="420" y="283"/>
                  </a:lnTo>
                  <a:lnTo>
                    <a:pt x="420" y="312"/>
                  </a:lnTo>
                  <a:lnTo>
                    <a:pt x="420" y="342"/>
                  </a:lnTo>
                  <a:lnTo>
                    <a:pt x="410" y="361"/>
                  </a:lnTo>
                  <a:lnTo>
                    <a:pt x="400" y="381"/>
                  </a:lnTo>
                  <a:lnTo>
                    <a:pt x="410" y="400"/>
                  </a:lnTo>
                  <a:lnTo>
                    <a:pt x="410" y="429"/>
                  </a:lnTo>
                  <a:lnTo>
                    <a:pt x="410" y="459"/>
                  </a:lnTo>
                  <a:lnTo>
                    <a:pt x="420" y="459"/>
                  </a:lnTo>
                  <a:lnTo>
                    <a:pt x="420" y="469"/>
                  </a:lnTo>
                  <a:lnTo>
                    <a:pt x="410" y="478"/>
                  </a:lnTo>
                  <a:lnTo>
                    <a:pt x="410" y="488"/>
                  </a:lnTo>
                  <a:lnTo>
                    <a:pt x="400" y="498"/>
                  </a:lnTo>
                  <a:lnTo>
                    <a:pt x="410" y="508"/>
                  </a:lnTo>
                  <a:lnTo>
                    <a:pt x="410" y="527"/>
                  </a:lnTo>
                  <a:lnTo>
                    <a:pt x="391" y="537"/>
                  </a:lnTo>
                  <a:lnTo>
                    <a:pt x="391" y="547"/>
                  </a:lnTo>
                  <a:lnTo>
                    <a:pt x="391" y="556"/>
                  </a:lnTo>
                  <a:lnTo>
                    <a:pt x="371" y="566"/>
                  </a:lnTo>
                  <a:lnTo>
                    <a:pt x="371" y="576"/>
                  </a:lnTo>
                  <a:lnTo>
                    <a:pt x="361" y="576"/>
                  </a:lnTo>
                  <a:lnTo>
                    <a:pt x="352" y="576"/>
                  </a:lnTo>
                  <a:lnTo>
                    <a:pt x="332" y="586"/>
                  </a:lnTo>
                  <a:lnTo>
                    <a:pt x="313" y="586"/>
                  </a:lnTo>
                  <a:lnTo>
                    <a:pt x="293" y="586"/>
                  </a:lnTo>
                  <a:lnTo>
                    <a:pt x="273" y="595"/>
                  </a:lnTo>
                  <a:lnTo>
                    <a:pt x="254" y="586"/>
                  </a:lnTo>
                  <a:lnTo>
                    <a:pt x="244" y="586"/>
                  </a:lnTo>
                  <a:lnTo>
                    <a:pt x="225" y="576"/>
                  </a:lnTo>
                  <a:lnTo>
                    <a:pt x="205" y="576"/>
                  </a:lnTo>
                  <a:lnTo>
                    <a:pt x="176" y="537"/>
                  </a:lnTo>
                  <a:lnTo>
                    <a:pt x="176" y="517"/>
                  </a:lnTo>
                  <a:lnTo>
                    <a:pt x="156" y="469"/>
                  </a:lnTo>
                  <a:lnTo>
                    <a:pt x="147" y="439"/>
                  </a:lnTo>
                  <a:lnTo>
                    <a:pt x="137" y="410"/>
                  </a:lnTo>
                  <a:lnTo>
                    <a:pt x="137" y="390"/>
                  </a:lnTo>
                  <a:lnTo>
                    <a:pt x="137" y="381"/>
                  </a:lnTo>
                  <a:lnTo>
                    <a:pt x="117" y="371"/>
                  </a:lnTo>
                  <a:lnTo>
                    <a:pt x="127" y="361"/>
                  </a:lnTo>
                  <a:lnTo>
                    <a:pt x="127" y="351"/>
                  </a:lnTo>
                  <a:lnTo>
                    <a:pt x="127" y="342"/>
                  </a:lnTo>
                  <a:lnTo>
                    <a:pt x="117" y="332"/>
                  </a:lnTo>
                  <a:lnTo>
                    <a:pt x="127" y="322"/>
                  </a:lnTo>
                  <a:lnTo>
                    <a:pt x="108" y="322"/>
                  </a:lnTo>
                  <a:lnTo>
                    <a:pt x="108" y="303"/>
                  </a:lnTo>
                  <a:lnTo>
                    <a:pt x="117" y="293"/>
                  </a:lnTo>
                  <a:lnTo>
                    <a:pt x="117" y="283"/>
                  </a:lnTo>
                  <a:lnTo>
                    <a:pt x="127" y="273"/>
                  </a:lnTo>
                  <a:lnTo>
                    <a:pt x="127" y="264"/>
                  </a:lnTo>
                  <a:lnTo>
                    <a:pt x="127" y="254"/>
                  </a:lnTo>
                  <a:lnTo>
                    <a:pt x="117" y="244"/>
                  </a:lnTo>
                  <a:lnTo>
                    <a:pt x="117" y="264"/>
                  </a:lnTo>
                  <a:lnTo>
                    <a:pt x="108" y="273"/>
                  </a:lnTo>
                  <a:lnTo>
                    <a:pt x="98" y="293"/>
                  </a:lnTo>
                  <a:lnTo>
                    <a:pt x="88" y="293"/>
                  </a:lnTo>
                  <a:lnTo>
                    <a:pt x="88" y="312"/>
                  </a:lnTo>
                  <a:lnTo>
                    <a:pt x="78" y="293"/>
                  </a:lnTo>
                  <a:lnTo>
                    <a:pt x="59" y="293"/>
                  </a:lnTo>
                  <a:lnTo>
                    <a:pt x="39" y="293"/>
                  </a:lnTo>
                  <a:lnTo>
                    <a:pt x="30" y="273"/>
                  </a:lnTo>
                  <a:lnTo>
                    <a:pt x="39" y="254"/>
                  </a:lnTo>
                  <a:lnTo>
                    <a:pt x="49" y="244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Freeform 180"/>
            <p:cNvSpPr>
              <a:spLocks/>
            </p:cNvSpPr>
            <p:nvPr/>
          </p:nvSpPr>
          <p:spPr bwMode="auto">
            <a:xfrm>
              <a:off x="2069" y="2235"/>
              <a:ext cx="184" cy="174"/>
            </a:xfrm>
            <a:custGeom>
              <a:avLst/>
              <a:gdLst/>
              <a:ahLst/>
              <a:cxnLst>
                <a:cxn ang="0">
                  <a:pos x="0" y="117"/>
                </a:cxn>
                <a:cxn ang="0">
                  <a:pos x="0" y="98"/>
                </a:cxn>
                <a:cxn ang="0">
                  <a:pos x="10" y="88"/>
                </a:cxn>
                <a:cxn ang="0">
                  <a:pos x="10" y="69"/>
                </a:cxn>
                <a:cxn ang="0">
                  <a:pos x="29" y="59"/>
                </a:cxn>
                <a:cxn ang="0">
                  <a:pos x="39" y="69"/>
                </a:cxn>
                <a:cxn ang="0">
                  <a:pos x="58" y="59"/>
                </a:cxn>
                <a:cxn ang="0">
                  <a:pos x="58" y="59"/>
                </a:cxn>
                <a:cxn ang="0">
                  <a:pos x="58" y="30"/>
                </a:cxn>
                <a:cxn ang="0">
                  <a:pos x="58" y="20"/>
                </a:cxn>
                <a:cxn ang="0">
                  <a:pos x="78" y="10"/>
                </a:cxn>
                <a:cxn ang="0">
                  <a:pos x="88" y="0"/>
                </a:cxn>
                <a:cxn ang="0">
                  <a:pos x="97" y="0"/>
                </a:cxn>
                <a:cxn ang="0">
                  <a:pos x="117" y="10"/>
                </a:cxn>
                <a:cxn ang="0">
                  <a:pos x="146" y="20"/>
                </a:cxn>
                <a:cxn ang="0">
                  <a:pos x="166" y="20"/>
                </a:cxn>
                <a:cxn ang="0">
                  <a:pos x="175" y="20"/>
                </a:cxn>
                <a:cxn ang="0">
                  <a:pos x="175" y="39"/>
                </a:cxn>
                <a:cxn ang="0">
                  <a:pos x="166" y="49"/>
                </a:cxn>
                <a:cxn ang="0">
                  <a:pos x="175" y="59"/>
                </a:cxn>
                <a:cxn ang="0">
                  <a:pos x="185" y="69"/>
                </a:cxn>
                <a:cxn ang="0">
                  <a:pos x="175" y="88"/>
                </a:cxn>
                <a:cxn ang="0">
                  <a:pos x="185" y="108"/>
                </a:cxn>
                <a:cxn ang="0">
                  <a:pos x="156" y="117"/>
                </a:cxn>
                <a:cxn ang="0">
                  <a:pos x="127" y="117"/>
                </a:cxn>
                <a:cxn ang="0">
                  <a:pos x="117" y="108"/>
                </a:cxn>
                <a:cxn ang="0">
                  <a:pos x="107" y="127"/>
                </a:cxn>
                <a:cxn ang="0">
                  <a:pos x="117" y="127"/>
                </a:cxn>
                <a:cxn ang="0">
                  <a:pos x="117" y="137"/>
                </a:cxn>
                <a:cxn ang="0">
                  <a:pos x="107" y="147"/>
                </a:cxn>
                <a:cxn ang="0">
                  <a:pos x="107" y="147"/>
                </a:cxn>
                <a:cxn ang="0">
                  <a:pos x="97" y="156"/>
                </a:cxn>
                <a:cxn ang="0">
                  <a:pos x="78" y="176"/>
                </a:cxn>
                <a:cxn ang="0">
                  <a:pos x="58" y="176"/>
                </a:cxn>
                <a:cxn ang="0">
                  <a:pos x="58" y="166"/>
                </a:cxn>
                <a:cxn ang="0">
                  <a:pos x="49" y="156"/>
                </a:cxn>
                <a:cxn ang="0">
                  <a:pos x="29" y="156"/>
                </a:cxn>
                <a:cxn ang="0">
                  <a:pos x="29" y="147"/>
                </a:cxn>
                <a:cxn ang="0">
                  <a:pos x="19" y="137"/>
                </a:cxn>
                <a:cxn ang="0">
                  <a:pos x="10" y="127"/>
                </a:cxn>
                <a:cxn ang="0">
                  <a:pos x="0" y="117"/>
                </a:cxn>
              </a:cxnLst>
              <a:rect l="0" t="0" r="r" b="b"/>
              <a:pathLst>
                <a:path w="185" h="176">
                  <a:moveTo>
                    <a:pt x="0" y="117"/>
                  </a:moveTo>
                  <a:lnTo>
                    <a:pt x="0" y="98"/>
                  </a:lnTo>
                  <a:lnTo>
                    <a:pt x="10" y="88"/>
                  </a:lnTo>
                  <a:lnTo>
                    <a:pt x="10" y="69"/>
                  </a:lnTo>
                  <a:lnTo>
                    <a:pt x="29" y="59"/>
                  </a:lnTo>
                  <a:lnTo>
                    <a:pt x="39" y="69"/>
                  </a:lnTo>
                  <a:lnTo>
                    <a:pt x="58" y="59"/>
                  </a:lnTo>
                  <a:lnTo>
                    <a:pt x="58" y="30"/>
                  </a:lnTo>
                  <a:lnTo>
                    <a:pt x="58" y="20"/>
                  </a:lnTo>
                  <a:lnTo>
                    <a:pt x="78" y="10"/>
                  </a:lnTo>
                  <a:lnTo>
                    <a:pt x="88" y="0"/>
                  </a:lnTo>
                  <a:lnTo>
                    <a:pt x="97" y="0"/>
                  </a:lnTo>
                  <a:lnTo>
                    <a:pt x="117" y="10"/>
                  </a:lnTo>
                  <a:lnTo>
                    <a:pt x="146" y="20"/>
                  </a:lnTo>
                  <a:lnTo>
                    <a:pt x="166" y="20"/>
                  </a:lnTo>
                  <a:lnTo>
                    <a:pt x="175" y="2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75" y="59"/>
                  </a:lnTo>
                  <a:lnTo>
                    <a:pt x="185" y="69"/>
                  </a:lnTo>
                  <a:lnTo>
                    <a:pt x="175" y="88"/>
                  </a:lnTo>
                  <a:lnTo>
                    <a:pt x="185" y="108"/>
                  </a:lnTo>
                  <a:lnTo>
                    <a:pt x="156" y="117"/>
                  </a:lnTo>
                  <a:lnTo>
                    <a:pt x="127" y="117"/>
                  </a:lnTo>
                  <a:lnTo>
                    <a:pt x="117" y="108"/>
                  </a:lnTo>
                  <a:lnTo>
                    <a:pt x="107" y="127"/>
                  </a:lnTo>
                  <a:lnTo>
                    <a:pt x="117" y="127"/>
                  </a:lnTo>
                  <a:lnTo>
                    <a:pt x="117" y="137"/>
                  </a:lnTo>
                  <a:lnTo>
                    <a:pt x="107" y="147"/>
                  </a:lnTo>
                  <a:lnTo>
                    <a:pt x="97" y="156"/>
                  </a:lnTo>
                  <a:lnTo>
                    <a:pt x="78" y="176"/>
                  </a:lnTo>
                  <a:lnTo>
                    <a:pt x="58" y="176"/>
                  </a:lnTo>
                  <a:lnTo>
                    <a:pt x="58" y="166"/>
                  </a:lnTo>
                  <a:lnTo>
                    <a:pt x="49" y="156"/>
                  </a:lnTo>
                  <a:lnTo>
                    <a:pt x="29" y="156"/>
                  </a:lnTo>
                  <a:lnTo>
                    <a:pt x="29" y="147"/>
                  </a:lnTo>
                  <a:lnTo>
                    <a:pt x="19" y="137"/>
                  </a:lnTo>
                  <a:lnTo>
                    <a:pt x="10" y="12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Freeform 179"/>
            <p:cNvSpPr>
              <a:spLocks/>
            </p:cNvSpPr>
            <p:nvPr/>
          </p:nvSpPr>
          <p:spPr bwMode="auto">
            <a:xfrm>
              <a:off x="1795" y="2158"/>
              <a:ext cx="285" cy="242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19" y="69"/>
                </a:cxn>
                <a:cxn ang="0">
                  <a:pos x="19" y="59"/>
                </a:cxn>
                <a:cxn ang="0">
                  <a:pos x="29" y="49"/>
                </a:cxn>
                <a:cxn ang="0">
                  <a:pos x="29" y="49"/>
                </a:cxn>
                <a:cxn ang="0">
                  <a:pos x="29" y="69"/>
                </a:cxn>
                <a:cxn ang="0">
                  <a:pos x="49" y="49"/>
                </a:cxn>
                <a:cxn ang="0">
                  <a:pos x="39" y="49"/>
                </a:cxn>
                <a:cxn ang="0">
                  <a:pos x="39" y="39"/>
                </a:cxn>
                <a:cxn ang="0">
                  <a:pos x="49" y="39"/>
                </a:cxn>
                <a:cxn ang="0">
                  <a:pos x="68" y="49"/>
                </a:cxn>
                <a:cxn ang="0">
                  <a:pos x="78" y="39"/>
                </a:cxn>
                <a:cxn ang="0">
                  <a:pos x="78" y="30"/>
                </a:cxn>
                <a:cxn ang="0">
                  <a:pos x="88" y="20"/>
                </a:cxn>
                <a:cxn ang="0">
                  <a:pos x="88" y="10"/>
                </a:cxn>
                <a:cxn ang="0">
                  <a:pos x="97" y="0"/>
                </a:cxn>
                <a:cxn ang="0">
                  <a:pos x="107" y="0"/>
                </a:cxn>
                <a:cxn ang="0">
                  <a:pos x="117" y="10"/>
                </a:cxn>
                <a:cxn ang="0">
                  <a:pos x="136" y="20"/>
                </a:cxn>
                <a:cxn ang="0">
                  <a:pos x="146" y="30"/>
                </a:cxn>
                <a:cxn ang="0">
                  <a:pos x="156" y="39"/>
                </a:cxn>
                <a:cxn ang="0">
                  <a:pos x="156" y="59"/>
                </a:cxn>
                <a:cxn ang="0">
                  <a:pos x="166" y="69"/>
                </a:cxn>
                <a:cxn ang="0">
                  <a:pos x="166" y="88"/>
                </a:cxn>
                <a:cxn ang="0">
                  <a:pos x="156" y="98"/>
                </a:cxn>
                <a:cxn ang="0">
                  <a:pos x="156" y="117"/>
                </a:cxn>
                <a:cxn ang="0">
                  <a:pos x="175" y="117"/>
                </a:cxn>
                <a:cxn ang="0">
                  <a:pos x="175" y="127"/>
                </a:cxn>
                <a:cxn ang="0">
                  <a:pos x="185" y="147"/>
                </a:cxn>
                <a:cxn ang="0">
                  <a:pos x="185" y="147"/>
                </a:cxn>
                <a:cxn ang="0">
                  <a:pos x="195" y="137"/>
                </a:cxn>
                <a:cxn ang="0">
                  <a:pos x="205" y="127"/>
                </a:cxn>
                <a:cxn ang="0">
                  <a:pos x="234" y="137"/>
                </a:cxn>
                <a:cxn ang="0">
                  <a:pos x="263" y="117"/>
                </a:cxn>
                <a:cxn ang="0">
                  <a:pos x="273" y="127"/>
                </a:cxn>
                <a:cxn ang="0">
                  <a:pos x="273" y="137"/>
                </a:cxn>
                <a:cxn ang="0">
                  <a:pos x="273" y="147"/>
                </a:cxn>
                <a:cxn ang="0">
                  <a:pos x="283" y="147"/>
                </a:cxn>
                <a:cxn ang="0">
                  <a:pos x="283" y="166"/>
                </a:cxn>
                <a:cxn ang="0">
                  <a:pos x="273" y="186"/>
                </a:cxn>
                <a:cxn ang="0">
                  <a:pos x="273" y="195"/>
                </a:cxn>
                <a:cxn ang="0">
                  <a:pos x="273" y="225"/>
                </a:cxn>
                <a:cxn ang="0">
                  <a:pos x="253" y="244"/>
                </a:cxn>
                <a:cxn ang="0">
                  <a:pos x="234" y="244"/>
                </a:cxn>
                <a:cxn ang="0">
                  <a:pos x="214" y="234"/>
                </a:cxn>
                <a:cxn ang="0">
                  <a:pos x="185" y="234"/>
                </a:cxn>
                <a:cxn ang="0">
                  <a:pos x="166" y="234"/>
                </a:cxn>
                <a:cxn ang="0">
                  <a:pos x="156" y="215"/>
                </a:cxn>
                <a:cxn ang="0">
                  <a:pos x="146" y="195"/>
                </a:cxn>
                <a:cxn ang="0">
                  <a:pos x="136" y="186"/>
                </a:cxn>
                <a:cxn ang="0">
                  <a:pos x="127" y="176"/>
                </a:cxn>
                <a:cxn ang="0">
                  <a:pos x="117" y="186"/>
                </a:cxn>
                <a:cxn ang="0">
                  <a:pos x="107" y="186"/>
                </a:cxn>
                <a:cxn ang="0">
                  <a:pos x="97" y="186"/>
                </a:cxn>
                <a:cxn ang="0">
                  <a:pos x="78" y="156"/>
                </a:cxn>
                <a:cxn ang="0">
                  <a:pos x="78" y="137"/>
                </a:cxn>
                <a:cxn ang="0">
                  <a:pos x="78" y="127"/>
                </a:cxn>
                <a:cxn ang="0">
                  <a:pos x="68" y="108"/>
                </a:cxn>
                <a:cxn ang="0">
                  <a:pos x="49" y="98"/>
                </a:cxn>
                <a:cxn ang="0">
                  <a:pos x="29" y="98"/>
                </a:cxn>
                <a:cxn ang="0">
                  <a:pos x="0" y="69"/>
                </a:cxn>
              </a:cxnLst>
              <a:rect l="0" t="0" r="r" b="b"/>
              <a:pathLst>
                <a:path w="283" h="244">
                  <a:moveTo>
                    <a:pt x="0" y="69"/>
                  </a:moveTo>
                  <a:lnTo>
                    <a:pt x="19" y="69"/>
                  </a:lnTo>
                  <a:lnTo>
                    <a:pt x="19" y="59"/>
                  </a:lnTo>
                  <a:lnTo>
                    <a:pt x="29" y="49"/>
                  </a:lnTo>
                  <a:lnTo>
                    <a:pt x="29" y="69"/>
                  </a:lnTo>
                  <a:lnTo>
                    <a:pt x="49" y="49"/>
                  </a:lnTo>
                  <a:lnTo>
                    <a:pt x="39" y="49"/>
                  </a:lnTo>
                  <a:lnTo>
                    <a:pt x="39" y="39"/>
                  </a:lnTo>
                  <a:lnTo>
                    <a:pt x="49" y="39"/>
                  </a:lnTo>
                  <a:lnTo>
                    <a:pt x="68" y="49"/>
                  </a:lnTo>
                  <a:lnTo>
                    <a:pt x="78" y="39"/>
                  </a:lnTo>
                  <a:lnTo>
                    <a:pt x="7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7" y="0"/>
                  </a:lnTo>
                  <a:lnTo>
                    <a:pt x="107" y="0"/>
                  </a:lnTo>
                  <a:lnTo>
                    <a:pt x="117" y="10"/>
                  </a:lnTo>
                  <a:lnTo>
                    <a:pt x="136" y="20"/>
                  </a:lnTo>
                  <a:lnTo>
                    <a:pt x="146" y="30"/>
                  </a:lnTo>
                  <a:lnTo>
                    <a:pt x="156" y="39"/>
                  </a:lnTo>
                  <a:lnTo>
                    <a:pt x="156" y="59"/>
                  </a:lnTo>
                  <a:lnTo>
                    <a:pt x="166" y="69"/>
                  </a:lnTo>
                  <a:lnTo>
                    <a:pt x="166" y="88"/>
                  </a:lnTo>
                  <a:lnTo>
                    <a:pt x="156" y="98"/>
                  </a:lnTo>
                  <a:lnTo>
                    <a:pt x="156" y="117"/>
                  </a:lnTo>
                  <a:lnTo>
                    <a:pt x="175" y="117"/>
                  </a:lnTo>
                  <a:lnTo>
                    <a:pt x="175" y="127"/>
                  </a:lnTo>
                  <a:lnTo>
                    <a:pt x="185" y="147"/>
                  </a:lnTo>
                  <a:lnTo>
                    <a:pt x="195" y="137"/>
                  </a:lnTo>
                  <a:lnTo>
                    <a:pt x="205" y="127"/>
                  </a:lnTo>
                  <a:lnTo>
                    <a:pt x="234" y="137"/>
                  </a:lnTo>
                  <a:lnTo>
                    <a:pt x="263" y="117"/>
                  </a:lnTo>
                  <a:lnTo>
                    <a:pt x="273" y="127"/>
                  </a:lnTo>
                  <a:lnTo>
                    <a:pt x="273" y="137"/>
                  </a:lnTo>
                  <a:lnTo>
                    <a:pt x="273" y="147"/>
                  </a:lnTo>
                  <a:lnTo>
                    <a:pt x="283" y="147"/>
                  </a:lnTo>
                  <a:lnTo>
                    <a:pt x="283" y="166"/>
                  </a:lnTo>
                  <a:lnTo>
                    <a:pt x="273" y="186"/>
                  </a:lnTo>
                  <a:lnTo>
                    <a:pt x="273" y="195"/>
                  </a:lnTo>
                  <a:lnTo>
                    <a:pt x="273" y="225"/>
                  </a:lnTo>
                  <a:lnTo>
                    <a:pt x="253" y="244"/>
                  </a:lnTo>
                  <a:lnTo>
                    <a:pt x="234" y="244"/>
                  </a:lnTo>
                  <a:lnTo>
                    <a:pt x="214" y="234"/>
                  </a:lnTo>
                  <a:lnTo>
                    <a:pt x="185" y="234"/>
                  </a:lnTo>
                  <a:lnTo>
                    <a:pt x="166" y="234"/>
                  </a:lnTo>
                  <a:lnTo>
                    <a:pt x="156" y="215"/>
                  </a:lnTo>
                  <a:lnTo>
                    <a:pt x="146" y="195"/>
                  </a:lnTo>
                  <a:lnTo>
                    <a:pt x="136" y="186"/>
                  </a:lnTo>
                  <a:lnTo>
                    <a:pt x="127" y="176"/>
                  </a:lnTo>
                  <a:lnTo>
                    <a:pt x="117" y="186"/>
                  </a:lnTo>
                  <a:lnTo>
                    <a:pt x="107" y="186"/>
                  </a:lnTo>
                  <a:lnTo>
                    <a:pt x="97" y="186"/>
                  </a:lnTo>
                  <a:lnTo>
                    <a:pt x="78" y="156"/>
                  </a:lnTo>
                  <a:lnTo>
                    <a:pt x="78" y="137"/>
                  </a:lnTo>
                  <a:lnTo>
                    <a:pt x="78" y="127"/>
                  </a:lnTo>
                  <a:lnTo>
                    <a:pt x="68" y="108"/>
                  </a:lnTo>
                  <a:lnTo>
                    <a:pt x="49" y="98"/>
                  </a:lnTo>
                  <a:lnTo>
                    <a:pt x="29" y="98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5" name="Freeform 178"/>
            <p:cNvSpPr>
              <a:spLocks/>
            </p:cNvSpPr>
            <p:nvPr/>
          </p:nvSpPr>
          <p:spPr bwMode="auto">
            <a:xfrm>
              <a:off x="2088" y="2332"/>
              <a:ext cx="457" cy="390"/>
            </a:xfrm>
            <a:custGeom>
              <a:avLst/>
              <a:gdLst/>
              <a:ahLst/>
              <a:cxnLst>
                <a:cxn ang="0">
                  <a:pos x="156" y="234"/>
                </a:cxn>
                <a:cxn ang="0">
                  <a:pos x="176" y="254"/>
                </a:cxn>
                <a:cxn ang="0">
                  <a:pos x="195" y="234"/>
                </a:cxn>
                <a:cxn ang="0">
                  <a:pos x="225" y="254"/>
                </a:cxn>
                <a:cxn ang="0">
                  <a:pos x="225" y="312"/>
                </a:cxn>
                <a:cxn ang="0">
                  <a:pos x="254" y="312"/>
                </a:cxn>
                <a:cxn ang="0">
                  <a:pos x="264" y="341"/>
                </a:cxn>
                <a:cxn ang="0">
                  <a:pos x="293" y="351"/>
                </a:cxn>
                <a:cxn ang="0">
                  <a:pos x="274" y="361"/>
                </a:cxn>
                <a:cxn ang="0">
                  <a:pos x="293" y="380"/>
                </a:cxn>
                <a:cxn ang="0">
                  <a:pos x="332" y="351"/>
                </a:cxn>
                <a:cxn ang="0">
                  <a:pos x="361" y="322"/>
                </a:cxn>
                <a:cxn ang="0">
                  <a:pos x="352" y="293"/>
                </a:cxn>
                <a:cxn ang="0">
                  <a:pos x="371" y="302"/>
                </a:cxn>
                <a:cxn ang="0">
                  <a:pos x="439" y="293"/>
                </a:cxn>
                <a:cxn ang="0">
                  <a:pos x="439" y="254"/>
                </a:cxn>
                <a:cxn ang="0">
                  <a:pos x="430" y="234"/>
                </a:cxn>
                <a:cxn ang="0">
                  <a:pos x="449" y="205"/>
                </a:cxn>
                <a:cxn ang="0">
                  <a:pos x="459" y="185"/>
                </a:cxn>
                <a:cxn ang="0">
                  <a:pos x="430" y="185"/>
                </a:cxn>
                <a:cxn ang="0">
                  <a:pos x="449" y="166"/>
                </a:cxn>
                <a:cxn ang="0">
                  <a:pos x="459" y="146"/>
                </a:cxn>
                <a:cxn ang="0">
                  <a:pos x="410" y="156"/>
                </a:cxn>
                <a:cxn ang="0">
                  <a:pos x="400" y="175"/>
                </a:cxn>
                <a:cxn ang="0">
                  <a:pos x="361" y="166"/>
                </a:cxn>
                <a:cxn ang="0">
                  <a:pos x="322" y="136"/>
                </a:cxn>
                <a:cxn ang="0">
                  <a:pos x="322" y="97"/>
                </a:cxn>
                <a:cxn ang="0">
                  <a:pos x="322" y="68"/>
                </a:cxn>
                <a:cxn ang="0">
                  <a:pos x="322" y="29"/>
                </a:cxn>
                <a:cxn ang="0">
                  <a:pos x="293" y="19"/>
                </a:cxn>
                <a:cxn ang="0">
                  <a:pos x="264" y="10"/>
                </a:cxn>
                <a:cxn ang="0">
                  <a:pos x="225" y="10"/>
                </a:cxn>
                <a:cxn ang="0">
                  <a:pos x="186" y="10"/>
                </a:cxn>
                <a:cxn ang="0">
                  <a:pos x="137" y="10"/>
                </a:cxn>
                <a:cxn ang="0">
                  <a:pos x="98" y="10"/>
                </a:cxn>
                <a:cxn ang="0">
                  <a:pos x="98" y="29"/>
                </a:cxn>
                <a:cxn ang="0">
                  <a:pos x="88" y="49"/>
                </a:cxn>
                <a:cxn ang="0">
                  <a:pos x="78" y="58"/>
                </a:cxn>
                <a:cxn ang="0">
                  <a:pos x="49" y="78"/>
                </a:cxn>
                <a:cxn ang="0">
                  <a:pos x="30" y="58"/>
                </a:cxn>
                <a:cxn ang="0">
                  <a:pos x="0" y="78"/>
                </a:cxn>
                <a:cxn ang="0">
                  <a:pos x="39" y="88"/>
                </a:cxn>
                <a:cxn ang="0">
                  <a:pos x="59" y="107"/>
                </a:cxn>
                <a:cxn ang="0">
                  <a:pos x="78" y="136"/>
                </a:cxn>
                <a:cxn ang="0">
                  <a:pos x="98" y="127"/>
                </a:cxn>
                <a:cxn ang="0">
                  <a:pos x="137" y="136"/>
                </a:cxn>
                <a:cxn ang="0">
                  <a:pos x="137" y="175"/>
                </a:cxn>
                <a:cxn ang="0">
                  <a:pos x="147" y="215"/>
                </a:cxn>
              </a:cxnLst>
              <a:rect l="0" t="0" r="r" b="b"/>
              <a:pathLst>
                <a:path w="459" h="390">
                  <a:moveTo>
                    <a:pt x="147" y="215"/>
                  </a:moveTo>
                  <a:lnTo>
                    <a:pt x="156" y="234"/>
                  </a:lnTo>
                  <a:lnTo>
                    <a:pt x="176" y="234"/>
                  </a:lnTo>
                  <a:lnTo>
                    <a:pt x="176" y="254"/>
                  </a:lnTo>
                  <a:lnTo>
                    <a:pt x="195" y="254"/>
                  </a:lnTo>
                  <a:lnTo>
                    <a:pt x="195" y="234"/>
                  </a:lnTo>
                  <a:lnTo>
                    <a:pt x="215" y="244"/>
                  </a:lnTo>
                  <a:lnTo>
                    <a:pt x="225" y="254"/>
                  </a:lnTo>
                  <a:lnTo>
                    <a:pt x="225" y="283"/>
                  </a:lnTo>
                  <a:lnTo>
                    <a:pt x="225" y="312"/>
                  </a:lnTo>
                  <a:lnTo>
                    <a:pt x="244" y="302"/>
                  </a:lnTo>
                  <a:lnTo>
                    <a:pt x="254" y="312"/>
                  </a:lnTo>
                  <a:lnTo>
                    <a:pt x="254" y="322"/>
                  </a:lnTo>
                  <a:lnTo>
                    <a:pt x="264" y="341"/>
                  </a:lnTo>
                  <a:lnTo>
                    <a:pt x="274" y="351"/>
                  </a:lnTo>
                  <a:lnTo>
                    <a:pt x="293" y="351"/>
                  </a:lnTo>
                  <a:lnTo>
                    <a:pt x="293" y="361"/>
                  </a:lnTo>
                  <a:lnTo>
                    <a:pt x="274" y="361"/>
                  </a:lnTo>
                  <a:lnTo>
                    <a:pt x="283" y="390"/>
                  </a:lnTo>
                  <a:lnTo>
                    <a:pt x="293" y="380"/>
                  </a:lnTo>
                  <a:lnTo>
                    <a:pt x="313" y="351"/>
                  </a:lnTo>
                  <a:lnTo>
                    <a:pt x="332" y="351"/>
                  </a:lnTo>
                  <a:lnTo>
                    <a:pt x="352" y="351"/>
                  </a:lnTo>
                  <a:lnTo>
                    <a:pt x="361" y="322"/>
                  </a:lnTo>
                  <a:lnTo>
                    <a:pt x="352" y="302"/>
                  </a:lnTo>
                  <a:lnTo>
                    <a:pt x="352" y="293"/>
                  </a:lnTo>
                  <a:lnTo>
                    <a:pt x="361" y="293"/>
                  </a:lnTo>
                  <a:lnTo>
                    <a:pt x="371" y="302"/>
                  </a:lnTo>
                  <a:lnTo>
                    <a:pt x="420" y="293"/>
                  </a:lnTo>
                  <a:lnTo>
                    <a:pt x="439" y="293"/>
                  </a:lnTo>
                  <a:lnTo>
                    <a:pt x="449" y="273"/>
                  </a:lnTo>
                  <a:lnTo>
                    <a:pt x="439" y="254"/>
                  </a:lnTo>
                  <a:lnTo>
                    <a:pt x="430" y="234"/>
                  </a:lnTo>
                  <a:lnTo>
                    <a:pt x="430" y="224"/>
                  </a:lnTo>
                  <a:lnTo>
                    <a:pt x="449" y="205"/>
                  </a:lnTo>
                  <a:lnTo>
                    <a:pt x="459" y="195"/>
                  </a:lnTo>
                  <a:lnTo>
                    <a:pt x="459" y="185"/>
                  </a:lnTo>
                  <a:lnTo>
                    <a:pt x="439" y="195"/>
                  </a:lnTo>
                  <a:lnTo>
                    <a:pt x="430" y="185"/>
                  </a:lnTo>
                  <a:lnTo>
                    <a:pt x="430" y="166"/>
                  </a:lnTo>
                  <a:lnTo>
                    <a:pt x="449" y="166"/>
                  </a:lnTo>
                  <a:lnTo>
                    <a:pt x="459" y="156"/>
                  </a:lnTo>
                  <a:lnTo>
                    <a:pt x="459" y="146"/>
                  </a:lnTo>
                  <a:lnTo>
                    <a:pt x="439" y="146"/>
                  </a:lnTo>
                  <a:lnTo>
                    <a:pt x="410" y="156"/>
                  </a:lnTo>
                  <a:lnTo>
                    <a:pt x="410" y="175"/>
                  </a:lnTo>
                  <a:lnTo>
                    <a:pt x="400" y="175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56"/>
                  </a:lnTo>
                  <a:lnTo>
                    <a:pt x="322" y="136"/>
                  </a:lnTo>
                  <a:lnTo>
                    <a:pt x="332" y="117"/>
                  </a:lnTo>
                  <a:lnTo>
                    <a:pt x="322" y="97"/>
                  </a:lnTo>
                  <a:lnTo>
                    <a:pt x="332" y="78"/>
                  </a:lnTo>
                  <a:lnTo>
                    <a:pt x="322" y="68"/>
                  </a:lnTo>
                  <a:lnTo>
                    <a:pt x="322" y="29"/>
                  </a:lnTo>
                  <a:lnTo>
                    <a:pt x="303" y="39"/>
                  </a:lnTo>
                  <a:lnTo>
                    <a:pt x="293" y="19"/>
                  </a:lnTo>
                  <a:lnTo>
                    <a:pt x="283" y="10"/>
                  </a:lnTo>
                  <a:lnTo>
                    <a:pt x="264" y="10"/>
                  </a:lnTo>
                  <a:lnTo>
                    <a:pt x="254" y="0"/>
                  </a:lnTo>
                  <a:lnTo>
                    <a:pt x="225" y="10"/>
                  </a:lnTo>
                  <a:lnTo>
                    <a:pt x="205" y="10"/>
                  </a:lnTo>
                  <a:lnTo>
                    <a:pt x="186" y="10"/>
                  </a:lnTo>
                  <a:lnTo>
                    <a:pt x="166" y="10"/>
                  </a:lnTo>
                  <a:lnTo>
                    <a:pt x="137" y="10"/>
                  </a:lnTo>
                  <a:lnTo>
                    <a:pt x="108" y="10"/>
                  </a:lnTo>
                  <a:lnTo>
                    <a:pt x="98" y="10"/>
                  </a:lnTo>
                  <a:lnTo>
                    <a:pt x="88" y="19"/>
                  </a:lnTo>
                  <a:lnTo>
                    <a:pt x="98" y="29"/>
                  </a:lnTo>
                  <a:lnTo>
                    <a:pt x="98" y="39"/>
                  </a:lnTo>
                  <a:lnTo>
                    <a:pt x="88" y="49"/>
                  </a:lnTo>
                  <a:lnTo>
                    <a:pt x="78" y="58"/>
                  </a:lnTo>
                  <a:lnTo>
                    <a:pt x="59" y="78"/>
                  </a:lnTo>
                  <a:lnTo>
                    <a:pt x="49" y="78"/>
                  </a:lnTo>
                  <a:lnTo>
                    <a:pt x="39" y="68"/>
                  </a:lnTo>
                  <a:lnTo>
                    <a:pt x="30" y="58"/>
                  </a:lnTo>
                  <a:lnTo>
                    <a:pt x="10" y="58"/>
                  </a:lnTo>
                  <a:lnTo>
                    <a:pt x="0" y="78"/>
                  </a:lnTo>
                  <a:lnTo>
                    <a:pt x="20" y="88"/>
                  </a:lnTo>
                  <a:lnTo>
                    <a:pt x="39" y="8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69" y="127"/>
                  </a:lnTo>
                  <a:lnTo>
                    <a:pt x="78" y="136"/>
                  </a:lnTo>
                  <a:lnTo>
                    <a:pt x="88" y="136"/>
                  </a:lnTo>
                  <a:lnTo>
                    <a:pt x="98" y="127"/>
                  </a:lnTo>
                  <a:lnTo>
                    <a:pt x="117" y="136"/>
                  </a:lnTo>
                  <a:lnTo>
                    <a:pt x="137" y="136"/>
                  </a:lnTo>
                  <a:lnTo>
                    <a:pt x="147" y="156"/>
                  </a:lnTo>
                  <a:lnTo>
                    <a:pt x="137" y="175"/>
                  </a:lnTo>
                  <a:lnTo>
                    <a:pt x="147" y="195"/>
                  </a:lnTo>
                  <a:lnTo>
                    <a:pt x="147" y="21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Freeform 177"/>
            <p:cNvSpPr>
              <a:spLocks/>
            </p:cNvSpPr>
            <p:nvPr/>
          </p:nvSpPr>
          <p:spPr bwMode="auto">
            <a:xfrm>
              <a:off x="2352" y="2567"/>
              <a:ext cx="469" cy="576"/>
            </a:xfrm>
            <a:custGeom>
              <a:avLst/>
              <a:gdLst/>
              <a:ahLst/>
              <a:cxnLst>
                <a:cxn ang="0">
                  <a:pos x="68" y="117"/>
                </a:cxn>
                <a:cxn ang="0">
                  <a:pos x="88" y="88"/>
                </a:cxn>
                <a:cxn ang="0">
                  <a:pos x="88" y="59"/>
                </a:cxn>
                <a:cxn ang="0">
                  <a:pos x="107" y="68"/>
                </a:cxn>
                <a:cxn ang="0">
                  <a:pos x="175" y="59"/>
                </a:cxn>
                <a:cxn ang="0">
                  <a:pos x="175" y="20"/>
                </a:cxn>
                <a:cxn ang="0">
                  <a:pos x="166" y="0"/>
                </a:cxn>
                <a:cxn ang="0">
                  <a:pos x="205" y="0"/>
                </a:cxn>
                <a:cxn ang="0">
                  <a:pos x="253" y="0"/>
                </a:cxn>
                <a:cxn ang="0">
                  <a:pos x="283" y="29"/>
                </a:cxn>
                <a:cxn ang="0">
                  <a:pos x="331" y="39"/>
                </a:cxn>
                <a:cxn ang="0">
                  <a:pos x="331" y="49"/>
                </a:cxn>
                <a:cxn ang="0">
                  <a:pos x="331" y="68"/>
                </a:cxn>
                <a:cxn ang="0">
                  <a:pos x="361" y="117"/>
                </a:cxn>
                <a:cxn ang="0">
                  <a:pos x="390" y="137"/>
                </a:cxn>
                <a:cxn ang="0">
                  <a:pos x="419" y="156"/>
                </a:cxn>
                <a:cxn ang="0">
                  <a:pos x="439" y="176"/>
                </a:cxn>
                <a:cxn ang="0">
                  <a:pos x="458" y="195"/>
                </a:cxn>
                <a:cxn ang="0">
                  <a:pos x="468" y="215"/>
                </a:cxn>
                <a:cxn ang="0">
                  <a:pos x="448" y="234"/>
                </a:cxn>
                <a:cxn ang="0">
                  <a:pos x="448" y="254"/>
                </a:cxn>
                <a:cxn ang="0">
                  <a:pos x="419" y="254"/>
                </a:cxn>
                <a:cxn ang="0">
                  <a:pos x="409" y="273"/>
                </a:cxn>
                <a:cxn ang="0">
                  <a:pos x="380" y="263"/>
                </a:cxn>
                <a:cxn ang="0">
                  <a:pos x="361" y="273"/>
                </a:cxn>
                <a:cxn ang="0">
                  <a:pos x="341" y="254"/>
                </a:cxn>
                <a:cxn ang="0">
                  <a:pos x="361" y="234"/>
                </a:cxn>
                <a:cxn ang="0">
                  <a:pos x="331" y="205"/>
                </a:cxn>
                <a:cxn ang="0">
                  <a:pos x="283" y="244"/>
                </a:cxn>
                <a:cxn ang="0">
                  <a:pos x="273" y="273"/>
                </a:cxn>
                <a:cxn ang="0">
                  <a:pos x="322" y="302"/>
                </a:cxn>
                <a:cxn ang="0">
                  <a:pos x="351" y="322"/>
                </a:cxn>
                <a:cxn ang="0">
                  <a:pos x="390" y="332"/>
                </a:cxn>
                <a:cxn ang="0">
                  <a:pos x="429" y="332"/>
                </a:cxn>
                <a:cxn ang="0">
                  <a:pos x="419" y="361"/>
                </a:cxn>
                <a:cxn ang="0">
                  <a:pos x="390" y="381"/>
                </a:cxn>
                <a:cxn ang="0">
                  <a:pos x="361" y="381"/>
                </a:cxn>
                <a:cxn ang="0">
                  <a:pos x="322" y="381"/>
                </a:cxn>
                <a:cxn ang="0">
                  <a:pos x="283" y="410"/>
                </a:cxn>
                <a:cxn ang="0">
                  <a:pos x="263" y="439"/>
                </a:cxn>
                <a:cxn ang="0">
                  <a:pos x="253" y="468"/>
                </a:cxn>
                <a:cxn ang="0">
                  <a:pos x="234" y="478"/>
                </a:cxn>
                <a:cxn ang="0">
                  <a:pos x="214" y="517"/>
                </a:cxn>
                <a:cxn ang="0">
                  <a:pos x="185" y="537"/>
                </a:cxn>
                <a:cxn ang="0">
                  <a:pos x="166" y="546"/>
                </a:cxn>
                <a:cxn ang="0">
                  <a:pos x="127" y="576"/>
                </a:cxn>
                <a:cxn ang="0">
                  <a:pos x="107" y="546"/>
                </a:cxn>
                <a:cxn ang="0">
                  <a:pos x="68" y="537"/>
                </a:cxn>
                <a:cxn ang="0">
                  <a:pos x="49" y="517"/>
                </a:cxn>
                <a:cxn ang="0">
                  <a:pos x="29" y="517"/>
                </a:cxn>
                <a:cxn ang="0">
                  <a:pos x="39" y="488"/>
                </a:cxn>
                <a:cxn ang="0">
                  <a:pos x="29" y="449"/>
                </a:cxn>
                <a:cxn ang="0">
                  <a:pos x="49" y="429"/>
                </a:cxn>
                <a:cxn ang="0">
                  <a:pos x="58" y="400"/>
                </a:cxn>
                <a:cxn ang="0">
                  <a:pos x="19" y="410"/>
                </a:cxn>
                <a:cxn ang="0">
                  <a:pos x="10" y="371"/>
                </a:cxn>
                <a:cxn ang="0">
                  <a:pos x="29" y="361"/>
                </a:cxn>
                <a:cxn ang="0">
                  <a:pos x="10" y="342"/>
                </a:cxn>
                <a:cxn ang="0">
                  <a:pos x="29" y="273"/>
                </a:cxn>
                <a:cxn ang="0">
                  <a:pos x="29" y="254"/>
                </a:cxn>
                <a:cxn ang="0">
                  <a:pos x="10" y="224"/>
                </a:cxn>
                <a:cxn ang="0">
                  <a:pos x="19" y="176"/>
                </a:cxn>
                <a:cxn ang="0">
                  <a:pos x="49" y="117"/>
                </a:cxn>
              </a:cxnLst>
              <a:rect l="0" t="0" r="r" b="b"/>
              <a:pathLst>
                <a:path w="468" h="576">
                  <a:moveTo>
                    <a:pt x="49" y="117"/>
                  </a:moveTo>
                  <a:lnTo>
                    <a:pt x="68" y="117"/>
                  </a:lnTo>
                  <a:lnTo>
                    <a:pt x="88" y="117"/>
                  </a:lnTo>
                  <a:lnTo>
                    <a:pt x="88" y="88"/>
                  </a:lnTo>
                  <a:lnTo>
                    <a:pt x="88" y="68"/>
                  </a:lnTo>
                  <a:lnTo>
                    <a:pt x="88" y="59"/>
                  </a:lnTo>
                  <a:lnTo>
                    <a:pt x="107" y="68"/>
                  </a:lnTo>
                  <a:lnTo>
                    <a:pt x="156" y="59"/>
                  </a:lnTo>
                  <a:lnTo>
                    <a:pt x="175" y="59"/>
                  </a:lnTo>
                  <a:lnTo>
                    <a:pt x="185" y="49"/>
                  </a:lnTo>
                  <a:lnTo>
                    <a:pt x="175" y="20"/>
                  </a:lnTo>
                  <a:lnTo>
                    <a:pt x="166" y="0"/>
                  </a:lnTo>
                  <a:lnTo>
                    <a:pt x="175" y="0"/>
                  </a:lnTo>
                  <a:lnTo>
                    <a:pt x="205" y="0"/>
                  </a:lnTo>
                  <a:lnTo>
                    <a:pt x="234" y="0"/>
                  </a:lnTo>
                  <a:lnTo>
                    <a:pt x="253" y="0"/>
                  </a:lnTo>
                  <a:lnTo>
                    <a:pt x="263" y="20"/>
                  </a:lnTo>
                  <a:lnTo>
                    <a:pt x="283" y="29"/>
                  </a:lnTo>
                  <a:lnTo>
                    <a:pt x="302" y="39"/>
                  </a:lnTo>
                  <a:lnTo>
                    <a:pt x="331" y="39"/>
                  </a:lnTo>
                  <a:lnTo>
                    <a:pt x="341" y="49"/>
                  </a:lnTo>
                  <a:lnTo>
                    <a:pt x="331" y="49"/>
                  </a:lnTo>
                  <a:lnTo>
                    <a:pt x="331" y="59"/>
                  </a:lnTo>
                  <a:lnTo>
                    <a:pt x="331" y="68"/>
                  </a:lnTo>
                  <a:lnTo>
                    <a:pt x="351" y="78"/>
                  </a:lnTo>
                  <a:lnTo>
                    <a:pt x="361" y="117"/>
                  </a:lnTo>
                  <a:lnTo>
                    <a:pt x="380" y="117"/>
                  </a:lnTo>
                  <a:lnTo>
                    <a:pt x="390" y="137"/>
                  </a:lnTo>
                  <a:lnTo>
                    <a:pt x="400" y="137"/>
                  </a:lnTo>
                  <a:lnTo>
                    <a:pt x="419" y="156"/>
                  </a:lnTo>
                  <a:lnTo>
                    <a:pt x="419" y="166"/>
                  </a:lnTo>
                  <a:lnTo>
                    <a:pt x="439" y="176"/>
                  </a:lnTo>
                  <a:lnTo>
                    <a:pt x="458" y="185"/>
                  </a:lnTo>
                  <a:lnTo>
                    <a:pt x="458" y="195"/>
                  </a:lnTo>
                  <a:lnTo>
                    <a:pt x="468" y="195"/>
                  </a:lnTo>
                  <a:lnTo>
                    <a:pt x="468" y="215"/>
                  </a:lnTo>
                  <a:lnTo>
                    <a:pt x="448" y="224"/>
                  </a:lnTo>
                  <a:lnTo>
                    <a:pt x="448" y="234"/>
                  </a:lnTo>
                  <a:lnTo>
                    <a:pt x="439" y="244"/>
                  </a:lnTo>
                  <a:lnTo>
                    <a:pt x="448" y="254"/>
                  </a:lnTo>
                  <a:lnTo>
                    <a:pt x="448" y="263"/>
                  </a:lnTo>
                  <a:lnTo>
                    <a:pt x="419" y="254"/>
                  </a:lnTo>
                  <a:lnTo>
                    <a:pt x="419" y="273"/>
                  </a:lnTo>
                  <a:lnTo>
                    <a:pt x="409" y="273"/>
                  </a:lnTo>
                  <a:lnTo>
                    <a:pt x="400" y="263"/>
                  </a:lnTo>
                  <a:lnTo>
                    <a:pt x="380" y="263"/>
                  </a:lnTo>
                  <a:lnTo>
                    <a:pt x="380" y="273"/>
                  </a:lnTo>
                  <a:lnTo>
                    <a:pt x="361" y="273"/>
                  </a:lnTo>
                  <a:lnTo>
                    <a:pt x="361" y="254"/>
                  </a:lnTo>
                  <a:lnTo>
                    <a:pt x="341" y="254"/>
                  </a:lnTo>
                  <a:lnTo>
                    <a:pt x="331" y="244"/>
                  </a:lnTo>
                  <a:lnTo>
                    <a:pt x="361" y="234"/>
                  </a:lnTo>
                  <a:lnTo>
                    <a:pt x="351" y="215"/>
                  </a:lnTo>
                  <a:lnTo>
                    <a:pt x="331" y="205"/>
                  </a:lnTo>
                  <a:lnTo>
                    <a:pt x="292" y="215"/>
                  </a:lnTo>
                  <a:lnTo>
                    <a:pt x="283" y="244"/>
                  </a:lnTo>
                  <a:lnTo>
                    <a:pt x="273" y="254"/>
                  </a:lnTo>
                  <a:lnTo>
                    <a:pt x="273" y="273"/>
                  </a:lnTo>
                  <a:lnTo>
                    <a:pt x="292" y="302"/>
                  </a:lnTo>
                  <a:lnTo>
                    <a:pt x="322" y="302"/>
                  </a:lnTo>
                  <a:lnTo>
                    <a:pt x="341" y="332"/>
                  </a:lnTo>
                  <a:lnTo>
                    <a:pt x="351" y="322"/>
                  </a:lnTo>
                  <a:lnTo>
                    <a:pt x="370" y="332"/>
                  </a:lnTo>
                  <a:lnTo>
                    <a:pt x="390" y="332"/>
                  </a:lnTo>
                  <a:lnTo>
                    <a:pt x="419" y="332"/>
                  </a:lnTo>
                  <a:lnTo>
                    <a:pt x="429" y="332"/>
                  </a:lnTo>
                  <a:lnTo>
                    <a:pt x="429" y="342"/>
                  </a:lnTo>
                  <a:lnTo>
                    <a:pt x="419" y="361"/>
                  </a:lnTo>
                  <a:lnTo>
                    <a:pt x="400" y="361"/>
                  </a:lnTo>
                  <a:lnTo>
                    <a:pt x="390" y="381"/>
                  </a:lnTo>
                  <a:lnTo>
                    <a:pt x="370" y="390"/>
                  </a:lnTo>
                  <a:lnTo>
                    <a:pt x="361" y="381"/>
                  </a:lnTo>
                  <a:lnTo>
                    <a:pt x="341" y="381"/>
                  </a:lnTo>
                  <a:lnTo>
                    <a:pt x="322" y="381"/>
                  </a:lnTo>
                  <a:lnTo>
                    <a:pt x="302" y="400"/>
                  </a:lnTo>
                  <a:lnTo>
                    <a:pt x="283" y="410"/>
                  </a:lnTo>
                  <a:lnTo>
                    <a:pt x="273" y="420"/>
                  </a:lnTo>
                  <a:lnTo>
                    <a:pt x="263" y="439"/>
                  </a:lnTo>
                  <a:lnTo>
                    <a:pt x="253" y="459"/>
                  </a:lnTo>
                  <a:lnTo>
                    <a:pt x="253" y="468"/>
                  </a:lnTo>
                  <a:lnTo>
                    <a:pt x="244" y="478"/>
                  </a:lnTo>
                  <a:lnTo>
                    <a:pt x="234" y="478"/>
                  </a:lnTo>
                  <a:lnTo>
                    <a:pt x="224" y="498"/>
                  </a:lnTo>
                  <a:lnTo>
                    <a:pt x="214" y="517"/>
                  </a:lnTo>
                  <a:lnTo>
                    <a:pt x="205" y="537"/>
                  </a:lnTo>
                  <a:lnTo>
                    <a:pt x="185" y="537"/>
                  </a:lnTo>
                  <a:lnTo>
                    <a:pt x="175" y="537"/>
                  </a:lnTo>
                  <a:lnTo>
                    <a:pt x="166" y="546"/>
                  </a:lnTo>
                  <a:lnTo>
                    <a:pt x="146" y="566"/>
                  </a:lnTo>
                  <a:lnTo>
                    <a:pt x="127" y="576"/>
                  </a:lnTo>
                  <a:lnTo>
                    <a:pt x="107" y="566"/>
                  </a:lnTo>
                  <a:lnTo>
                    <a:pt x="107" y="546"/>
                  </a:lnTo>
                  <a:lnTo>
                    <a:pt x="88" y="537"/>
                  </a:lnTo>
                  <a:lnTo>
                    <a:pt x="68" y="537"/>
                  </a:lnTo>
                  <a:lnTo>
                    <a:pt x="49" y="537"/>
                  </a:lnTo>
                  <a:lnTo>
                    <a:pt x="49" y="517"/>
                  </a:lnTo>
                  <a:lnTo>
                    <a:pt x="39" y="517"/>
                  </a:lnTo>
                  <a:lnTo>
                    <a:pt x="29" y="517"/>
                  </a:lnTo>
                  <a:lnTo>
                    <a:pt x="29" y="488"/>
                  </a:lnTo>
                  <a:lnTo>
                    <a:pt x="39" y="488"/>
                  </a:lnTo>
                  <a:lnTo>
                    <a:pt x="39" y="45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9" y="429"/>
                  </a:lnTo>
                  <a:lnTo>
                    <a:pt x="68" y="420"/>
                  </a:lnTo>
                  <a:lnTo>
                    <a:pt x="58" y="400"/>
                  </a:lnTo>
                  <a:lnTo>
                    <a:pt x="39" y="400"/>
                  </a:lnTo>
                  <a:lnTo>
                    <a:pt x="19" y="410"/>
                  </a:lnTo>
                  <a:lnTo>
                    <a:pt x="10" y="390"/>
                  </a:lnTo>
                  <a:lnTo>
                    <a:pt x="10" y="371"/>
                  </a:lnTo>
                  <a:lnTo>
                    <a:pt x="0" y="361"/>
                  </a:lnTo>
                  <a:lnTo>
                    <a:pt x="29" y="361"/>
                  </a:lnTo>
                  <a:lnTo>
                    <a:pt x="29" y="351"/>
                  </a:lnTo>
                  <a:lnTo>
                    <a:pt x="10" y="342"/>
                  </a:lnTo>
                  <a:lnTo>
                    <a:pt x="29" y="293"/>
                  </a:lnTo>
                  <a:lnTo>
                    <a:pt x="29" y="273"/>
                  </a:lnTo>
                  <a:lnTo>
                    <a:pt x="39" y="263"/>
                  </a:lnTo>
                  <a:lnTo>
                    <a:pt x="29" y="254"/>
                  </a:lnTo>
                  <a:lnTo>
                    <a:pt x="10" y="244"/>
                  </a:lnTo>
                  <a:lnTo>
                    <a:pt x="10" y="224"/>
                  </a:lnTo>
                  <a:lnTo>
                    <a:pt x="10" y="205"/>
                  </a:lnTo>
                  <a:lnTo>
                    <a:pt x="19" y="176"/>
                  </a:lnTo>
                  <a:lnTo>
                    <a:pt x="29" y="146"/>
                  </a:lnTo>
                  <a:lnTo>
                    <a:pt x="49" y="11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Freeform 176"/>
            <p:cNvSpPr>
              <a:spLocks/>
            </p:cNvSpPr>
            <p:nvPr/>
          </p:nvSpPr>
          <p:spPr bwMode="auto">
            <a:xfrm>
              <a:off x="2410" y="2273"/>
              <a:ext cx="322" cy="294"/>
            </a:xfrm>
            <a:custGeom>
              <a:avLst/>
              <a:gdLst/>
              <a:ahLst/>
              <a:cxnLst>
                <a:cxn ang="0">
                  <a:pos x="10" y="215"/>
                </a:cxn>
                <a:cxn ang="0">
                  <a:pos x="39" y="225"/>
                </a:cxn>
                <a:cxn ang="0">
                  <a:pos x="69" y="225"/>
                </a:cxn>
                <a:cxn ang="0">
                  <a:pos x="78" y="234"/>
                </a:cxn>
                <a:cxn ang="0">
                  <a:pos x="88" y="234"/>
                </a:cxn>
                <a:cxn ang="0">
                  <a:pos x="88" y="215"/>
                </a:cxn>
                <a:cxn ang="0">
                  <a:pos x="117" y="205"/>
                </a:cxn>
                <a:cxn ang="0">
                  <a:pos x="137" y="205"/>
                </a:cxn>
                <a:cxn ang="0">
                  <a:pos x="137" y="215"/>
                </a:cxn>
                <a:cxn ang="0">
                  <a:pos x="127" y="225"/>
                </a:cxn>
                <a:cxn ang="0">
                  <a:pos x="108" y="225"/>
                </a:cxn>
                <a:cxn ang="0">
                  <a:pos x="108" y="244"/>
                </a:cxn>
                <a:cxn ang="0">
                  <a:pos x="117" y="254"/>
                </a:cxn>
                <a:cxn ang="0">
                  <a:pos x="137" y="244"/>
                </a:cxn>
                <a:cxn ang="0">
                  <a:pos x="137" y="264"/>
                </a:cxn>
                <a:cxn ang="0">
                  <a:pos x="127" y="264"/>
                </a:cxn>
                <a:cxn ang="0">
                  <a:pos x="108" y="283"/>
                </a:cxn>
                <a:cxn ang="0">
                  <a:pos x="108" y="293"/>
                </a:cxn>
                <a:cxn ang="0">
                  <a:pos x="127" y="293"/>
                </a:cxn>
                <a:cxn ang="0">
                  <a:pos x="147" y="293"/>
                </a:cxn>
                <a:cxn ang="0">
                  <a:pos x="195" y="293"/>
                </a:cxn>
                <a:cxn ang="0">
                  <a:pos x="195" y="283"/>
                </a:cxn>
                <a:cxn ang="0">
                  <a:pos x="186" y="254"/>
                </a:cxn>
                <a:cxn ang="0">
                  <a:pos x="195" y="234"/>
                </a:cxn>
                <a:cxn ang="0">
                  <a:pos x="205" y="234"/>
                </a:cxn>
                <a:cxn ang="0">
                  <a:pos x="225" y="234"/>
                </a:cxn>
                <a:cxn ang="0">
                  <a:pos x="244" y="215"/>
                </a:cxn>
                <a:cxn ang="0">
                  <a:pos x="234" y="205"/>
                </a:cxn>
                <a:cxn ang="0">
                  <a:pos x="244" y="176"/>
                </a:cxn>
                <a:cxn ang="0">
                  <a:pos x="283" y="147"/>
                </a:cxn>
                <a:cxn ang="0">
                  <a:pos x="303" y="117"/>
                </a:cxn>
                <a:cxn ang="0">
                  <a:pos x="312" y="88"/>
                </a:cxn>
                <a:cxn ang="0">
                  <a:pos x="322" y="69"/>
                </a:cxn>
                <a:cxn ang="0">
                  <a:pos x="303" y="69"/>
                </a:cxn>
                <a:cxn ang="0">
                  <a:pos x="293" y="39"/>
                </a:cxn>
                <a:cxn ang="0">
                  <a:pos x="264" y="30"/>
                </a:cxn>
                <a:cxn ang="0">
                  <a:pos x="244" y="10"/>
                </a:cxn>
                <a:cxn ang="0">
                  <a:pos x="234" y="0"/>
                </a:cxn>
                <a:cxn ang="0">
                  <a:pos x="205" y="10"/>
                </a:cxn>
                <a:cxn ang="0">
                  <a:pos x="186" y="20"/>
                </a:cxn>
                <a:cxn ang="0">
                  <a:pos x="195" y="39"/>
                </a:cxn>
                <a:cxn ang="0">
                  <a:pos x="176" y="49"/>
                </a:cxn>
                <a:cxn ang="0">
                  <a:pos x="166" y="78"/>
                </a:cxn>
                <a:cxn ang="0">
                  <a:pos x="137" y="88"/>
                </a:cxn>
                <a:cxn ang="0">
                  <a:pos x="108" y="69"/>
                </a:cxn>
                <a:cxn ang="0">
                  <a:pos x="88" y="88"/>
                </a:cxn>
                <a:cxn ang="0">
                  <a:pos x="88" y="108"/>
                </a:cxn>
                <a:cxn ang="0">
                  <a:pos x="88" y="137"/>
                </a:cxn>
                <a:cxn ang="0">
                  <a:pos x="59" y="147"/>
                </a:cxn>
                <a:cxn ang="0">
                  <a:pos x="49" y="137"/>
                </a:cxn>
                <a:cxn ang="0">
                  <a:pos x="39" y="147"/>
                </a:cxn>
                <a:cxn ang="0">
                  <a:pos x="49" y="156"/>
                </a:cxn>
                <a:cxn ang="0">
                  <a:pos x="30" y="176"/>
                </a:cxn>
                <a:cxn ang="0">
                  <a:pos x="30" y="186"/>
                </a:cxn>
                <a:cxn ang="0">
                  <a:pos x="10" y="195"/>
                </a:cxn>
                <a:cxn ang="0">
                  <a:pos x="10" y="176"/>
                </a:cxn>
                <a:cxn ang="0">
                  <a:pos x="0" y="205"/>
                </a:cxn>
                <a:cxn ang="0">
                  <a:pos x="10" y="215"/>
                </a:cxn>
              </a:cxnLst>
              <a:rect l="0" t="0" r="r" b="b"/>
              <a:pathLst>
                <a:path w="322" h="293">
                  <a:moveTo>
                    <a:pt x="10" y="215"/>
                  </a:moveTo>
                  <a:lnTo>
                    <a:pt x="39" y="225"/>
                  </a:lnTo>
                  <a:lnTo>
                    <a:pt x="69" y="225"/>
                  </a:lnTo>
                  <a:lnTo>
                    <a:pt x="78" y="234"/>
                  </a:lnTo>
                  <a:lnTo>
                    <a:pt x="88" y="234"/>
                  </a:lnTo>
                  <a:lnTo>
                    <a:pt x="88" y="215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37" y="215"/>
                  </a:lnTo>
                  <a:lnTo>
                    <a:pt x="127" y="225"/>
                  </a:lnTo>
                  <a:lnTo>
                    <a:pt x="108" y="225"/>
                  </a:lnTo>
                  <a:lnTo>
                    <a:pt x="108" y="244"/>
                  </a:lnTo>
                  <a:lnTo>
                    <a:pt x="117" y="254"/>
                  </a:lnTo>
                  <a:lnTo>
                    <a:pt x="137" y="244"/>
                  </a:lnTo>
                  <a:lnTo>
                    <a:pt x="137" y="264"/>
                  </a:lnTo>
                  <a:lnTo>
                    <a:pt x="127" y="26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93"/>
                  </a:lnTo>
                  <a:lnTo>
                    <a:pt x="147" y="293"/>
                  </a:lnTo>
                  <a:lnTo>
                    <a:pt x="195" y="293"/>
                  </a:lnTo>
                  <a:lnTo>
                    <a:pt x="195" y="283"/>
                  </a:lnTo>
                  <a:lnTo>
                    <a:pt x="186" y="254"/>
                  </a:lnTo>
                  <a:lnTo>
                    <a:pt x="195" y="234"/>
                  </a:lnTo>
                  <a:lnTo>
                    <a:pt x="205" y="234"/>
                  </a:lnTo>
                  <a:lnTo>
                    <a:pt x="225" y="234"/>
                  </a:lnTo>
                  <a:lnTo>
                    <a:pt x="244" y="215"/>
                  </a:lnTo>
                  <a:lnTo>
                    <a:pt x="234" y="205"/>
                  </a:lnTo>
                  <a:lnTo>
                    <a:pt x="244" y="176"/>
                  </a:lnTo>
                  <a:lnTo>
                    <a:pt x="283" y="147"/>
                  </a:lnTo>
                  <a:lnTo>
                    <a:pt x="303" y="117"/>
                  </a:lnTo>
                  <a:lnTo>
                    <a:pt x="312" y="88"/>
                  </a:lnTo>
                  <a:lnTo>
                    <a:pt x="322" y="69"/>
                  </a:lnTo>
                  <a:lnTo>
                    <a:pt x="303" y="69"/>
                  </a:lnTo>
                  <a:lnTo>
                    <a:pt x="293" y="39"/>
                  </a:lnTo>
                  <a:lnTo>
                    <a:pt x="264" y="30"/>
                  </a:lnTo>
                  <a:lnTo>
                    <a:pt x="244" y="10"/>
                  </a:lnTo>
                  <a:lnTo>
                    <a:pt x="234" y="0"/>
                  </a:lnTo>
                  <a:lnTo>
                    <a:pt x="205" y="10"/>
                  </a:lnTo>
                  <a:lnTo>
                    <a:pt x="186" y="20"/>
                  </a:lnTo>
                  <a:lnTo>
                    <a:pt x="195" y="39"/>
                  </a:lnTo>
                  <a:lnTo>
                    <a:pt x="176" y="49"/>
                  </a:lnTo>
                  <a:lnTo>
                    <a:pt x="166" y="78"/>
                  </a:lnTo>
                  <a:lnTo>
                    <a:pt x="137" y="88"/>
                  </a:lnTo>
                  <a:lnTo>
                    <a:pt x="108" y="69"/>
                  </a:lnTo>
                  <a:lnTo>
                    <a:pt x="88" y="88"/>
                  </a:lnTo>
                  <a:lnTo>
                    <a:pt x="88" y="108"/>
                  </a:lnTo>
                  <a:lnTo>
                    <a:pt x="88" y="137"/>
                  </a:lnTo>
                  <a:lnTo>
                    <a:pt x="59" y="147"/>
                  </a:lnTo>
                  <a:lnTo>
                    <a:pt x="49" y="137"/>
                  </a:lnTo>
                  <a:lnTo>
                    <a:pt x="39" y="147"/>
                  </a:lnTo>
                  <a:lnTo>
                    <a:pt x="49" y="156"/>
                  </a:lnTo>
                  <a:lnTo>
                    <a:pt x="30" y="176"/>
                  </a:lnTo>
                  <a:lnTo>
                    <a:pt x="30" y="186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205"/>
                  </a:lnTo>
                  <a:lnTo>
                    <a:pt x="10" y="21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8" name="Freeform 175"/>
            <p:cNvSpPr>
              <a:spLocks/>
            </p:cNvSpPr>
            <p:nvPr/>
          </p:nvSpPr>
          <p:spPr bwMode="auto">
            <a:xfrm>
              <a:off x="2049" y="2651"/>
              <a:ext cx="597" cy="696"/>
            </a:xfrm>
            <a:custGeom>
              <a:avLst/>
              <a:gdLst/>
              <a:ahLst/>
              <a:cxnLst>
                <a:cxn ang="0">
                  <a:pos x="215" y="58"/>
                </a:cxn>
                <a:cxn ang="0">
                  <a:pos x="273" y="19"/>
                </a:cxn>
                <a:cxn ang="0">
                  <a:pos x="303" y="19"/>
                </a:cxn>
                <a:cxn ang="0">
                  <a:pos x="332" y="39"/>
                </a:cxn>
                <a:cxn ang="0">
                  <a:pos x="332" y="58"/>
                </a:cxn>
                <a:cxn ang="0">
                  <a:pos x="313" y="136"/>
                </a:cxn>
                <a:cxn ang="0">
                  <a:pos x="342" y="175"/>
                </a:cxn>
                <a:cxn ang="0">
                  <a:pos x="313" y="254"/>
                </a:cxn>
                <a:cxn ang="0">
                  <a:pos x="303" y="273"/>
                </a:cxn>
                <a:cxn ang="0">
                  <a:pos x="322" y="322"/>
                </a:cxn>
                <a:cxn ang="0">
                  <a:pos x="371" y="341"/>
                </a:cxn>
                <a:cxn ang="0">
                  <a:pos x="332" y="361"/>
                </a:cxn>
                <a:cxn ang="0">
                  <a:pos x="332" y="400"/>
                </a:cxn>
                <a:cxn ang="0">
                  <a:pos x="352" y="439"/>
                </a:cxn>
                <a:cxn ang="0">
                  <a:pos x="391" y="449"/>
                </a:cxn>
                <a:cxn ang="0">
                  <a:pos x="430" y="488"/>
                </a:cxn>
                <a:cxn ang="0">
                  <a:pos x="478" y="449"/>
                </a:cxn>
                <a:cxn ang="0">
                  <a:pos x="517" y="439"/>
                </a:cxn>
                <a:cxn ang="0">
                  <a:pos x="527" y="458"/>
                </a:cxn>
                <a:cxn ang="0">
                  <a:pos x="586" y="488"/>
                </a:cxn>
                <a:cxn ang="0">
                  <a:pos x="547" y="517"/>
                </a:cxn>
                <a:cxn ang="0">
                  <a:pos x="556" y="556"/>
                </a:cxn>
                <a:cxn ang="0">
                  <a:pos x="566" y="595"/>
                </a:cxn>
                <a:cxn ang="0">
                  <a:pos x="595" y="654"/>
                </a:cxn>
                <a:cxn ang="0">
                  <a:pos x="566" y="683"/>
                </a:cxn>
                <a:cxn ang="0">
                  <a:pos x="498" y="683"/>
                </a:cxn>
                <a:cxn ang="0">
                  <a:pos x="469" y="644"/>
                </a:cxn>
                <a:cxn ang="0">
                  <a:pos x="430" y="634"/>
                </a:cxn>
                <a:cxn ang="0">
                  <a:pos x="391" y="585"/>
                </a:cxn>
                <a:cxn ang="0">
                  <a:pos x="391" y="536"/>
                </a:cxn>
                <a:cxn ang="0">
                  <a:pos x="332" y="527"/>
                </a:cxn>
                <a:cxn ang="0">
                  <a:pos x="293" y="488"/>
                </a:cxn>
                <a:cxn ang="0">
                  <a:pos x="254" y="478"/>
                </a:cxn>
                <a:cxn ang="0">
                  <a:pos x="205" y="488"/>
                </a:cxn>
                <a:cxn ang="0">
                  <a:pos x="176" y="449"/>
                </a:cxn>
                <a:cxn ang="0">
                  <a:pos x="147" y="410"/>
                </a:cxn>
                <a:cxn ang="0">
                  <a:pos x="117" y="419"/>
                </a:cxn>
                <a:cxn ang="0">
                  <a:pos x="127" y="351"/>
                </a:cxn>
                <a:cxn ang="0">
                  <a:pos x="127" y="293"/>
                </a:cxn>
                <a:cxn ang="0">
                  <a:pos x="78" y="263"/>
                </a:cxn>
                <a:cxn ang="0">
                  <a:pos x="30" y="214"/>
                </a:cxn>
                <a:cxn ang="0">
                  <a:pos x="20" y="185"/>
                </a:cxn>
                <a:cxn ang="0">
                  <a:pos x="20" y="156"/>
                </a:cxn>
                <a:cxn ang="0">
                  <a:pos x="98" y="136"/>
                </a:cxn>
                <a:cxn ang="0">
                  <a:pos x="117" y="127"/>
                </a:cxn>
                <a:cxn ang="0">
                  <a:pos x="195" y="107"/>
                </a:cxn>
              </a:cxnLst>
              <a:rect l="0" t="0" r="r" b="b"/>
              <a:pathLst>
                <a:path w="595" h="693">
                  <a:moveTo>
                    <a:pt x="205" y="97"/>
                  </a:moveTo>
                  <a:lnTo>
                    <a:pt x="215" y="68"/>
                  </a:lnTo>
                  <a:lnTo>
                    <a:pt x="215" y="58"/>
                  </a:lnTo>
                  <a:lnTo>
                    <a:pt x="234" y="49"/>
                  </a:lnTo>
                  <a:lnTo>
                    <a:pt x="264" y="39"/>
                  </a:lnTo>
                  <a:lnTo>
                    <a:pt x="273" y="19"/>
                  </a:lnTo>
                  <a:lnTo>
                    <a:pt x="273" y="0"/>
                  </a:lnTo>
                  <a:lnTo>
                    <a:pt x="293" y="0"/>
                  </a:lnTo>
                  <a:lnTo>
                    <a:pt x="303" y="19"/>
                  </a:lnTo>
                  <a:lnTo>
                    <a:pt x="313" y="29"/>
                  </a:lnTo>
                  <a:lnTo>
                    <a:pt x="332" y="29"/>
                  </a:lnTo>
                  <a:lnTo>
                    <a:pt x="332" y="39"/>
                  </a:lnTo>
                  <a:lnTo>
                    <a:pt x="313" y="39"/>
                  </a:lnTo>
                  <a:lnTo>
                    <a:pt x="322" y="68"/>
                  </a:lnTo>
                  <a:lnTo>
                    <a:pt x="332" y="58"/>
                  </a:lnTo>
                  <a:lnTo>
                    <a:pt x="322" y="88"/>
                  </a:lnTo>
                  <a:lnTo>
                    <a:pt x="313" y="117"/>
                  </a:lnTo>
                  <a:lnTo>
                    <a:pt x="313" y="136"/>
                  </a:lnTo>
                  <a:lnTo>
                    <a:pt x="313" y="156"/>
                  </a:lnTo>
                  <a:lnTo>
                    <a:pt x="332" y="166"/>
                  </a:lnTo>
                  <a:lnTo>
                    <a:pt x="342" y="175"/>
                  </a:lnTo>
                  <a:lnTo>
                    <a:pt x="332" y="185"/>
                  </a:lnTo>
                  <a:lnTo>
                    <a:pt x="332" y="214"/>
                  </a:lnTo>
                  <a:lnTo>
                    <a:pt x="313" y="254"/>
                  </a:lnTo>
                  <a:lnTo>
                    <a:pt x="332" y="263"/>
                  </a:lnTo>
                  <a:lnTo>
                    <a:pt x="332" y="273"/>
                  </a:lnTo>
                  <a:lnTo>
                    <a:pt x="303" y="273"/>
                  </a:lnTo>
                  <a:lnTo>
                    <a:pt x="313" y="293"/>
                  </a:lnTo>
                  <a:lnTo>
                    <a:pt x="313" y="302"/>
                  </a:lnTo>
                  <a:lnTo>
                    <a:pt x="322" y="322"/>
                  </a:lnTo>
                  <a:lnTo>
                    <a:pt x="342" y="312"/>
                  </a:lnTo>
                  <a:lnTo>
                    <a:pt x="361" y="312"/>
                  </a:lnTo>
                  <a:lnTo>
                    <a:pt x="371" y="341"/>
                  </a:lnTo>
                  <a:lnTo>
                    <a:pt x="352" y="341"/>
                  </a:lnTo>
                  <a:lnTo>
                    <a:pt x="342" y="361"/>
                  </a:lnTo>
                  <a:lnTo>
                    <a:pt x="332" y="361"/>
                  </a:lnTo>
                  <a:lnTo>
                    <a:pt x="342" y="371"/>
                  </a:lnTo>
                  <a:lnTo>
                    <a:pt x="342" y="400"/>
                  </a:lnTo>
                  <a:lnTo>
                    <a:pt x="332" y="400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52" y="439"/>
                  </a:lnTo>
                  <a:lnTo>
                    <a:pt x="352" y="449"/>
                  </a:lnTo>
                  <a:lnTo>
                    <a:pt x="371" y="449"/>
                  </a:lnTo>
                  <a:lnTo>
                    <a:pt x="391" y="449"/>
                  </a:lnTo>
                  <a:lnTo>
                    <a:pt x="410" y="458"/>
                  </a:lnTo>
                  <a:lnTo>
                    <a:pt x="410" y="478"/>
                  </a:lnTo>
                  <a:lnTo>
                    <a:pt x="430" y="488"/>
                  </a:lnTo>
                  <a:lnTo>
                    <a:pt x="449" y="478"/>
                  </a:lnTo>
                  <a:lnTo>
                    <a:pt x="469" y="458"/>
                  </a:lnTo>
                  <a:lnTo>
                    <a:pt x="478" y="449"/>
                  </a:lnTo>
                  <a:lnTo>
                    <a:pt x="488" y="449"/>
                  </a:lnTo>
                  <a:lnTo>
                    <a:pt x="508" y="449"/>
                  </a:lnTo>
                  <a:lnTo>
                    <a:pt x="517" y="439"/>
                  </a:lnTo>
                  <a:lnTo>
                    <a:pt x="517" y="449"/>
                  </a:lnTo>
                  <a:lnTo>
                    <a:pt x="517" y="458"/>
                  </a:lnTo>
                  <a:lnTo>
                    <a:pt x="527" y="458"/>
                  </a:lnTo>
                  <a:lnTo>
                    <a:pt x="547" y="458"/>
                  </a:lnTo>
                  <a:lnTo>
                    <a:pt x="566" y="468"/>
                  </a:lnTo>
                  <a:lnTo>
                    <a:pt x="586" y="488"/>
                  </a:lnTo>
                  <a:lnTo>
                    <a:pt x="586" y="497"/>
                  </a:lnTo>
                  <a:lnTo>
                    <a:pt x="556" y="507"/>
                  </a:lnTo>
                  <a:lnTo>
                    <a:pt x="547" y="517"/>
                  </a:lnTo>
                  <a:lnTo>
                    <a:pt x="556" y="527"/>
                  </a:lnTo>
                  <a:lnTo>
                    <a:pt x="547" y="546"/>
                  </a:lnTo>
                  <a:lnTo>
                    <a:pt x="556" y="556"/>
                  </a:lnTo>
                  <a:lnTo>
                    <a:pt x="566" y="575"/>
                  </a:lnTo>
                  <a:lnTo>
                    <a:pt x="556" y="585"/>
                  </a:lnTo>
                  <a:lnTo>
                    <a:pt x="566" y="595"/>
                  </a:lnTo>
                  <a:lnTo>
                    <a:pt x="566" y="605"/>
                  </a:lnTo>
                  <a:lnTo>
                    <a:pt x="586" y="634"/>
                  </a:lnTo>
                  <a:lnTo>
                    <a:pt x="595" y="654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66" y="683"/>
                  </a:lnTo>
                  <a:lnTo>
                    <a:pt x="547" y="693"/>
                  </a:lnTo>
                  <a:lnTo>
                    <a:pt x="527" y="693"/>
                  </a:lnTo>
                  <a:lnTo>
                    <a:pt x="498" y="683"/>
                  </a:lnTo>
                  <a:lnTo>
                    <a:pt x="488" y="663"/>
                  </a:lnTo>
                  <a:lnTo>
                    <a:pt x="478" y="634"/>
                  </a:lnTo>
                  <a:lnTo>
                    <a:pt x="469" y="644"/>
                  </a:lnTo>
                  <a:lnTo>
                    <a:pt x="449" y="654"/>
                  </a:lnTo>
                  <a:lnTo>
                    <a:pt x="420" y="654"/>
                  </a:lnTo>
                  <a:lnTo>
                    <a:pt x="430" y="634"/>
                  </a:lnTo>
                  <a:lnTo>
                    <a:pt x="400" y="615"/>
                  </a:lnTo>
                  <a:lnTo>
                    <a:pt x="391" y="595"/>
                  </a:lnTo>
                  <a:lnTo>
                    <a:pt x="391" y="585"/>
                  </a:lnTo>
                  <a:lnTo>
                    <a:pt x="391" y="575"/>
                  </a:lnTo>
                  <a:lnTo>
                    <a:pt x="400" y="556"/>
                  </a:lnTo>
                  <a:lnTo>
                    <a:pt x="391" y="536"/>
                  </a:lnTo>
                  <a:lnTo>
                    <a:pt x="361" y="517"/>
                  </a:lnTo>
                  <a:lnTo>
                    <a:pt x="342" y="527"/>
                  </a:lnTo>
                  <a:lnTo>
                    <a:pt x="332" y="527"/>
                  </a:lnTo>
                  <a:lnTo>
                    <a:pt x="313" y="517"/>
                  </a:lnTo>
                  <a:lnTo>
                    <a:pt x="322" y="497"/>
                  </a:lnTo>
                  <a:lnTo>
                    <a:pt x="293" y="488"/>
                  </a:lnTo>
                  <a:lnTo>
                    <a:pt x="273" y="488"/>
                  </a:lnTo>
                  <a:lnTo>
                    <a:pt x="273" y="468"/>
                  </a:lnTo>
                  <a:lnTo>
                    <a:pt x="254" y="478"/>
                  </a:lnTo>
                  <a:lnTo>
                    <a:pt x="244" y="468"/>
                  </a:lnTo>
                  <a:lnTo>
                    <a:pt x="234" y="478"/>
                  </a:lnTo>
                  <a:lnTo>
                    <a:pt x="205" y="488"/>
                  </a:lnTo>
                  <a:lnTo>
                    <a:pt x="186" y="468"/>
                  </a:lnTo>
                  <a:lnTo>
                    <a:pt x="186" y="458"/>
                  </a:lnTo>
                  <a:lnTo>
                    <a:pt x="176" y="449"/>
                  </a:lnTo>
                  <a:lnTo>
                    <a:pt x="176" y="390"/>
                  </a:lnTo>
                  <a:lnTo>
                    <a:pt x="166" y="390"/>
                  </a:lnTo>
                  <a:lnTo>
                    <a:pt x="147" y="410"/>
                  </a:lnTo>
                  <a:lnTo>
                    <a:pt x="137" y="419"/>
                  </a:lnTo>
                  <a:lnTo>
                    <a:pt x="117" y="429"/>
                  </a:lnTo>
                  <a:lnTo>
                    <a:pt x="117" y="419"/>
                  </a:lnTo>
                  <a:lnTo>
                    <a:pt x="127" y="410"/>
                  </a:lnTo>
                  <a:lnTo>
                    <a:pt x="127" y="390"/>
                  </a:lnTo>
                  <a:lnTo>
                    <a:pt x="127" y="351"/>
                  </a:lnTo>
                  <a:lnTo>
                    <a:pt x="117" y="341"/>
                  </a:lnTo>
                  <a:lnTo>
                    <a:pt x="127" y="312"/>
                  </a:lnTo>
                  <a:lnTo>
                    <a:pt x="127" y="293"/>
                  </a:lnTo>
                  <a:lnTo>
                    <a:pt x="108" y="283"/>
                  </a:lnTo>
                  <a:lnTo>
                    <a:pt x="88" y="263"/>
                  </a:lnTo>
                  <a:lnTo>
                    <a:pt x="78" y="263"/>
                  </a:lnTo>
                  <a:lnTo>
                    <a:pt x="78" y="224"/>
                  </a:lnTo>
                  <a:lnTo>
                    <a:pt x="49" y="214"/>
                  </a:lnTo>
                  <a:lnTo>
                    <a:pt x="30" y="214"/>
                  </a:lnTo>
                  <a:lnTo>
                    <a:pt x="20" y="214"/>
                  </a:lnTo>
                  <a:lnTo>
                    <a:pt x="0" y="205"/>
                  </a:lnTo>
                  <a:lnTo>
                    <a:pt x="20" y="185"/>
                  </a:lnTo>
                  <a:lnTo>
                    <a:pt x="0" y="166"/>
                  </a:lnTo>
                  <a:lnTo>
                    <a:pt x="0" y="156"/>
                  </a:lnTo>
                  <a:lnTo>
                    <a:pt x="20" y="156"/>
                  </a:lnTo>
                  <a:lnTo>
                    <a:pt x="49" y="156"/>
                  </a:lnTo>
                  <a:lnTo>
                    <a:pt x="78" y="156"/>
                  </a:lnTo>
                  <a:lnTo>
                    <a:pt x="98" y="136"/>
                  </a:lnTo>
                  <a:lnTo>
                    <a:pt x="98" y="127"/>
                  </a:lnTo>
                  <a:lnTo>
                    <a:pt x="108" y="117"/>
                  </a:lnTo>
                  <a:lnTo>
                    <a:pt x="117" y="127"/>
                  </a:lnTo>
                  <a:lnTo>
                    <a:pt x="137" y="107"/>
                  </a:lnTo>
                  <a:lnTo>
                    <a:pt x="166" y="107"/>
                  </a:lnTo>
                  <a:lnTo>
                    <a:pt x="195" y="107"/>
                  </a:lnTo>
                  <a:lnTo>
                    <a:pt x="205" y="9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Freeform 174"/>
            <p:cNvSpPr>
              <a:spLocks/>
            </p:cNvSpPr>
            <p:nvPr/>
          </p:nvSpPr>
          <p:spPr bwMode="auto">
            <a:xfrm>
              <a:off x="2908" y="2858"/>
              <a:ext cx="430" cy="324"/>
            </a:xfrm>
            <a:custGeom>
              <a:avLst/>
              <a:gdLst/>
              <a:ahLst/>
              <a:cxnLst>
                <a:cxn ang="0">
                  <a:pos x="78" y="88"/>
                </a:cxn>
                <a:cxn ang="0">
                  <a:pos x="39" y="97"/>
                </a:cxn>
                <a:cxn ang="0">
                  <a:pos x="10" y="107"/>
                </a:cxn>
                <a:cxn ang="0">
                  <a:pos x="0" y="136"/>
                </a:cxn>
                <a:cxn ang="0">
                  <a:pos x="19" y="156"/>
                </a:cxn>
                <a:cxn ang="0">
                  <a:pos x="49" y="175"/>
                </a:cxn>
                <a:cxn ang="0">
                  <a:pos x="49" y="205"/>
                </a:cxn>
                <a:cxn ang="0">
                  <a:pos x="39" y="214"/>
                </a:cxn>
                <a:cxn ang="0">
                  <a:pos x="58" y="253"/>
                </a:cxn>
                <a:cxn ang="0">
                  <a:pos x="78" y="263"/>
                </a:cxn>
                <a:cxn ang="0">
                  <a:pos x="107" y="263"/>
                </a:cxn>
                <a:cxn ang="0">
                  <a:pos x="146" y="273"/>
                </a:cxn>
                <a:cxn ang="0">
                  <a:pos x="156" y="292"/>
                </a:cxn>
                <a:cxn ang="0">
                  <a:pos x="185" y="273"/>
                </a:cxn>
                <a:cxn ang="0">
                  <a:pos x="214" y="273"/>
                </a:cxn>
                <a:cxn ang="0">
                  <a:pos x="234" y="292"/>
                </a:cxn>
                <a:cxn ang="0">
                  <a:pos x="263" y="292"/>
                </a:cxn>
                <a:cxn ang="0">
                  <a:pos x="312" y="302"/>
                </a:cxn>
                <a:cxn ang="0">
                  <a:pos x="341" y="312"/>
                </a:cxn>
                <a:cxn ang="0">
                  <a:pos x="370" y="322"/>
                </a:cxn>
                <a:cxn ang="0">
                  <a:pos x="380" y="292"/>
                </a:cxn>
                <a:cxn ang="0">
                  <a:pos x="409" y="312"/>
                </a:cxn>
                <a:cxn ang="0">
                  <a:pos x="419" y="273"/>
                </a:cxn>
                <a:cxn ang="0">
                  <a:pos x="409" y="234"/>
                </a:cxn>
                <a:cxn ang="0">
                  <a:pos x="370" y="224"/>
                </a:cxn>
                <a:cxn ang="0">
                  <a:pos x="351" y="205"/>
                </a:cxn>
                <a:cxn ang="0">
                  <a:pos x="322" y="166"/>
                </a:cxn>
                <a:cxn ang="0">
                  <a:pos x="292" y="117"/>
                </a:cxn>
                <a:cxn ang="0">
                  <a:pos x="263" y="78"/>
                </a:cxn>
                <a:cxn ang="0">
                  <a:pos x="283" y="39"/>
                </a:cxn>
                <a:cxn ang="0">
                  <a:pos x="263" y="29"/>
                </a:cxn>
                <a:cxn ang="0">
                  <a:pos x="214" y="49"/>
                </a:cxn>
                <a:cxn ang="0">
                  <a:pos x="195" y="39"/>
                </a:cxn>
                <a:cxn ang="0">
                  <a:pos x="175" y="19"/>
                </a:cxn>
                <a:cxn ang="0">
                  <a:pos x="127" y="0"/>
                </a:cxn>
                <a:cxn ang="0">
                  <a:pos x="88" y="9"/>
                </a:cxn>
                <a:cxn ang="0">
                  <a:pos x="88" y="39"/>
                </a:cxn>
                <a:cxn ang="0">
                  <a:pos x="78" y="68"/>
                </a:cxn>
              </a:cxnLst>
              <a:rect l="0" t="0" r="r" b="b"/>
              <a:pathLst>
                <a:path w="429" h="322">
                  <a:moveTo>
                    <a:pt x="78" y="68"/>
                  </a:moveTo>
                  <a:lnTo>
                    <a:pt x="78" y="88"/>
                  </a:lnTo>
                  <a:lnTo>
                    <a:pt x="49" y="88"/>
                  </a:lnTo>
                  <a:lnTo>
                    <a:pt x="39" y="97"/>
                  </a:lnTo>
                  <a:lnTo>
                    <a:pt x="29" y="117"/>
                  </a:lnTo>
                  <a:lnTo>
                    <a:pt x="10" y="107"/>
                  </a:lnTo>
                  <a:lnTo>
                    <a:pt x="10" y="127"/>
                  </a:lnTo>
                  <a:lnTo>
                    <a:pt x="0" y="136"/>
                  </a:lnTo>
                  <a:lnTo>
                    <a:pt x="0" y="156"/>
                  </a:lnTo>
                  <a:lnTo>
                    <a:pt x="19" y="156"/>
                  </a:lnTo>
                  <a:lnTo>
                    <a:pt x="29" y="175"/>
                  </a:lnTo>
                  <a:lnTo>
                    <a:pt x="49" y="175"/>
                  </a:lnTo>
                  <a:lnTo>
                    <a:pt x="58" y="185"/>
                  </a:lnTo>
                  <a:lnTo>
                    <a:pt x="49" y="205"/>
                  </a:lnTo>
                  <a:lnTo>
                    <a:pt x="39" y="205"/>
                  </a:lnTo>
                  <a:lnTo>
                    <a:pt x="39" y="214"/>
                  </a:lnTo>
                  <a:lnTo>
                    <a:pt x="49" y="244"/>
                  </a:lnTo>
                  <a:lnTo>
                    <a:pt x="58" y="253"/>
                  </a:lnTo>
                  <a:lnTo>
                    <a:pt x="68" y="273"/>
                  </a:lnTo>
                  <a:lnTo>
                    <a:pt x="78" y="263"/>
                  </a:lnTo>
                  <a:lnTo>
                    <a:pt x="97" y="253"/>
                  </a:lnTo>
                  <a:lnTo>
                    <a:pt x="107" y="263"/>
                  </a:lnTo>
                  <a:lnTo>
                    <a:pt x="127" y="273"/>
                  </a:lnTo>
                  <a:lnTo>
                    <a:pt x="146" y="273"/>
                  </a:lnTo>
                  <a:lnTo>
                    <a:pt x="156" y="283"/>
                  </a:lnTo>
                  <a:lnTo>
                    <a:pt x="156" y="292"/>
                  </a:lnTo>
                  <a:lnTo>
                    <a:pt x="166" y="273"/>
                  </a:lnTo>
                  <a:lnTo>
                    <a:pt x="185" y="273"/>
                  </a:lnTo>
                  <a:lnTo>
                    <a:pt x="205" y="283"/>
                  </a:lnTo>
                  <a:lnTo>
                    <a:pt x="214" y="273"/>
                  </a:lnTo>
                  <a:lnTo>
                    <a:pt x="224" y="283"/>
                  </a:lnTo>
                  <a:lnTo>
                    <a:pt x="234" y="292"/>
                  </a:lnTo>
                  <a:lnTo>
                    <a:pt x="253" y="292"/>
                  </a:lnTo>
                  <a:lnTo>
                    <a:pt x="263" y="292"/>
                  </a:lnTo>
                  <a:lnTo>
                    <a:pt x="292" y="302"/>
                  </a:lnTo>
                  <a:lnTo>
                    <a:pt x="312" y="302"/>
                  </a:lnTo>
                  <a:lnTo>
                    <a:pt x="331" y="312"/>
                  </a:lnTo>
                  <a:lnTo>
                    <a:pt x="341" y="312"/>
                  </a:lnTo>
                  <a:lnTo>
                    <a:pt x="351" y="312"/>
                  </a:lnTo>
                  <a:lnTo>
                    <a:pt x="370" y="322"/>
                  </a:lnTo>
                  <a:lnTo>
                    <a:pt x="380" y="312"/>
                  </a:lnTo>
                  <a:lnTo>
                    <a:pt x="380" y="292"/>
                  </a:lnTo>
                  <a:lnTo>
                    <a:pt x="390" y="292"/>
                  </a:lnTo>
                  <a:lnTo>
                    <a:pt x="409" y="312"/>
                  </a:lnTo>
                  <a:lnTo>
                    <a:pt x="429" y="302"/>
                  </a:lnTo>
                  <a:lnTo>
                    <a:pt x="419" y="273"/>
                  </a:lnTo>
                  <a:lnTo>
                    <a:pt x="409" y="253"/>
                  </a:lnTo>
                  <a:lnTo>
                    <a:pt x="409" y="234"/>
                  </a:lnTo>
                  <a:lnTo>
                    <a:pt x="390" y="244"/>
                  </a:lnTo>
                  <a:lnTo>
                    <a:pt x="370" y="224"/>
                  </a:lnTo>
                  <a:lnTo>
                    <a:pt x="351" y="214"/>
                  </a:lnTo>
                  <a:lnTo>
                    <a:pt x="351" y="205"/>
                  </a:lnTo>
                  <a:lnTo>
                    <a:pt x="341" y="175"/>
                  </a:lnTo>
                  <a:lnTo>
                    <a:pt x="322" y="166"/>
                  </a:lnTo>
                  <a:lnTo>
                    <a:pt x="292" y="146"/>
                  </a:lnTo>
                  <a:lnTo>
                    <a:pt x="292" y="117"/>
                  </a:lnTo>
                  <a:lnTo>
                    <a:pt x="273" y="97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39"/>
                  </a:lnTo>
                  <a:lnTo>
                    <a:pt x="283" y="19"/>
                  </a:lnTo>
                  <a:lnTo>
                    <a:pt x="263" y="29"/>
                  </a:lnTo>
                  <a:lnTo>
                    <a:pt x="224" y="39"/>
                  </a:lnTo>
                  <a:lnTo>
                    <a:pt x="214" y="49"/>
                  </a:lnTo>
                  <a:lnTo>
                    <a:pt x="205" y="49"/>
                  </a:lnTo>
                  <a:lnTo>
                    <a:pt x="195" y="39"/>
                  </a:lnTo>
                  <a:lnTo>
                    <a:pt x="195" y="19"/>
                  </a:lnTo>
                  <a:lnTo>
                    <a:pt x="175" y="19"/>
                  </a:lnTo>
                  <a:lnTo>
                    <a:pt x="156" y="0"/>
                  </a:lnTo>
                  <a:lnTo>
                    <a:pt x="127" y="0"/>
                  </a:lnTo>
                  <a:lnTo>
                    <a:pt x="107" y="9"/>
                  </a:lnTo>
                  <a:lnTo>
                    <a:pt x="88" y="9"/>
                  </a:lnTo>
                  <a:lnTo>
                    <a:pt x="78" y="29"/>
                  </a:lnTo>
                  <a:lnTo>
                    <a:pt x="88" y="39"/>
                  </a:lnTo>
                  <a:lnTo>
                    <a:pt x="78" y="49"/>
                  </a:lnTo>
                  <a:lnTo>
                    <a:pt x="78" y="6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0" name="Freeform 173"/>
            <p:cNvSpPr>
              <a:spLocks/>
            </p:cNvSpPr>
            <p:nvPr/>
          </p:nvSpPr>
          <p:spPr bwMode="auto">
            <a:xfrm>
              <a:off x="2734" y="2235"/>
              <a:ext cx="612" cy="672"/>
            </a:xfrm>
            <a:custGeom>
              <a:avLst/>
              <a:gdLst/>
              <a:ahLst/>
              <a:cxnLst>
                <a:cxn ang="0">
                  <a:pos x="615" y="517"/>
                </a:cxn>
                <a:cxn ang="0">
                  <a:pos x="605" y="576"/>
                </a:cxn>
                <a:cxn ang="0">
                  <a:pos x="546" y="576"/>
                </a:cxn>
                <a:cxn ang="0">
                  <a:pos x="488" y="605"/>
                </a:cxn>
                <a:cxn ang="0">
                  <a:pos x="488" y="644"/>
                </a:cxn>
                <a:cxn ang="0">
                  <a:pos x="439" y="654"/>
                </a:cxn>
                <a:cxn ang="0">
                  <a:pos x="390" y="674"/>
                </a:cxn>
                <a:cxn ang="0">
                  <a:pos x="371" y="664"/>
                </a:cxn>
                <a:cxn ang="0">
                  <a:pos x="351" y="634"/>
                </a:cxn>
                <a:cxn ang="0">
                  <a:pos x="303" y="615"/>
                </a:cxn>
                <a:cxn ang="0">
                  <a:pos x="264" y="634"/>
                </a:cxn>
                <a:cxn ang="0">
                  <a:pos x="244" y="595"/>
                </a:cxn>
                <a:cxn ang="0">
                  <a:pos x="205" y="586"/>
                </a:cxn>
                <a:cxn ang="0">
                  <a:pos x="156" y="556"/>
                </a:cxn>
                <a:cxn ang="0">
                  <a:pos x="107" y="517"/>
                </a:cxn>
                <a:cxn ang="0">
                  <a:pos x="78" y="527"/>
                </a:cxn>
                <a:cxn ang="0">
                  <a:pos x="59" y="508"/>
                </a:cxn>
                <a:cxn ang="0">
                  <a:pos x="39" y="488"/>
                </a:cxn>
                <a:cxn ang="0">
                  <a:pos x="10" y="469"/>
                </a:cxn>
                <a:cxn ang="0">
                  <a:pos x="10" y="430"/>
                </a:cxn>
                <a:cxn ang="0">
                  <a:pos x="39" y="400"/>
                </a:cxn>
                <a:cxn ang="0">
                  <a:pos x="68" y="391"/>
                </a:cxn>
                <a:cxn ang="0">
                  <a:pos x="98" y="400"/>
                </a:cxn>
                <a:cxn ang="0">
                  <a:pos x="127" y="361"/>
                </a:cxn>
                <a:cxn ang="0">
                  <a:pos x="156" y="342"/>
                </a:cxn>
                <a:cxn ang="0">
                  <a:pos x="166" y="361"/>
                </a:cxn>
                <a:cxn ang="0">
                  <a:pos x="195" y="361"/>
                </a:cxn>
                <a:cxn ang="0">
                  <a:pos x="215" y="322"/>
                </a:cxn>
                <a:cxn ang="0">
                  <a:pos x="254" y="332"/>
                </a:cxn>
                <a:cxn ang="0">
                  <a:pos x="293" y="293"/>
                </a:cxn>
                <a:cxn ang="0">
                  <a:pos x="273" y="273"/>
                </a:cxn>
                <a:cxn ang="0">
                  <a:pos x="303" y="215"/>
                </a:cxn>
                <a:cxn ang="0">
                  <a:pos x="322" y="176"/>
                </a:cxn>
                <a:cxn ang="0">
                  <a:pos x="381" y="137"/>
                </a:cxn>
                <a:cxn ang="0">
                  <a:pos x="439" y="88"/>
                </a:cxn>
                <a:cxn ang="0">
                  <a:pos x="459" y="49"/>
                </a:cxn>
                <a:cxn ang="0">
                  <a:pos x="478" y="20"/>
                </a:cxn>
                <a:cxn ang="0">
                  <a:pos x="507" y="0"/>
                </a:cxn>
                <a:cxn ang="0">
                  <a:pos x="517" y="20"/>
                </a:cxn>
                <a:cxn ang="0">
                  <a:pos x="546" y="49"/>
                </a:cxn>
                <a:cxn ang="0">
                  <a:pos x="605" y="137"/>
                </a:cxn>
                <a:cxn ang="0">
                  <a:pos x="605" y="186"/>
                </a:cxn>
                <a:cxn ang="0">
                  <a:pos x="595" y="225"/>
                </a:cxn>
                <a:cxn ang="0">
                  <a:pos x="595" y="293"/>
                </a:cxn>
                <a:cxn ang="0">
                  <a:pos x="566" y="361"/>
                </a:cxn>
                <a:cxn ang="0">
                  <a:pos x="615" y="410"/>
                </a:cxn>
                <a:cxn ang="0">
                  <a:pos x="605" y="459"/>
                </a:cxn>
              </a:cxnLst>
              <a:rect l="0" t="0" r="r" b="b"/>
              <a:pathLst>
                <a:path w="615" h="674">
                  <a:moveTo>
                    <a:pt x="615" y="498"/>
                  </a:moveTo>
                  <a:lnTo>
                    <a:pt x="615" y="517"/>
                  </a:lnTo>
                  <a:lnTo>
                    <a:pt x="605" y="547"/>
                  </a:lnTo>
                  <a:lnTo>
                    <a:pt x="605" y="576"/>
                  </a:lnTo>
                  <a:lnTo>
                    <a:pt x="566" y="586"/>
                  </a:lnTo>
                  <a:lnTo>
                    <a:pt x="546" y="576"/>
                  </a:lnTo>
                  <a:lnTo>
                    <a:pt x="498" y="576"/>
                  </a:lnTo>
                  <a:lnTo>
                    <a:pt x="488" y="605"/>
                  </a:lnTo>
                  <a:lnTo>
                    <a:pt x="488" y="625"/>
                  </a:lnTo>
                  <a:lnTo>
                    <a:pt x="488" y="644"/>
                  </a:lnTo>
                  <a:lnTo>
                    <a:pt x="449" y="644"/>
                  </a:lnTo>
                  <a:lnTo>
                    <a:pt x="439" y="654"/>
                  </a:lnTo>
                  <a:lnTo>
                    <a:pt x="400" y="664"/>
                  </a:lnTo>
                  <a:lnTo>
                    <a:pt x="390" y="674"/>
                  </a:lnTo>
                  <a:lnTo>
                    <a:pt x="381" y="674"/>
                  </a:lnTo>
                  <a:lnTo>
                    <a:pt x="371" y="664"/>
                  </a:lnTo>
                  <a:lnTo>
                    <a:pt x="371" y="644"/>
                  </a:lnTo>
                  <a:lnTo>
                    <a:pt x="351" y="634"/>
                  </a:lnTo>
                  <a:lnTo>
                    <a:pt x="322" y="625"/>
                  </a:lnTo>
                  <a:lnTo>
                    <a:pt x="303" y="615"/>
                  </a:lnTo>
                  <a:lnTo>
                    <a:pt x="283" y="625"/>
                  </a:lnTo>
                  <a:lnTo>
                    <a:pt x="264" y="634"/>
                  </a:lnTo>
                  <a:lnTo>
                    <a:pt x="254" y="615"/>
                  </a:lnTo>
                  <a:lnTo>
                    <a:pt x="244" y="595"/>
                  </a:lnTo>
                  <a:lnTo>
                    <a:pt x="225" y="576"/>
                  </a:lnTo>
                  <a:lnTo>
                    <a:pt x="205" y="586"/>
                  </a:lnTo>
                  <a:lnTo>
                    <a:pt x="195" y="586"/>
                  </a:lnTo>
                  <a:lnTo>
                    <a:pt x="156" y="556"/>
                  </a:lnTo>
                  <a:lnTo>
                    <a:pt x="127" y="537"/>
                  </a:lnTo>
                  <a:lnTo>
                    <a:pt x="107" y="517"/>
                  </a:lnTo>
                  <a:lnTo>
                    <a:pt x="88" y="527"/>
                  </a:lnTo>
                  <a:lnTo>
                    <a:pt x="78" y="527"/>
                  </a:lnTo>
                  <a:lnTo>
                    <a:pt x="78" y="517"/>
                  </a:lnTo>
                  <a:lnTo>
                    <a:pt x="59" y="508"/>
                  </a:lnTo>
                  <a:lnTo>
                    <a:pt x="39" y="498"/>
                  </a:lnTo>
                  <a:lnTo>
                    <a:pt x="39" y="488"/>
                  </a:lnTo>
                  <a:lnTo>
                    <a:pt x="20" y="469"/>
                  </a:lnTo>
                  <a:lnTo>
                    <a:pt x="10" y="469"/>
                  </a:lnTo>
                  <a:lnTo>
                    <a:pt x="0" y="449"/>
                  </a:lnTo>
                  <a:lnTo>
                    <a:pt x="10" y="430"/>
                  </a:lnTo>
                  <a:lnTo>
                    <a:pt x="29" y="420"/>
                  </a:lnTo>
                  <a:lnTo>
                    <a:pt x="39" y="400"/>
                  </a:lnTo>
                  <a:lnTo>
                    <a:pt x="49" y="391"/>
                  </a:lnTo>
                  <a:lnTo>
                    <a:pt x="68" y="391"/>
                  </a:lnTo>
                  <a:lnTo>
                    <a:pt x="68" y="400"/>
                  </a:lnTo>
                  <a:lnTo>
                    <a:pt x="98" y="400"/>
                  </a:lnTo>
                  <a:lnTo>
                    <a:pt x="107" y="391"/>
                  </a:lnTo>
                  <a:lnTo>
                    <a:pt x="127" y="361"/>
                  </a:lnTo>
                  <a:lnTo>
                    <a:pt x="146" y="352"/>
                  </a:lnTo>
                  <a:lnTo>
                    <a:pt x="156" y="342"/>
                  </a:lnTo>
                  <a:lnTo>
                    <a:pt x="166" y="352"/>
                  </a:lnTo>
                  <a:lnTo>
                    <a:pt x="166" y="361"/>
                  </a:lnTo>
                  <a:lnTo>
                    <a:pt x="186" y="371"/>
                  </a:lnTo>
                  <a:lnTo>
                    <a:pt x="195" y="361"/>
                  </a:lnTo>
                  <a:lnTo>
                    <a:pt x="205" y="342"/>
                  </a:lnTo>
                  <a:lnTo>
                    <a:pt x="215" y="322"/>
                  </a:lnTo>
                  <a:lnTo>
                    <a:pt x="244" y="322"/>
                  </a:lnTo>
                  <a:lnTo>
                    <a:pt x="254" y="332"/>
                  </a:lnTo>
                  <a:lnTo>
                    <a:pt x="273" y="313"/>
                  </a:lnTo>
                  <a:lnTo>
                    <a:pt x="293" y="293"/>
                  </a:lnTo>
                  <a:lnTo>
                    <a:pt x="283" y="293"/>
                  </a:lnTo>
                  <a:lnTo>
                    <a:pt x="273" y="273"/>
                  </a:lnTo>
                  <a:lnTo>
                    <a:pt x="303" y="234"/>
                  </a:lnTo>
                  <a:lnTo>
                    <a:pt x="303" y="215"/>
                  </a:lnTo>
                  <a:lnTo>
                    <a:pt x="303" y="195"/>
                  </a:lnTo>
                  <a:lnTo>
                    <a:pt x="322" y="176"/>
                  </a:lnTo>
                  <a:lnTo>
                    <a:pt x="351" y="156"/>
                  </a:lnTo>
                  <a:lnTo>
                    <a:pt x="381" y="137"/>
                  </a:lnTo>
                  <a:lnTo>
                    <a:pt x="420" y="127"/>
                  </a:lnTo>
                  <a:lnTo>
                    <a:pt x="439" y="88"/>
                  </a:lnTo>
                  <a:lnTo>
                    <a:pt x="449" y="59"/>
                  </a:lnTo>
                  <a:lnTo>
                    <a:pt x="459" y="49"/>
                  </a:lnTo>
                  <a:lnTo>
                    <a:pt x="478" y="30"/>
                  </a:lnTo>
                  <a:lnTo>
                    <a:pt x="478" y="20"/>
                  </a:lnTo>
                  <a:lnTo>
                    <a:pt x="507" y="0"/>
                  </a:lnTo>
                  <a:lnTo>
                    <a:pt x="517" y="0"/>
                  </a:lnTo>
                  <a:lnTo>
                    <a:pt x="517" y="20"/>
                  </a:lnTo>
                  <a:lnTo>
                    <a:pt x="517" y="39"/>
                  </a:lnTo>
                  <a:lnTo>
                    <a:pt x="546" y="49"/>
                  </a:lnTo>
                  <a:lnTo>
                    <a:pt x="585" y="88"/>
                  </a:lnTo>
                  <a:lnTo>
                    <a:pt x="605" y="137"/>
                  </a:lnTo>
                  <a:lnTo>
                    <a:pt x="605" y="156"/>
                  </a:lnTo>
                  <a:lnTo>
                    <a:pt x="605" y="186"/>
                  </a:lnTo>
                  <a:lnTo>
                    <a:pt x="595" y="215"/>
                  </a:lnTo>
                  <a:lnTo>
                    <a:pt x="595" y="225"/>
                  </a:lnTo>
                  <a:lnTo>
                    <a:pt x="585" y="264"/>
                  </a:lnTo>
                  <a:lnTo>
                    <a:pt x="595" y="293"/>
                  </a:lnTo>
                  <a:lnTo>
                    <a:pt x="576" y="332"/>
                  </a:lnTo>
                  <a:lnTo>
                    <a:pt x="566" y="361"/>
                  </a:lnTo>
                  <a:lnTo>
                    <a:pt x="585" y="391"/>
                  </a:lnTo>
                  <a:lnTo>
                    <a:pt x="615" y="410"/>
                  </a:lnTo>
                  <a:lnTo>
                    <a:pt x="615" y="420"/>
                  </a:lnTo>
                  <a:lnTo>
                    <a:pt x="605" y="459"/>
                  </a:lnTo>
                  <a:lnTo>
                    <a:pt x="615" y="49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Freeform 172"/>
            <p:cNvSpPr>
              <a:spLocks/>
            </p:cNvSpPr>
            <p:nvPr/>
          </p:nvSpPr>
          <p:spPr bwMode="auto">
            <a:xfrm>
              <a:off x="2598" y="2167"/>
              <a:ext cx="609" cy="517"/>
            </a:xfrm>
            <a:custGeom>
              <a:avLst/>
              <a:gdLst>
                <a:gd name="T0" fmla="*/ 0 w 614"/>
                <a:gd name="T1" fmla="*/ 361 h 517"/>
                <a:gd name="T2" fmla="*/ 19 w 614"/>
                <a:gd name="T3" fmla="*/ 351 h 517"/>
                <a:gd name="T4" fmla="*/ 58 w 614"/>
                <a:gd name="T5" fmla="*/ 332 h 517"/>
                <a:gd name="T6" fmla="*/ 58 w 614"/>
                <a:gd name="T7" fmla="*/ 293 h 517"/>
                <a:gd name="T8" fmla="*/ 117 w 614"/>
                <a:gd name="T9" fmla="*/ 224 h 517"/>
                <a:gd name="T10" fmla="*/ 136 w 614"/>
                <a:gd name="T11" fmla="*/ 185 h 517"/>
                <a:gd name="T12" fmla="*/ 156 w 614"/>
                <a:gd name="T13" fmla="*/ 195 h 517"/>
                <a:gd name="T14" fmla="*/ 195 w 614"/>
                <a:gd name="T15" fmla="*/ 205 h 517"/>
                <a:gd name="T16" fmla="*/ 204 w 614"/>
                <a:gd name="T17" fmla="*/ 195 h 517"/>
                <a:gd name="T18" fmla="*/ 253 w 614"/>
                <a:gd name="T19" fmla="*/ 215 h 517"/>
                <a:gd name="T20" fmla="*/ 282 w 614"/>
                <a:gd name="T21" fmla="*/ 224 h 517"/>
                <a:gd name="T22" fmla="*/ 302 w 614"/>
                <a:gd name="T23" fmla="*/ 205 h 517"/>
                <a:gd name="T24" fmla="*/ 273 w 614"/>
                <a:gd name="T25" fmla="*/ 185 h 517"/>
                <a:gd name="T26" fmla="*/ 282 w 614"/>
                <a:gd name="T27" fmla="*/ 156 h 517"/>
                <a:gd name="T28" fmla="*/ 292 w 614"/>
                <a:gd name="T29" fmla="*/ 146 h 517"/>
                <a:gd name="T30" fmla="*/ 302 w 614"/>
                <a:gd name="T31" fmla="*/ 137 h 517"/>
                <a:gd name="T32" fmla="*/ 307 w 614"/>
                <a:gd name="T33" fmla="*/ 107 h 517"/>
                <a:gd name="T34" fmla="*/ 311 w 614"/>
                <a:gd name="T35" fmla="*/ 107 h 517"/>
                <a:gd name="T36" fmla="*/ 330 w 614"/>
                <a:gd name="T37" fmla="*/ 88 h 517"/>
                <a:gd name="T38" fmla="*/ 330 w 614"/>
                <a:gd name="T39" fmla="*/ 68 h 517"/>
                <a:gd name="T40" fmla="*/ 330 w 614"/>
                <a:gd name="T41" fmla="*/ 49 h 517"/>
                <a:gd name="T42" fmla="*/ 350 w 614"/>
                <a:gd name="T43" fmla="*/ 29 h 517"/>
                <a:gd name="T44" fmla="*/ 389 w 614"/>
                <a:gd name="T45" fmla="*/ 0 h 517"/>
                <a:gd name="T46" fmla="*/ 418 w 614"/>
                <a:gd name="T47" fmla="*/ 10 h 517"/>
                <a:gd name="T48" fmla="*/ 457 w 614"/>
                <a:gd name="T49" fmla="*/ 29 h 517"/>
                <a:gd name="T50" fmla="*/ 486 w 614"/>
                <a:gd name="T51" fmla="*/ 29 h 517"/>
                <a:gd name="T52" fmla="*/ 564 w 614"/>
                <a:gd name="T53" fmla="*/ 68 h 517"/>
                <a:gd name="T54" fmla="*/ 603 w 614"/>
                <a:gd name="T55" fmla="*/ 98 h 517"/>
                <a:gd name="T56" fmla="*/ 584 w 614"/>
                <a:gd name="T57" fmla="*/ 137 h 517"/>
                <a:gd name="T58" fmla="*/ 545 w 614"/>
                <a:gd name="T59" fmla="*/ 195 h 517"/>
                <a:gd name="T60" fmla="*/ 476 w 614"/>
                <a:gd name="T61" fmla="*/ 234 h 517"/>
                <a:gd name="T62" fmla="*/ 428 w 614"/>
                <a:gd name="T63" fmla="*/ 263 h 517"/>
                <a:gd name="T64" fmla="*/ 428 w 614"/>
                <a:gd name="T65" fmla="*/ 302 h 517"/>
                <a:gd name="T66" fmla="*/ 408 w 614"/>
                <a:gd name="T67" fmla="*/ 361 h 517"/>
                <a:gd name="T68" fmla="*/ 398 w 614"/>
                <a:gd name="T69" fmla="*/ 381 h 517"/>
                <a:gd name="T70" fmla="*/ 369 w 614"/>
                <a:gd name="T71" fmla="*/ 390 h 517"/>
                <a:gd name="T72" fmla="*/ 330 w 614"/>
                <a:gd name="T73" fmla="*/ 410 h 517"/>
                <a:gd name="T74" fmla="*/ 311 w 614"/>
                <a:gd name="T75" fmla="*/ 439 h 517"/>
                <a:gd name="T76" fmla="*/ 302 w 614"/>
                <a:gd name="T77" fmla="*/ 420 h 517"/>
                <a:gd name="T78" fmla="*/ 282 w 614"/>
                <a:gd name="T79" fmla="*/ 420 h 517"/>
                <a:gd name="T80" fmla="*/ 243 w 614"/>
                <a:gd name="T81" fmla="*/ 459 h 517"/>
                <a:gd name="T82" fmla="*/ 204 w 614"/>
                <a:gd name="T83" fmla="*/ 468 h 517"/>
                <a:gd name="T84" fmla="*/ 185 w 614"/>
                <a:gd name="T85" fmla="*/ 459 h 517"/>
                <a:gd name="T86" fmla="*/ 165 w 614"/>
                <a:gd name="T87" fmla="*/ 488 h 517"/>
                <a:gd name="T88" fmla="*/ 146 w 614"/>
                <a:gd name="T89" fmla="*/ 517 h 517"/>
                <a:gd name="T90" fmla="*/ 107 w 614"/>
                <a:gd name="T91" fmla="*/ 478 h 517"/>
                <a:gd name="T92" fmla="*/ 87 w 614"/>
                <a:gd name="T93" fmla="*/ 459 h 517"/>
                <a:gd name="T94" fmla="*/ 97 w 614"/>
                <a:gd name="T95" fmla="*/ 449 h 517"/>
                <a:gd name="T96" fmla="*/ 58 w 614"/>
                <a:gd name="T97" fmla="*/ 439 h 517"/>
                <a:gd name="T98" fmla="*/ 19 w 614"/>
                <a:gd name="T99" fmla="*/ 420 h 51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614"/>
                <a:gd name="T151" fmla="*/ 0 h 517"/>
                <a:gd name="T152" fmla="*/ 614 w 614"/>
                <a:gd name="T153" fmla="*/ 517 h 51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614" h="517">
                  <a:moveTo>
                    <a:pt x="0" y="390"/>
                  </a:moveTo>
                  <a:lnTo>
                    <a:pt x="0" y="361"/>
                  </a:lnTo>
                  <a:lnTo>
                    <a:pt x="9" y="341"/>
                  </a:lnTo>
                  <a:lnTo>
                    <a:pt x="19" y="351"/>
                  </a:lnTo>
                  <a:lnTo>
                    <a:pt x="29" y="341"/>
                  </a:lnTo>
                  <a:lnTo>
                    <a:pt x="58" y="332"/>
                  </a:lnTo>
                  <a:lnTo>
                    <a:pt x="39" y="312"/>
                  </a:lnTo>
                  <a:lnTo>
                    <a:pt x="58" y="293"/>
                  </a:lnTo>
                  <a:lnTo>
                    <a:pt x="97" y="254"/>
                  </a:lnTo>
                  <a:lnTo>
                    <a:pt x="117" y="224"/>
                  </a:lnTo>
                  <a:lnTo>
                    <a:pt x="126" y="205"/>
                  </a:lnTo>
                  <a:lnTo>
                    <a:pt x="136" y="185"/>
                  </a:lnTo>
                  <a:lnTo>
                    <a:pt x="146" y="176"/>
                  </a:lnTo>
                  <a:lnTo>
                    <a:pt x="156" y="195"/>
                  </a:lnTo>
                  <a:lnTo>
                    <a:pt x="175" y="215"/>
                  </a:lnTo>
                  <a:lnTo>
                    <a:pt x="195" y="205"/>
                  </a:lnTo>
                  <a:lnTo>
                    <a:pt x="204" y="195"/>
                  </a:lnTo>
                  <a:lnTo>
                    <a:pt x="234" y="215"/>
                  </a:lnTo>
                  <a:lnTo>
                    <a:pt x="253" y="215"/>
                  </a:lnTo>
                  <a:lnTo>
                    <a:pt x="273" y="224"/>
                  </a:lnTo>
                  <a:lnTo>
                    <a:pt x="282" y="224"/>
                  </a:lnTo>
                  <a:lnTo>
                    <a:pt x="292" y="215"/>
                  </a:lnTo>
                  <a:lnTo>
                    <a:pt x="302" y="205"/>
                  </a:lnTo>
                  <a:lnTo>
                    <a:pt x="292" y="195"/>
                  </a:lnTo>
                  <a:lnTo>
                    <a:pt x="273" y="185"/>
                  </a:lnTo>
                  <a:lnTo>
                    <a:pt x="273" y="176"/>
                  </a:lnTo>
                  <a:lnTo>
                    <a:pt x="282" y="156"/>
                  </a:lnTo>
                  <a:lnTo>
                    <a:pt x="282" y="146"/>
                  </a:lnTo>
                  <a:lnTo>
                    <a:pt x="292" y="146"/>
                  </a:lnTo>
                  <a:lnTo>
                    <a:pt x="302" y="137"/>
                  </a:lnTo>
                  <a:lnTo>
                    <a:pt x="302" y="127"/>
                  </a:lnTo>
                  <a:lnTo>
                    <a:pt x="312" y="107"/>
                  </a:lnTo>
                  <a:lnTo>
                    <a:pt x="322" y="107"/>
                  </a:lnTo>
                  <a:lnTo>
                    <a:pt x="341" y="107"/>
                  </a:lnTo>
                  <a:lnTo>
                    <a:pt x="341" y="88"/>
                  </a:lnTo>
                  <a:lnTo>
                    <a:pt x="331" y="78"/>
                  </a:lnTo>
                  <a:lnTo>
                    <a:pt x="341" y="68"/>
                  </a:lnTo>
                  <a:lnTo>
                    <a:pt x="341" y="59"/>
                  </a:lnTo>
                  <a:lnTo>
                    <a:pt x="341" y="49"/>
                  </a:lnTo>
                  <a:lnTo>
                    <a:pt x="351" y="39"/>
                  </a:lnTo>
                  <a:lnTo>
                    <a:pt x="361" y="29"/>
                  </a:lnTo>
                  <a:lnTo>
                    <a:pt x="361" y="10"/>
                  </a:lnTo>
                  <a:lnTo>
                    <a:pt x="400" y="0"/>
                  </a:lnTo>
                  <a:lnTo>
                    <a:pt x="409" y="20"/>
                  </a:lnTo>
                  <a:lnTo>
                    <a:pt x="429" y="10"/>
                  </a:lnTo>
                  <a:lnTo>
                    <a:pt x="439" y="29"/>
                  </a:lnTo>
                  <a:lnTo>
                    <a:pt x="468" y="29"/>
                  </a:lnTo>
                  <a:lnTo>
                    <a:pt x="487" y="20"/>
                  </a:lnTo>
                  <a:lnTo>
                    <a:pt x="497" y="29"/>
                  </a:lnTo>
                  <a:lnTo>
                    <a:pt x="536" y="49"/>
                  </a:lnTo>
                  <a:lnTo>
                    <a:pt x="575" y="68"/>
                  </a:lnTo>
                  <a:lnTo>
                    <a:pt x="614" y="88"/>
                  </a:lnTo>
                  <a:lnTo>
                    <a:pt x="614" y="98"/>
                  </a:lnTo>
                  <a:lnTo>
                    <a:pt x="604" y="117"/>
                  </a:lnTo>
                  <a:lnTo>
                    <a:pt x="595" y="137"/>
                  </a:lnTo>
                  <a:lnTo>
                    <a:pt x="575" y="156"/>
                  </a:lnTo>
                  <a:lnTo>
                    <a:pt x="556" y="195"/>
                  </a:lnTo>
                  <a:lnTo>
                    <a:pt x="517" y="205"/>
                  </a:lnTo>
                  <a:lnTo>
                    <a:pt x="487" y="234"/>
                  </a:lnTo>
                  <a:lnTo>
                    <a:pt x="458" y="244"/>
                  </a:lnTo>
                  <a:lnTo>
                    <a:pt x="439" y="263"/>
                  </a:lnTo>
                  <a:lnTo>
                    <a:pt x="439" y="283"/>
                  </a:lnTo>
                  <a:lnTo>
                    <a:pt x="439" y="302"/>
                  </a:lnTo>
                  <a:lnTo>
                    <a:pt x="409" y="341"/>
                  </a:lnTo>
                  <a:lnTo>
                    <a:pt x="419" y="361"/>
                  </a:lnTo>
                  <a:lnTo>
                    <a:pt x="429" y="371"/>
                  </a:lnTo>
                  <a:lnTo>
                    <a:pt x="409" y="381"/>
                  </a:lnTo>
                  <a:lnTo>
                    <a:pt x="390" y="400"/>
                  </a:lnTo>
                  <a:lnTo>
                    <a:pt x="380" y="390"/>
                  </a:lnTo>
                  <a:lnTo>
                    <a:pt x="351" y="390"/>
                  </a:lnTo>
                  <a:lnTo>
                    <a:pt x="341" y="410"/>
                  </a:lnTo>
                  <a:lnTo>
                    <a:pt x="341" y="429"/>
                  </a:lnTo>
                  <a:lnTo>
                    <a:pt x="322" y="439"/>
                  </a:lnTo>
                  <a:lnTo>
                    <a:pt x="302" y="429"/>
                  </a:lnTo>
                  <a:lnTo>
                    <a:pt x="302" y="420"/>
                  </a:lnTo>
                  <a:lnTo>
                    <a:pt x="302" y="410"/>
                  </a:lnTo>
                  <a:lnTo>
                    <a:pt x="282" y="420"/>
                  </a:lnTo>
                  <a:lnTo>
                    <a:pt x="263" y="429"/>
                  </a:lnTo>
                  <a:lnTo>
                    <a:pt x="243" y="459"/>
                  </a:lnTo>
                  <a:lnTo>
                    <a:pt x="243" y="468"/>
                  </a:lnTo>
                  <a:lnTo>
                    <a:pt x="204" y="468"/>
                  </a:lnTo>
                  <a:lnTo>
                    <a:pt x="204" y="459"/>
                  </a:lnTo>
                  <a:lnTo>
                    <a:pt x="185" y="459"/>
                  </a:lnTo>
                  <a:lnTo>
                    <a:pt x="175" y="468"/>
                  </a:lnTo>
                  <a:lnTo>
                    <a:pt x="165" y="488"/>
                  </a:lnTo>
                  <a:lnTo>
                    <a:pt x="146" y="498"/>
                  </a:lnTo>
                  <a:lnTo>
                    <a:pt x="146" y="517"/>
                  </a:lnTo>
                  <a:lnTo>
                    <a:pt x="117" y="517"/>
                  </a:lnTo>
                  <a:lnTo>
                    <a:pt x="107" y="478"/>
                  </a:lnTo>
                  <a:lnTo>
                    <a:pt x="87" y="468"/>
                  </a:lnTo>
                  <a:lnTo>
                    <a:pt x="87" y="459"/>
                  </a:lnTo>
                  <a:lnTo>
                    <a:pt x="87" y="449"/>
                  </a:lnTo>
                  <a:lnTo>
                    <a:pt x="97" y="449"/>
                  </a:lnTo>
                  <a:lnTo>
                    <a:pt x="87" y="439"/>
                  </a:lnTo>
                  <a:lnTo>
                    <a:pt x="58" y="439"/>
                  </a:lnTo>
                  <a:lnTo>
                    <a:pt x="39" y="429"/>
                  </a:lnTo>
                  <a:lnTo>
                    <a:pt x="19" y="420"/>
                  </a:lnTo>
                  <a:lnTo>
                    <a:pt x="0" y="390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Freeform 171"/>
            <p:cNvSpPr>
              <a:spLocks/>
            </p:cNvSpPr>
            <p:nvPr/>
          </p:nvSpPr>
          <p:spPr bwMode="auto">
            <a:xfrm>
              <a:off x="2030" y="790"/>
              <a:ext cx="663" cy="675"/>
            </a:xfrm>
            <a:custGeom>
              <a:avLst/>
              <a:gdLst/>
              <a:ahLst/>
              <a:cxnLst>
                <a:cxn ang="0">
                  <a:pos x="488" y="469"/>
                </a:cxn>
                <a:cxn ang="0">
                  <a:pos x="449" y="449"/>
                </a:cxn>
                <a:cxn ang="0">
                  <a:pos x="439" y="478"/>
                </a:cxn>
                <a:cxn ang="0">
                  <a:pos x="410" y="508"/>
                </a:cxn>
                <a:cxn ang="0">
                  <a:pos x="400" y="547"/>
                </a:cxn>
                <a:cxn ang="0">
                  <a:pos x="419" y="576"/>
                </a:cxn>
                <a:cxn ang="0">
                  <a:pos x="361" y="634"/>
                </a:cxn>
                <a:cxn ang="0">
                  <a:pos x="351" y="654"/>
                </a:cxn>
                <a:cxn ang="0">
                  <a:pos x="302" y="674"/>
                </a:cxn>
                <a:cxn ang="0">
                  <a:pos x="283" y="654"/>
                </a:cxn>
                <a:cxn ang="0">
                  <a:pos x="283" y="634"/>
                </a:cxn>
                <a:cxn ang="0">
                  <a:pos x="263" y="615"/>
                </a:cxn>
                <a:cxn ang="0">
                  <a:pos x="195" y="605"/>
                </a:cxn>
                <a:cxn ang="0">
                  <a:pos x="195" y="576"/>
                </a:cxn>
                <a:cxn ang="0">
                  <a:pos x="156" y="537"/>
                </a:cxn>
                <a:cxn ang="0">
                  <a:pos x="136" y="498"/>
                </a:cxn>
                <a:cxn ang="0">
                  <a:pos x="127" y="527"/>
                </a:cxn>
                <a:cxn ang="0">
                  <a:pos x="68" y="517"/>
                </a:cxn>
                <a:cxn ang="0">
                  <a:pos x="19" y="371"/>
                </a:cxn>
                <a:cxn ang="0">
                  <a:pos x="19" y="332"/>
                </a:cxn>
                <a:cxn ang="0">
                  <a:pos x="19" y="303"/>
                </a:cxn>
                <a:cxn ang="0">
                  <a:pos x="117" y="322"/>
                </a:cxn>
                <a:cxn ang="0">
                  <a:pos x="214" y="332"/>
                </a:cxn>
                <a:cxn ang="0">
                  <a:pos x="253" y="322"/>
                </a:cxn>
                <a:cxn ang="0">
                  <a:pos x="283" y="254"/>
                </a:cxn>
                <a:cxn ang="0">
                  <a:pos x="283" y="215"/>
                </a:cxn>
                <a:cxn ang="0">
                  <a:pos x="312" y="205"/>
                </a:cxn>
                <a:cxn ang="0">
                  <a:pos x="351" y="195"/>
                </a:cxn>
                <a:cxn ang="0">
                  <a:pos x="361" y="166"/>
                </a:cxn>
                <a:cxn ang="0">
                  <a:pos x="400" y="137"/>
                </a:cxn>
                <a:cxn ang="0">
                  <a:pos x="419" y="127"/>
                </a:cxn>
                <a:cxn ang="0">
                  <a:pos x="449" y="98"/>
                </a:cxn>
                <a:cxn ang="0">
                  <a:pos x="478" y="88"/>
                </a:cxn>
                <a:cxn ang="0">
                  <a:pos x="517" y="78"/>
                </a:cxn>
                <a:cxn ang="0">
                  <a:pos x="556" y="39"/>
                </a:cxn>
                <a:cxn ang="0">
                  <a:pos x="566" y="10"/>
                </a:cxn>
                <a:cxn ang="0">
                  <a:pos x="624" y="88"/>
                </a:cxn>
                <a:cxn ang="0">
                  <a:pos x="605" y="127"/>
                </a:cxn>
                <a:cxn ang="0">
                  <a:pos x="653" y="137"/>
                </a:cxn>
                <a:cxn ang="0">
                  <a:pos x="663" y="176"/>
                </a:cxn>
                <a:cxn ang="0">
                  <a:pos x="653" y="166"/>
                </a:cxn>
                <a:cxn ang="0">
                  <a:pos x="653" y="186"/>
                </a:cxn>
                <a:cxn ang="0">
                  <a:pos x="644" y="195"/>
                </a:cxn>
                <a:cxn ang="0">
                  <a:pos x="653" y="254"/>
                </a:cxn>
                <a:cxn ang="0">
                  <a:pos x="644" y="273"/>
                </a:cxn>
                <a:cxn ang="0">
                  <a:pos x="614" y="273"/>
                </a:cxn>
                <a:cxn ang="0">
                  <a:pos x="595" y="293"/>
                </a:cxn>
                <a:cxn ang="0">
                  <a:pos x="566" y="293"/>
                </a:cxn>
                <a:cxn ang="0">
                  <a:pos x="556" y="322"/>
                </a:cxn>
                <a:cxn ang="0">
                  <a:pos x="517" y="342"/>
                </a:cxn>
                <a:cxn ang="0">
                  <a:pos x="507" y="352"/>
                </a:cxn>
                <a:cxn ang="0">
                  <a:pos x="507" y="371"/>
                </a:cxn>
                <a:cxn ang="0">
                  <a:pos x="497" y="391"/>
                </a:cxn>
                <a:cxn ang="0">
                  <a:pos x="517" y="400"/>
                </a:cxn>
                <a:cxn ang="0">
                  <a:pos x="507" y="439"/>
                </a:cxn>
                <a:cxn ang="0">
                  <a:pos x="497" y="469"/>
                </a:cxn>
              </a:cxnLst>
              <a:rect l="0" t="0" r="r" b="b"/>
              <a:pathLst>
                <a:path w="663" h="674">
                  <a:moveTo>
                    <a:pt x="497" y="469"/>
                  </a:moveTo>
                  <a:lnTo>
                    <a:pt x="488" y="469"/>
                  </a:lnTo>
                  <a:lnTo>
                    <a:pt x="458" y="478"/>
                  </a:lnTo>
                  <a:lnTo>
                    <a:pt x="449" y="449"/>
                  </a:lnTo>
                  <a:lnTo>
                    <a:pt x="429" y="469"/>
                  </a:lnTo>
                  <a:lnTo>
                    <a:pt x="439" y="478"/>
                  </a:lnTo>
                  <a:lnTo>
                    <a:pt x="419" y="498"/>
                  </a:lnTo>
                  <a:lnTo>
                    <a:pt x="410" y="508"/>
                  </a:lnTo>
                  <a:lnTo>
                    <a:pt x="400" y="527"/>
                  </a:lnTo>
                  <a:lnTo>
                    <a:pt x="400" y="547"/>
                  </a:lnTo>
                  <a:lnTo>
                    <a:pt x="410" y="566"/>
                  </a:lnTo>
                  <a:lnTo>
                    <a:pt x="419" y="576"/>
                  </a:lnTo>
                  <a:lnTo>
                    <a:pt x="419" y="595"/>
                  </a:lnTo>
                  <a:lnTo>
                    <a:pt x="361" y="634"/>
                  </a:lnTo>
                  <a:lnTo>
                    <a:pt x="351" y="634"/>
                  </a:lnTo>
                  <a:lnTo>
                    <a:pt x="351" y="654"/>
                  </a:lnTo>
                  <a:lnTo>
                    <a:pt x="312" y="664"/>
                  </a:lnTo>
                  <a:lnTo>
                    <a:pt x="302" y="674"/>
                  </a:lnTo>
                  <a:lnTo>
                    <a:pt x="292" y="664"/>
                  </a:lnTo>
                  <a:lnTo>
                    <a:pt x="283" y="654"/>
                  </a:lnTo>
                  <a:lnTo>
                    <a:pt x="283" y="644"/>
                  </a:lnTo>
                  <a:lnTo>
                    <a:pt x="283" y="634"/>
                  </a:lnTo>
                  <a:lnTo>
                    <a:pt x="263" y="634"/>
                  </a:lnTo>
                  <a:lnTo>
                    <a:pt x="263" y="615"/>
                  </a:lnTo>
                  <a:lnTo>
                    <a:pt x="253" y="615"/>
                  </a:lnTo>
                  <a:lnTo>
                    <a:pt x="195" y="605"/>
                  </a:lnTo>
                  <a:lnTo>
                    <a:pt x="185" y="595"/>
                  </a:lnTo>
                  <a:lnTo>
                    <a:pt x="195" y="576"/>
                  </a:lnTo>
                  <a:lnTo>
                    <a:pt x="185" y="566"/>
                  </a:lnTo>
                  <a:lnTo>
                    <a:pt x="156" y="537"/>
                  </a:lnTo>
                  <a:lnTo>
                    <a:pt x="156" y="527"/>
                  </a:lnTo>
                  <a:lnTo>
                    <a:pt x="136" y="498"/>
                  </a:lnTo>
                  <a:lnTo>
                    <a:pt x="117" y="498"/>
                  </a:lnTo>
                  <a:lnTo>
                    <a:pt x="127" y="527"/>
                  </a:lnTo>
                  <a:lnTo>
                    <a:pt x="107" y="527"/>
                  </a:lnTo>
                  <a:lnTo>
                    <a:pt x="68" y="517"/>
                  </a:lnTo>
                  <a:lnTo>
                    <a:pt x="0" y="391"/>
                  </a:lnTo>
                  <a:lnTo>
                    <a:pt x="19" y="371"/>
                  </a:lnTo>
                  <a:lnTo>
                    <a:pt x="19" y="352"/>
                  </a:lnTo>
                  <a:lnTo>
                    <a:pt x="19" y="332"/>
                  </a:lnTo>
                  <a:lnTo>
                    <a:pt x="10" y="322"/>
                  </a:lnTo>
                  <a:lnTo>
                    <a:pt x="19" y="303"/>
                  </a:lnTo>
                  <a:lnTo>
                    <a:pt x="78" y="322"/>
                  </a:lnTo>
                  <a:lnTo>
                    <a:pt x="117" y="322"/>
                  </a:lnTo>
                  <a:lnTo>
                    <a:pt x="166" y="322"/>
                  </a:lnTo>
                  <a:lnTo>
                    <a:pt x="214" y="332"/>
                  </a:lnTo>
                  <a:lnTo>
                    <a:pt x="244" y="322"/>
                  </a:lnTo>
                  <a:lnTo>
                    <a:pt x="253" y="322"/>
                  </a:lnTo>
                  <a:lnTo>
                    <a:pt x="263" y="293"/>
                  </a:lnTo>
                  <a:lnTo>
                    <a:pt x="283" y="254"/>
                  </a:lnTo>
                  <a:lnTo>
                    <a:pt x="283" y="225"/>
                  </a:lnTo>
                  <a:lnTo>
                    <a:pt x="283" y="215"/>
                  </a:lnTo>
                  <a:lnTo>
                    <a:pt x="292" y="205"/>
                  </a:lnTo>
                  <a:lnTo>
                    <a:pt x="312" y="205"/>
                  </a:lnTo>
                  <a:lnTo>
                    <a:pt x="341" y="205"/>
                  </a:lnTo>
                  <a:lnTo>
                    <a:pt x="351" y="195"/>
                  </a:lnTo>
                  <a:lnTo>
                    <a:pt x="361" y="186"/>
                  </a:lnTo>
                  <a:lnTo>
                    <a:pt x="361" y="166"/>
                  </a:lnTo>
                  <a:lnTo>
                    <a:pt x="400" y="147"/>
                  </a:lnTo>
                  <a:lnTo>
                    <a:pt x="400" y="137"/>
                  </a:lnTo>
                  <a:lnTo>
                    <a:pt x="410" y="127"/>
                  </a:lnTo>
                  <a:lnTo>
                    <a:pt x="419" y="127"/>
                  </a:lnTo>
                  <a:lnTo>
                    <a:pt x="439" y="108"/>
                  </a:lnTo>
                  <a:lnTo>
                    <a:pt x="449" y="98"/>
                  </a:lnTo>
                  <a:lnTo>
                    <a:pt x="468" y="88"/>
                  </a:lnTo>
                  <a:lnTo>
                    <a:pt x="478" y="88"/>
                  </a:lnTo>
                  <a:lnTo>
                    <a:pt x="497" y="88"/>
                  </a:lnTo>
                  <a:lnTo>
                    <a:pt x="517" y="78"/>
                  </a:lnTo>
                  <a:lnTo>
                    <a:pt x="536" y="59"/>
                  </a:lnTo>
                  <a:lnTo>
                    <a:pt x="556" y="39"/>
                  </a:lnTo>
                  <a:lnTo>
                    <a:pt x="566" y="20"/>
                  </a:lnTo>
                  <a:lnTo>
                    <a:pt x="566" y="10"/>
                  </a:lnTo>
                  <a:lnTo>
                    <a:pt x="575" y="0"/>
                  </a:lnTo>
                  <a:lnTo>
                    <a:pt x="624" y="88"/>
                  </a:lnTo>
                  <a:lnTo>
                    <a:pt x="614" y="108"/>
                  </a:lnTo>
                  <a:lnTo>
                    <a:pt x="605" y="127"/>
                  </a:lnTo>
                  <a:lnTo>
                    <a:pt x="614" y="137"/>
                  </a:lnTo>
                  <a:lnTo>
                    <a:pt x="653" y="137"/>
                  </a:lnTo>
                  <a:lnTo>
                    <a:pt x="663" y="156"/>
                  </a:lnTo>
                  <a:lnTo>
                    <a:pt x="663" y="176"/>
                  </a:lnTo>
                  <a:lnTo>
                    <a:pt x="653" y="166"/>
                  </a:lnTo>
                  <a:lnTo>
                    <a:pt x="653" y="176"/>
                  </a:lnTo>
                  <a:lnTo>
                    <a:pt x="653" y="186"/>
                  </a:lnTo>
                  <a:lnTo>
                    <a:pt x="644" y="186"/>
                  </a:lnTo>
                  <a:lnTo>
                    <a:pt x="644" y="195"/>
                  </a:lnTo>
                  <a:lnTo>
                    <a:pt x="653" y="225"/>
                  </a:lnTo>
                  <a:lnTo>
                    <a:pt x="653" y="254"/>
                  </a:lnTo>
                  <a:lnTo>
                    <a:pt x="634" y="264"/>
                  </a:lnTo>
                  <a:lnTo>
                    <a:pt x="644" y="273"/>
                  </a:lnTo>
                  <a:lnTo>
                    <a:pt x="624" y="283"/>
                  </a:lnTo>
                  <a:lnTo>
                    <a:pt x="614" y="273"/>
                  </a:lnTo>
                  <a:lnTo>
                    <a:pt x="595" y="293"/>
                  </a:lnTo>
                  <a:lnTo>
                    <a:pt x="575" y="293"/>
                  </a:lnTo>
                  <a:lnTo>
                    <a:pt x="566" y="293"/>
                  </a:lnTo>
                  <a:lnTo>
                    <a:pt x="556" y="322"/>
                  </a:lnTo>
                  <a:lnTo>
                    <a:pt x="536" y="342"/>
                  </a:lnTo>
                  <a:lnTo>
                    <a:pt x="517" y="342"/>
                  </a:lnTo>
                  <a:lnTo>
                    <a:pt x="527" y="352"/>
                  </a:lnTo>
                  <a:lnTo>
                    <a:pt x="507" y="352"/>
                  </a:lnTo>
                  <a:lnTo>
                    <a:pt x="497" y="352"/>
                  </a:lnTo>
                  <a:lnTo>
                    <a:pt x="507" y="371"/>
                  </a:lnTo>
                  <a:lnTo>
                    <a:pt x="497" y="391"/>
                  </a:lnTo>
                  <a:lnTo>
                    <a:pt x="507" y="400"/>
                  </a:lnTo>
                  <a:lnTo>
                    <a:pt x="517" y="400"/>
                  </a:lnTo>
                  <a:lnTo>
                    <a:pt x="507" y="420"/>
                  </a:lnTo>
                  <a:lnTo>
                    <a:pt x="507" y="439"/>
                  </a:lnTo>
                  <a:lnTo>
                    <a:pt x="488" y="459"/>
                  </a:lnTo>
                  <a:lnTo>
                    <a:pt x="497" y="469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Freeform 170"/>
            <p:cNvSpPr>
              <a:spLocks/>
            </p:cNvSpPr>
            <p:nvPr/>
          </p:nvSpPr>
          <p:spPr bwMode="auto">
            <a:xfrm>
              <a:off x="2584" y="1533"/>
              <a:ext cx="1318" cy="722"/>
            </a:xfrm>
            <a:custGeom>
              <a:avLst/>
              <a:gdLst/>
              <a:ahLst/>
              <a:cxnLst>
                <a:cxn ang="0">
                  <a:pos x="371" y="644"/>
                </a:cxn>
                <a:cxn ang="0">
                  <a:pos x="439" y="644"/>
                </a:cxn>
                <a:cxn ang="0">
                  <a:pos x="488" y="654"/>
                </a:cxn>
                <a:cxn ang="0">
                  <a:pos x="585" y="702"/>
                </a:cxn>
                <a:cxn ang="0">
                  <a:pos x="673" y="673"/>
                </a:cxn>
                <a:cxn ang="0">
                  <a:pos x="702" y="644"/>
                </a:cxn>
                <a:cxn ang="0">
                  <a:pos x="741" y="566"/>
                </a:cxn>
                <a:cxn ang="0">
                  <a:pos x="819" y="507"/>
                </a:cxn>
                <a:cxn ang="0">
                  <a:pos x="839" y="458"/>
                </a:cxn>
                <a:cxn ang="0">
                  <a:pos x="868" y="419"/>
                </a:cxn>
                <a:cxn ang="0">
                  <a:pos x="897" y="439"/>
                </a:cxn>
                <a:cxn ang="0">
                  <a:pos x="966" y="419"/>
                </a:cxn>
                <a:cxn ang="0">
                  <a:pos x="1044" y="410"/>
                </a:cxn>
                <a:cxn ang="0">
                  <a:pos x="1092" y="380"/>
                </a:cxn>
                <a:cxn ang="0">
                  <a:pos x="1122" y="361"/>
                </a:cxn>
                <a:cxn ang="0">
                  <a:pos x="1190" y="361"/>
                </a:cxn>
                <a:cxn ang="0">
                  <a:pos x="1239" y="341"/>
                </a:cxn>
                <a:cxn ang="0">
                  <a:pos x="1307" y="322"/>
                </a:cxn>
                <a:cxn ang="0">
                  <a:pos x="1307" y="312"/>
                </a:cxn>
                <a:cxn ang="0">
                  <a:pos x="1307" y="273"/>
                </a:cxn>
                <a:cxn ang="0">
                  <a:pos x="1307" y="224"/>
                </a:cxn>
                <a:cxn ang="0">
                  <a:pos x="1258" y="214"/>
                </a:cxn>
                <a:cxn ang="0">
                  <a:pos x="1229" y="244"/>
                </a:cxn>
                <a:cxn ang="0">
                  <a:pos x="1190" y="234"/>
                </a:cxn>
                <a:cxn ang="0">
                  <a:pos x="1151" y="253"/>
                </a:cxn>
                <a:cxn ang="0">
                  <a:pos x="1092" y="273"/>
                </a:cxn>
                <a:cxn ang="0">
                  <a:pos x="1005" y="234"/>
                </a:cxn>
                <a:cxn ang="0">
                  <a:pos x="848" y="127"/>
                </a:cxn>
                <a:cxn ang="0">
                  <a:pos x="780" y="68"/>
                </a:cxn>
                <a:cxn ang="0">
                  <a:pos x="712" y="19"/>
                </a:cxn>
                <a:cxn ang="0">
                  <a:pos x="595" y="10"/>
                </a:cxn>
                <a:cxn ang="0">
                  <a:pos x="478" y="58"/>
                </a:cxn>
                <a:cxn ang="0">
                  <a:pos x="497" y="107"/>
                </a:cxn>
                <a:cxn ang="0">
                  <a:pos x="449" y="175"/>
                </a:cxn>
                <a:cxn ang="0">
                  <a:pos x="410" y="136"/>
                </a:cxn>
                <a:cxn ang="0">
                  <a:pos x="371" y="136"/>
                </a:cxn>
                <a:cxn ang="0">
                  <a:pos x="341" y="97"/>
                </a:cxn>
                <a:cxn ang="0">
                  <a:pos x="283" y="49"/>
                </a:cxn>
                <a:cxn ang="0">
                  <a:pos x="253" y="49"/>
                </a:cxn>
                <a:cxn ang="0">
                  <a:pos x="263" y="136"/>
                </a:cxn>
                <a:cxn ang="0">
                  <a:pos x="224" y="166"/>
                </a:cxn>
                <a:cxn ang="0">
                  <a:pos x="214" y="195"/>
                </a:cxn>
                <a:cxn ang="0">
                  <a:pos x="166" y="224"/>
                </a:cxn>
                <a:cxn ang="0">
                  <a:pos x="156" y="263"/>
                </a:cxn>
                <a:cxn ang="0">
                  <a:pos x="205" y="283"/>
                </a:cxn>
                <a:cxn ang="0">
                  <a:pos x="253" y="253"/>
                </a:cxn>
                <a:cxn ang="0">
                  <a:pos x="234" y="341"/>
                </a:cxn>
                <a:cxn ang="0">
                  <a:pos x="195" y="390"/>
                </a:cxn>
                <a:cxn ang="0">
                  <a:pos x="146" y="410"/>
                </a:cxn>
                <a:cxn ang="0">
                  <a:pos x="88" y="400"/>
                </a:cxn>
                <a:cxn ang="0">
                  <a:pos x="58" y="468"/>
                </a:cxn>
                <a:cxn ang="0">
                  <a:pos x="10" y="488"/>
                </a:cxn>
                <a:cxn ang="0">
                  <a:pos x="19" y="527"/>
                </a:cxn>
                <a:cxn ang="0">
                  <a:pos x="19" y="566"/>
                </a:cxn>
                <a:cxn ang="0">
                  <a:pos x="10" y="595"/>
                </a:cxn>
                <a:cxn ang="0">
                  <a:pos x="88" y="566"/>
                </a:cxn>
                <a:cxn ang="0">
                  <a:pos x="146" y="585"/>
                </a:cxn>
                <a:cxn ang="0">
                  <a:pos x="195" y="595"/>
                </a:cxn>
                <a:cxn ang="0">
                  <a:pos x="224" y="556"/>
                </a:cxn>
                <a:cxn ang="0">
                  <a:pos x="263" y="546"/>
                </a:cxn>
                <a:cxn ang="0">
                  <a:pos x="322" y="575"/>
                </a:cxn>
              </a:cxnLst>
              <a:rect l="0" t="0" r="r" b="b"/>
              <a:pathLst>
                <a:path w="1317" h="722">
                  <a:moveTo>
                    <a:pt x="322" y="605"/>
                  </a:moveTo>
                  <a:lnTo>
                    <a:pt x="341" y="595"/>
                  </a:lnTo>
                  <a:lnTo>
                    <a:pt x="371" y="644"/>
                  </a:lnTo>
                  <a:lnTo>
                    <a:pt x="410" y="634"/>
                  </a:lnTo>
                  <a:lnTo>
                    <a:pt x="419" y="654"/>
                  </a:lnTo>
                  <a:lnTo>
                    <a:pt x="439" y="644"/>
                  </a:lnTo>
                  <a:lnTo>
                    <a:pt x="449" y="663"/>
                  </a:lnTo>
                  <a:lnTo>
                    <a:pt x="478" y="663"/>
                  </a:lnTo>
                  <a:lnTo>
                    <a:pt x="488" y="654"/>
                  </a:lnTo>
                  <a:lnTo>
                    <a:pt x="507" y="663"/>
                  </a:lnTo>
                  <a:lnTo>
                    <a:pt x="546" y="683"/>
                  </a:lnTo>
                  <a:lnTo>
                    <a:pt x="585" y="702"/>
                  </a:lnTo>
                  <a:lnTo>
                    <a:pt x="624" y="722"/>
                  </a:lnTo>
                  <a:lnTo>
                    <a:pt x="653" y="702"/>
                  </a:lnTo>
                  <a:lnTo>
                    <a:pt x="673" y="673"/>
                  </a:lnTo>
                  <a:lnTo>
                    <a:pt x="692" y="663"/>
                  </a:lnTo>
                  <a:lnTo>
                    <a:pt x="712" y="654"/>
                  </a:lnTo>
                  <a:lnTo>
                    <a:pt x="702" y="644"/>
                  </a:lnTo>
                  <a:lnTo>
                    <a:pt x="722" y="614"/>
                  </a:lnTo>
                  <a:lnTo>
                    <a:pt x="722" y="585"/>
                  </a:lnTo>
                  <a:lnTo>
                    <a:pt x="741" y="566"/>
                  </a:lnTo>
                  <a:lnTo>
                    <a:pt x="780" y="536"/>
                  </a:lnTo>
                  <a:lnTo>
                    <a:pt x="800" y="527"/>
                  </a:lnTo>
                  <a:lnTo>
                    <a:pt x="819" y="507"/>
                  </a:lnTo>
                  <a:lnTo>
                    <a:pt x="819" y="488"/>
                  </a:lnTo>
                  <a:lnTo>
                    <a:pt x="839" y="468"/>
                  </a:lnTo>
                  <a:lnTo>
                    <a:pt x="839" y="458"/>
                  </a:lnTo>
                  <a:lnTo>
                    <a:pt x="848" y="449"/>
                  </a:lnTo>
                  <a:lnTo>
                    <a:pt x="848" y="429"/>
                  </a:lnTo>
                  <a:lnTo>
                    <a:pt x="868" y="419"/>
                  </a:lnTo>
                  <a:lnTo>
                    <a:pt x="888" y="419"/>
                  </a:lnTo>
                  <a:lnTo>
                    <a:pt x="897" y="429"/>
                  </a:lnTo>
                  <a:lnTo>
                    <a:pt x="897" y="439"/>
                  </a:lnTo>
                  <a:lnTo>
                    <a:pt x="936" y="439"/>
                  </a:lnTo>
                  <a:lnTo>
                    <a:pt x="946" y="439"/>
                  </a:lnTo>
                  <a:lnTo>
                    <a:pt x="966" y="419"/>
                  </a:lnTo>
                  <a:lnTo>
                    <a:pt x="995" y="410"/>
                  </a:lnTo>
                  <a:lnTo>
                    <a:pt x="1024" y="410"/>
                  </a:lnTo>
                  <a:lnTo>
                    <a:pt x="1044" y="410"/>
                  </a:lnTo>
                  <a:lnTo>
                    <a:pt x="1063" y="400"/>
                  </a:lnTo>
                  <a:lnTo>
                    <a:pt x="1073" y="400"/>
                  </a:lnTo>
                  <a:lnTo>
                    <a:pt x="1092" y="380"/>
                  </a:lnTo>
                  <a:lnTo>
                    <a:pt x="1102" y="380"/>
                  </a:lnTo>
                  <a:lnTo>
                    <a:pt x="1122" y="371"/>
                  </a:lnTo>
                  <a:lnTo>
                    <a:pt x="1122" y="361"/>
                  </a:lnTo>
                  <a:lnTo>
                    <a:pt x="1141" y="361"/>
                  </a:lnTo>
                  <a:lnTo>
                    <a:pt x="1161" y="361"/>
                  </a:lnTo>
                  <a:lnTo>
                    <a:pt x="1190" y="361"/>
                  </a:lnTo>
                  <a:lnTo>
                    <a:pt x="1209" y="361"/>
                  </a:lnTo>
                  <a:lnTo>
                    <a:pt x="1229" y="351"/>
                  </a:lnTo>
                  <a:lnTo>
                    <a:pt x="1239" y="341"/>
                  </a:lnTo>
                  <a:lnTo>
                    <a:pt x="1258" y="341"/>
                  </a:lnTo>
                  <a:lnTo>
                    <a:pt x="1287" y="332"/>
                  </a:lnTo>
                  <a:lnTo>
                    <a:pt x="1307" y="322"/>
                  </a:lnTo>
                  <a:lnTo>
                    <a:pt x="1287" y="312"/>
                  </a:lnTo>
                  <a:lnTo>
                    <a:pt x="1307" y="312"/>
                  </a:lnTo>
                  <a:lnTo>
                    <a:pt x="1317" y="302"/>
                  </a:lnTo>
                  <a:lnTo>
                    <a:pt x="1317" y="293"/>
                  </a:lnTo>
                  <a:lnTo>
                    <a:pt x="1307" y="273"/>
                  </a:lnTo>
                  <a:lnTo>
                    <a:pt x="1297" y="253"/>
                  </a:lnTo>
                  <a:lnTo>
                    <a:pt x="1297" y="244"/>
                  </a:lnTo>
                  <a:lnTo>
                    <a:pt x="1307" y="224"/>
                  </a:lnTo>
                  <a:lnTo>
                    <a:pt x="1297" y="214"/>
                  </a:lnTo>
                  <a:lnTo>
                    <a:pt x="1268" y="205"/>
                  </a:lnTo>
                  <a:lnTo>
                    <a:pt x="1258" y="214"/>
                  </a:lnTo>
                  <a:lnTo>
                    <a:pt x="1248" y="224"/>
                  </a:lnTo>
                  <a:lnTo>
                    <a:pt x="1239" y="224"/>
                  </a:lnTo>
                  <a:lnTo>
                    <a:pt x="1229" y="244"/>
                  </a:lnTo>
                  <a:lnTo>
                    <a:pt x="1209" y="244"/>
                  </a:lnTo>
                  <a:lnTo>
                    <a:pt x="1200" y="234"/>
                  </a:lnTo>
                  <a:lnTo>
                    <a:pt x="1190" y="234"/>
                  </a:lnTo>
                  <a:lnTo>
                    <a:pt x="1170" y="234"/>
                  </a:lnTo>
                  <a:lnTo>
                    <a:pt x="1161" y="253"/>
                  </a:lnTo>
                  <a:lnTo>
                    <a:pt x="1151" y="253"/>
                  </a:lnTo>
                  <a:lnTo>
                    <a:pt x="1131" y="263"/>
                  </a:lnTo>
                  <a:lnTo>
                    <a:pt x="1112" y="263"/>
                  </a:lnTo>
                  <a:lnTo>
                    <a:pt x="1092" y="273"/>
                  </a:lnTo>
                  <a:lnTo>
                    <a:pt x="1083" y="273"/>
                  </a:lnTo>
                  <a:lnTo>
                    <a:pt x="1053" y="263"/>
                  </a:lnTo>
                  <a:lnTo>
                    <a:pt x="1005" y="234"/>
                  </a:lnTo>
                  <a:lnTo>
                    <a:pt x="956" y="195"/>
                  </a:lnTo>
                  <a:lnTo>
                    <a:pt x="907" y="166"/>
                  </a:lnTo>
                  <a:lnTo>
                    <a:pt x="848" y="127"/>
                  </a:lnTo>
                  <a:lnTo>
                    <a:pt x="839" y="107"/>
                  </a:lnTo>
                  <a:lnTo>
                    <a:pt x="819" y="97"/>
                  </a:lnTo>
                  <a:lnTo>
                    <a:pt x="780" y="68"/>
                  </a:lnTo>
                  <a:lnTo>
                    <a:pt x="761" y="49"/>
                  </a:lnTo>
                  <a:lnTo>
                    <a:pt x="741" y="19"/>
                  </a:lnTo>
                  <a:lnTo>
                    <a:pt x="712" y="19"/>
                  </a:lnTo>
                  <a:lnTo>
                    <a:pt x="692" y="19"/>
                  </a:lnTo>
                  <a:lnTo>
                    <a:pt x="663" y="19"/>
                  </a:lnTo>
                  <a:lnTo>
                    <a:pt x="595" y="10"/>
                  </a:lnTo>
                  <a:lnTo>
                    <a:pt x="546" y="0"/>
                  </a:lnTo>
                  <a:lnTo>
                    <a:pt x="497" y="49"/>
                  </a:lnTo>
                  <a:lnTo>
                    <a:pt x="478" y="58"/>
                  </a:lnTo>
                  <a:lnTo>
                    <a:pt x="468" y="78"/>
                  </a:lnTo>
                  <a:lnTo>
                    <a:pt x="497" y="88"/>
                  </a:lnTo>
                  <a:lnTo>
                    <a:pt x="497" y="107"/>
                  </a:lnTo>
                  <a:lnTo>
                    <a:pt x="478" y="136"/>
                  </a:lnTo>
                  <a:lnTo>
                    <a:pt x="478" y="156"/>
                  </a:lnTo>
                  <a:lnTo>
                    <a:pt x="449" y="175"/>
                  </a:lnTo>
                  <a:lnTo>
                    <a:pt x="439" y="146"/>
                  </a:lnTo>
                  <a:lnTo>
                    <a:pt x="429" y="156"/>
                  </a:lnTo>
                  <a:lnTo>
                    <a:pt x="410" y="136"/>
                  </a:lnTo>
                  <a:lnTo>
                    <a:pt x="390" y="136"/>
                  </a:lnTo>
                  <a:lnTo>
                    <a:pt x="380" y="136"/>
                  </a:lnTo>
                  <a:lnTo>
                    <a:pt x="371" y="136"/>
                  </a:lnTo>
                  <a:lnTo>
                    <a:pt x="361" y="127"/>
                  </a:lnTo>
                  <a:lnTo>
                    <a:pt x="361" y="117"/>
                  </a:lnTo>
                  <a:lnTo>
                    <a:pt x="341" y="97"/>
                  </a:lnTo>
                  <a:lnTo>
                    <a:pt x="322" y="78"/>
                  </a:lnTo>
                  <a:lnTo>
                    <a:pt x="292" y="58"/>
                  </a:lnTo>
                  <a:lnTo>
                    <a:pt x="283" y="49"/>
                  </a:lnTo>
                  <a:lnTo>
                    <a:pt x="273" y="39"/>
                  </a:lnTo>
                  <a:lnTo>
                    <a:pt x="253" y="39"/>
                  </a:lnTo>
                  <a:lnTo>
                    <a:pt x="253" y="49"/>
                  </a:lnTo>
                  <a:lnTo>
                    <a:pt x="253" y="68"/>
                  </a:lnTo>
                  <a:lnTo>
                    <a:pt x="263" y="107"/>
                  </a:lnTo>
                  <a:lnTo>
                    <a:pt x="263" y="136"/>
                  </a:lnTo>
                  <a:lnTo>
                    <a:pt x="253" y="146"/>
                  </a:lnTo>
                  <a:lnTo>
                    <a:pt x="234" y="156"/>
                  </a:lnTo>
                  <a:lnTo>
                    <a:pt x="224" y="166"/>
                  </a:lnTo>
                  <a:lnTo>
                    <a:pt x="244" y="185"/>
                  </a:lnTo>
                  <a:lnTo>
                    <a:pt x="244" y="195"/>
                  </a:lnTo>
                  <a:lnTo>
                    <a:pt x="214" y="195"/>
                  </a:lnTo>
                  <a:lnTo>
                    <a:pt x="195" y="205"/>
                  </a:lnTo>
                  <a:lnTo>
                    <a:pt x="185" y="224"/>
                  </a:lnTo>
                  <a:lnTo>
                    <a:pt x="166" y="224"/>
                  </a:lnTo>
                  <a:lnTo>
                    <a:pt x="166" y="244"/>
                  </a:lnTo>
                  <a:lnTo>
                    <a:pt x="166" y="253"/>
                  </a:lnTo>
                  <a:lnTo>
                    <a:pt x="156" y="263"/>
                  </a:lnTo>
                  <a:lnTo>
                    <a:pt x="166" y="273"/>
                  </a:lnTo>
                  <a:lnTo>
                    <a:pt x="175" y="263"/>
                  </a:lnTo>
                  <a:lnTo>
                    <a:pt x="205" y="283"/>
                  </a:lnTo>
                  <a:lnTo>
                    <a:pt x="234" y="263"/>
                  </a:lnTo>
                  <a:lnTo>
                    <a:pt x="234" y="273"/>
                  </a:lnTo>
                  <a:lnTo>
                    <a:pt x="253" y="253"/>
                  </a:lnTo>
                  <a:lnTo>
                    <a:pt x="292" y="293"/>
                  </a:lnTo>
                  <a:lnTo>
                    <a:pt x="283" y="312"/>
                  </a:lnTo>
                  <a:lnTo>
                    <a:pt x="234" y="341"/>
                  </a:lnTo>
                  <a:lnTo>
                    <a:pt x="195" y="351"/>
                  </a:lnTo>
                  <a:lnTo>
                    <a:pt x="175" y="371"/>
                  </a:lnTo>
                  <a:lnTo>
                    <a:pt x="195" y="390"/>
                  </a:lnTo>
                  <a:lnTo>
                    <a:pt x="166" y="419"/>
                  </a:lnTo>
                  <a:lnTo>
                    <a:pt x="146" y="419"/>
                  </a:lnTo>
                  <a:lnTo>
                    <a:pt x="146" y="410"/>
                  </a:lnTo>
                  <a:lnTo>
                    <a:pt x="127" y="400"/>
                  </a:lnTo>
                  <a:lnTo>
                    <a:pt x="97" y="400"/>
                  </a:lnTo>
                  <a:lnTo>
                    <a:pt x="88" y="400"/>
                  </a:lnTo>
                  <a:lnTo>
                    <a:pt x="68" y="429"/>
                  </a:lnTo>
                  <a:lnTo>
                    <a:pt x="58" y="449"/>
                  </a:lnTo>
                  <a:lnTo>
                    <a:pt x="58" y="468"/>
                  </a:lnTo>
                  <a:lnTo>
                    <a:pt x="49" y="468"/>
                  </a:lnTo>
                  <a:lnTo>
                    <a:pt x="39" y="468"/>
                  </a:lnTo>
                  <a:lnTo>
                    <a:pt x="10" y="488"/>
                  </a:lnTo>
                  <a:lnTo>
                    <a:pt x="10" y="497"/>
                  </a:lnTo>
                  <a:lnTo>
                    <a:pt x="10" y="507"/>
                  </a:lnTo>
                  <a:lnTo>
                    <a:pt x="19" y="527"/>
                  </a:lnTo>
                  <a:lnTo>
                    <a:pt x="10" y="546"/>
                  </a:lnTo>
                  <a:lnTo>
                    <a:pt x="19" y="566"/>
                  </a:lnTo>
                  <a:lnTo>
                    <a:pt x="0" y="575"/>
                  </a:lnTo>
                  <a:lnTo>
                    <a:pt x="10" y="585"/>
                  </a:lnTo>
                  <a:lnTo>
                    <a:pt x="10" y="595"/>
                  </a:lnTo>
                  <a:lnTo>
                    <a:pt x="29" y="575"/>
                  </a:lnTo>
                  <a:lnTo>
                    <a:pt x="58" y="556"/>
                  </a:lnTo>
                  <a:lnTo>
                    <a:pt x="88" y="566"/>
                  </a:lnTo>
                  <a:lnTo>
                    <a:pt x="117" y="585"/>
                  </a:lnTo>
                  <a:lnTo>
                    <a:pt x="136" y="575"/>
                  </a:lnTo>
                  <a:lnTo>
                    <a:pt x="146" y="585"/>
                  </a:lnTo>
                  <a:lnTo>
                    <a:pt x="146" y="605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05" y="614"/>
                  </a:lnTo>
                  <a:lnTo>
                    <a:pt x="224" y="595"/>
                  </a:lnTo>
                  <a:lnTo>
                    <a:pt x="224" y="556"/>
                  </a:lnTo>
                  <a:lnTo>
                    <a:pt x="234" y="546"/>
                  </a:lnTo>
                  <a:lnTo>
                    <a:pt x="253" y="556"/>
                  </a:lnTo>
                  <a:lnTo>
                    <a:pt x="263" y="546"/>
                  </a:lnTo>
                  <a:lnTo>
                    <a:pt x="273" y="556"/>
                  </a:lnTo>
                  <a:lnTo>
                    <a:pt x="292" y="546"/>
                  </a:lnTo>
                  <a:lnTo>
                    <a:pt x="322" y="575"/>
                  </a:lnTo>
                  <a:lnTo>
                    <a:pt x="312" y="585"/>
                  </a:lnTo>
                  <a:lnTo>
                    <a:pt x="322" y="60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Freeform 169"/>
            <p:cNvSpPr>
              <a:spLocks/>
            </p:cNvSpPr>
            <p:nvPr/>
          </p:nvSpPr>
          <p:spPr bwMode="auto">
            <a:xfrm>
              <a:off x="2294" y="1180"/>
              <a:ext cx="839" cy="771"/>
            </a:xfrm>
            <a:custGeom>
              <a:avLst/>
              <a:gdLst/>
              <a:ahLst/>
              <a:cxnLst>
                <a:cxn ang="0">
                  <a:pos x="449" y="761"/>
                </a:cxn>
                <a:cxn ang="0">
                  <a:pos x="478" y="722"/>
                </a:cxn>
                <a:cxn ang="0">
                  <a:pos x="585" y="644"/>
                </a:cxn>
                <a:cxn ang="0">
                  <a:pos x="498" y="634"/>
                </a:cxn>
                <a:cxn ang="0">
                  <a:pos x="459" y="604"/>
                </a:cxn>
                <a:cxn ang="0">
                  <a:pos x="488" y="556"/>
                </a:cxn>
                <a:cxn ang="0">
                  <a:pos x="517" y="517"/>
                </a:cxn>
                <a:cxn ang="0">
                  <a:pos x="556" y="458"/>
                </a:cxn>
                <a:cxn ang="0">
                  <a:pos x="566" y="390"/>
                </a:cxn>
                <a:cxn ang="0">
                  <a:pos x="634" y="448"/>
                </a:cxn>
                <a:cxn ang="0">
                  <a:pos x="673" y="487"/>
                </a:cxn>
                <a:cxn ang="0">
                  <a:pos x="732" y="497"/>
                </a:cxn>
                <a:cxn ang="0">
                  <a:pos x="790" y="458"/>
                </a:cxn>
                <a:cxn ang="0">
                  <a:pos x="790" y="400"/>
                </a:cxn>
                <a:cxn ang="0">
                  <a:pos x="771" y="331"/>
                </a:cxn>
                <a:cxn ang="0">
                  <a:pos x="742" y="263"/>
                </a:cxn>
                <a:cxn ang="0">
                  <a:pos x="693" y="185"/>
                </a:cxn>
                <a:cxn ang="0">
                  <a:pos x="673" y="185"/>
                </a:cxn>
                <a:cxn ang="0">
                  <a:pos x="664" y="165"/>
                </a:cxn>
                <a:cxn ang="0">
                  <a:pos x="654" y="107"/>
                </a:cxn>
                <a:cxn ang="0">
                  <a:pos x="576" y="97"/>
                </a:cxn>
                <a:cxn ang="0">
                  <a:pos x="498" y="78"/>
                </a:cxn>
                <a:cxn ang="0">
                  <a:pos x="449" y="156"/>
                </a:cxn>
                <a:cxn ang="0">
                  <a:pos x="420" y="156"/>
                </a:cxn>
                <a:cxn ang="0">
                  <a:pos x="390" y="136"/>
                </a:cxn>
                <a:cxn ang="0">
                  <a:pos x="361" y="87"/>
                </a:cxn>
                <a:cxn ang="0">
                  <a:pos x="371" y="78"/>
                </a:cxn>
                <a:cxn ang="0">
                  <a:pos x="371" y="9"/>
                </a:cxn>
                <a:cxn ang="0">
                  <a:pos x="332" y="9"/>
                </a:cxn>
                <a:cxn ang="0">
                  <a:pos x="303" y="48"/>
                </a:cxn>
                <a:cxn ang="0">
                  <a:pos x="312" y="107"/>
                </a:cxn>
                <a:cxn ang="0">
                  <a:pos x="264" y="126"/>
                </a:cxn>
                <a:cxn ang="0">
                  <a:pos x="234" y="78"/>
                </a:cxn>
                <a:cxn ang="0">
                  <a:pos x="186" y="58"/>
                </a:cxn>
                <a:cxn ang="0">
                  <a:pos x="147" y="117"/>
                </a:cxn>
                <a:cxn ang="0">
                  <a:pos x="156" y="185"/>
                </a:cxn>
                <a:cxn ang="0">
                  <a:pos x="88" y="243"/>
                </a:cxn>
                <a:cxn ang="0">
                  <a:pos x="20" y="302"/>
                </a:cxn>
                <a:cxn ang="0">
                  <a:pos x="0" y="380"/>
                </a:cxn>
                <a:cxn ang="0">
                  <a:pos x="49" y="439"/>
                </a:cxn>
                <a:cxn ang="0">
                  <a:pos x="88" y="487"/>
                </a:cxn>
                <a:cxn ang="0">
                  <a:pos x="127" y="517"/>
                </a:cxn>
                <a:cxn ang="0">
                  <a:pos x="186" y="575"/>
                </a:cxn>
                <a:cxn ang="0">
                  <a:pos x="225" y="595"/>
                </a:cxn>
                <a:cxn ang="0">
                  <a:pos x="273" y="624"/>
                </a:cxn>
                <a:cxn ang="0">
                  <a:pos x="303" y="663"/>
                </a:cxn>
                <a:cxn ang="0">
                  <a:pos x="332" y="702"/>
                </a:cxn>
                <a:cxn ang="0">
                  <a:pos x="381" y="751"/>
                </a:cxn>
              </a:cxnLst>
              <a:rect l="0" t="0" r="r" b="b"/>
              <a:pathLst>
                <a:path w="839" h="770">
                  <a:moveTo>
                    <a:pt x="381" y="751"/>
                  </a:moveTo>
                  <a:lnTo>
                    <a:pt x="390" y="751"/>
                  </a:lnTo>
                  <a:lnTo>
                    <a:pt x="420" y="751"/>
                  </a:lnTo>
                  <a:lnTo>
                    <a:pt x="449" y="761"/>
                  </a:lnTo>
                  <a:lnTo>
                    <a:pt x="449" y="770"/>
                  </a:lnTo>
                  <a:lnTo>
                    <a:pt x="459" y="770"/>
                  </a:lnTo>
                  <a:lnTo>
                    <a:pt x="488" y="741"/>
                  </a:lnTo>
                  <a:lnTo>
                    <a:pt x="478" y="722"/>
                  </a:lnTo>
                  <a:lnTo>
                    <a:pt x="488" y="702"/>
                  </a:lnTo>
                  <a:lnTo>
                    <a:pt x="537" y="692"/>
                  </a:lnTo>
                  <a:lnTo>
                    <a:pt x="576" y="663"/>
                  </a:lnTo>
                  <a:lnTo>
                    <a:pt x="585" y="644"/>
                  </a:lnTo>
                  <a:lnTo>
                    <a:pt x="546" y="614"/>
                  </a:lnTo>
                  <a:lnTo>
                    <a:pt x="537" y="624"/>
                  </a:lnTo>
                  <a:lnTo>
                    <a:pt x="527" y="614"/>
                  </a:lnTo>
                  <a:lnTo>
                    <a:pt x="498" y="634"/>
                  </a:lnTo>
                  <a:lnTo>
                    <a:pt x="478" y="624"/>
                  </a:lnTo>
                  <a:lnTo>
                    <a:pt x="459" y="624"/>
                  </a:lnTo>
                  <a:lnTo>
                    <a:pt x="449" y="614"/>
                  </a:lnTo>
                  <a:lnTo>
                    <a:pt x="459" y="604"/>
                  </a:lnTo>
                  <a:lnTo>
                    <a:pt x="459" y="595"/>
                  </a:lnTo>
                  <a:lnTo>
                    <a:pt x="468" y="575"/>
                  </a:lnTo>
                  <a:lnTo>
                    <a:pt x="478" y="575"/>
                  </a:lnTo>
                  <a:lnTo>
                    <a:pt x="488" y="556"/>
                  </a:lnTo>
                  <a:lnTo>
                    <a:pt x="507" y="556"/>
                  </a:lnTo>
                  <a:lnTo>
                    <a:pt x="537" y="546"/>
                  </a:lnTo>
                  <a:lnTo>
                    <a:pt x="537" y="536"/>
                  </a:lnTo>
                  <a:lnTo>
                    <a:pt x="517" y="517"/>
                  </a:lnTo>
                  <a:lnTo>
                    <a:pt x="537" y="507"/>
                  </a:lnTo>
                  <a:lnTo>
                    <a:pt x="546" y="497"/>
                  </a:lnTo>
                  <a:lnTo>
                    <a:pt x="556" y="487"/>
                  </a:lnTo>
                  <a:lnTo>
                    <a:pt x="556" y="458"/>
                  </a:lnTo>
                  <a:lnTo>
                    <a:pt x="546" y="419"/>
                  </a:lnTo>
                  <a:lnTo>
                    <a:pt x="546" y="400"/>
                  </a:lnTo>
                  <a:lnTo>
                    <a:pt x="546" y="390"/>
                  </a:lnTo>
                  <a:lnTo>
                    <a:pt x="566" y="390"/>
                  </a:lnTo>
                  <a:lnTo>
                    <a:pt x="576" y="400"/>
                  </a:lnTo>
                  <a:lnTo>
                    <a:pt x="595" y="419"/>
                  </a:lnTo>
                  <a:lnTo>
                    <a:pt x="615" y="429"/>
                  </a:lnTo>
                  <a:lnTo>
                    <a:pt x="634" y="448"/>
                  </a:lnTo>
                  <a:lnTo>
                    <a:pt x="654" y="468"/>
                  </a:lnTo>
                  <a:lnTo>
                    <a:pt x="654" y="478"/>
                  </a:lnTo>
                  <a:lnTo>
                    <a:pt x="664" y="487"/>
                  </a:lnTo>
                  <a:lnTo>
                    <a:pt x="673" y="487"/>
                  </a:lnTo>
                  <a:lnTo>
                    <a:pt x="693" y="497"/>
                  </a:lnTo>
                  <a:lnTo>
                    <a:pt x="703" y="487"/>
                  </a:lnTo>
                  <a:lnTo>
                    <a:pt x="722" y="507"/>
                  </a:lnTo>
                  <a:lnTo>
                    <a:pt x="732" y="497"/>
                  </a:lnTo>
                  <a:lnTo>
                    <a:pt x="751" y="526"/>
                  </a:lnTo>
                  <a:lnTo>
                    <a:pt x="781" y="507"/>
                  </a:lnTo>
                  <a:lnTo>
                    <a:pt x="771" y="487"/>
                  </a:lnTo>
                  <a:lnTo>
                    <a:pt x="790" y="458"/>
                  </a:lnTo>
                  <a:lnTo>
                    <a:pt x="790" y="439"/>
                  </a:lnTo>
                  <a:lnTo>
                    <a:pt x="761" y="429"/>
                  </a:lnTo>
                  <a:lnTo>
                    <a:pt x="771" y="419"/>
                  </a:lnTo>
                  <a:lnTo>
                    <a:pt x="790" y="400"/>
                  </a:lnTo>
                  <a:lnTo>
                    <a:pt x="839" y="351"/>
                  </a:lnTo>
                  <a:lnTo>
                    <a:pt x="820" y="341"/>
                  </a:lnTo>
                  <a:lnTo>
                    <a:pt x="800" y="322"/>
                  </a:lnTo>
                  <a:lnTo>
                    <a:pt x="771" y="331"/>
                  </a:lnTo>
                  <a:lnTo>
                    <a:pt x="751" y="312"/>
                  </a:lnTo>
                  <a:lnTo>
                    <a:pt x="742" y="292"/>
                  </a:lnTo>
                  <a:lnTo>
                    <a:pt x="742" y="263"/>
                  </a:lnTo>
                  <a:lnTo>
                    <a:pt x="722" y="243"/>
                  </a:lnTo>
                  <a:lnTo>
                    <a:pt x="712" y="204"/>
                  </a:lnTo>
                  <a:lnTo>
                    <a:pt x="703" y="175"/>
                  </a:lnTo>
                  <a:lnTo>
                    <a:pt x="693" y="185"/>
                  </a:lnTo>
                  <a:lnTo>
                    <a:pt x="673" y="204"/>
                  </a:lnTo>
                  <a:lnTo>
                    <a:pt x="654" y="214"/>
                  </a:lnTo>
                  <a:lnTo>
                    <a:pt x="654" y="204"/>
                  </a:lnTo>
                  <a:lnTo>
                    <a:pt x="673" y="185"/>
                  </a:lnTo>
                  <a:lnTo>
                    <a:pt x="664" y="175"/>
                  </a:lnTo>
                  <a:lnTo>
                    <a:pt x="644" y="175"/>
                  </a:lnTo>
                  <a:lnTo>
                    <a:pt x="644" y="165"/>
                  </a:lnTo>
                  <a:lnTo>
                    <a:pt x="664" y="165"/>
                  </a:lnTo>
                  <a:lnTo>
                    <a:pt x="673" y="165"/>
                  </a:lnTo>
                  <a:lnTo>
                    <a:pt x="673" y="136"/>
                  </a:lnTo>
                  <a:lnTo>
                    <a:pt x="654" y="126"/>
                  </a:lnTo>
                  <a:lnTo>
                    <a:pt x="654" y="107"/>
                  </a:lnTo>
                  <a:lnTo>
                    <a:pt x="644" y="107"/>
                  </a:lnTo>
                  <a:lnTo>
                    <a:pt x="634" y="97"/>
                  </a:lnTo>
                  <a:lnTo>
                    <a:pt x="595" y="97"/>
                  </a:lnTo>
                  <a:lnTo>
                    <a:pt x="576" y="97"/>
                  </a:lnTo>
                  <a:lnTo>
                    <a:pt x="556" y="87"/>
                  </a:lnTo>
                  <a:lnTo>
                    <a:pt x="546" y="87"/>
                  </a:lnTo>
                  <a:lnTo>
                    <a:pt x="517" y="87"/>
                  </a:lnTo>
                  <a:lnTo>
                    <a:pt x="498" y="78"/>
                  </a:lnTo>
                  <a:lnTo>
                    <a:pt x="459" y="97"/>
                  </a:lnTo>
                  <a:lnTo>
                    <a:pt x="459" y="117"/>
                  </a:lnTo>
                  <a:lnTo>
                    <a:pt x="449" y="136"/>
                  </a:lnTo>
                  <a:lnTo>
                    <a:pt x="449" y="156"/>
                  </a:lnTo>
                  <a:lnTo>
                    <a:pt x="429" y="165"/>
                  </a:lnTo>
                  <a:lnTo>
                    <a:pt x="429" y="156"/>
                  </a:lnTo>
                  <a:lnTo>
                    <a:pt x="429" y="146"/>
                  </a:lnTo>
                  <a:lnTo>
                    <a:pt x="420" y="156"/>
                  </a:lnTo>
                  <a:lnTo>
                    <a:pt x="410" y="156"/>
                  </a:lnTo>
                  <a:lnTo>
                    <a:pt x="400" y="156"/>
                  </a:lnTo>
                  <a:lnTo>
                    <a:pt x="390" y="156"/>
                  </a:lnTo>
                  <a:lnTo>
                    <a:pt x="390" y="136"/>
                  </a:lnTo>
                  <a:lnTo>
                    <a:pt x="390" y="126"/>
                  </a:lnTo>
                  <a:lnTo>
                    <a:pt x="371" y="87"/>
                  </a:lnTo>
                  <a:lnTo>
                    <a:pt x="361" y="87"/>
                  </a:lnTo>
                  <a:lnTo>
                    <a:pt x="342" y="87"/>
                  </a:lnTo>
                  <a:lnTo>
                    <a:pt x="351" y="78"/>
                  </a:lnTo>
                  <a:lnTo>
                    <a:pt x="361" y="87"/>
                  </a:lnTo>
                  <a:lnTo>
                    <a:pt x="371" y="78"/>
                  </a:lnTo>
                  <a:lnTo>
                    <a:pt x="371" y="68"/>
                  </a:lnTo>
                  <a:lnTo>
                    <a:pt x="371" y="48"/>
                  </a:lnTo>
                  <a:lnTo>
                    <a:pt x="371" y="29"/>
                  </a:lnTo>
                  <a:lnTo>
                    <a:pt x="371" y="9"/>
                  </a:lnTo>
                  <a:lnTo>
                    <a:pt x="361" y="0"/>
                  </a:lnTo>
                  <a:lnTo>
                    <a:pt x="342" y="9"/>
                  </a:lnTo>
                  <a:lnTo>
                    <a:pt x="332" y="9"/>
                  </a:lnTo>
                  <a:lnTo>
                    <a:pt x="312" y="19"/>
                  </a:lnTo>
                  <a:lnTo>
                    <a:pt x="312" y="29"/>
                  </a:lnTo>
                  <a:lnTo>
                    <a:pt x="303" y="39"/>
                  </a:lnTo>
                  <a:lnTo>
                    <a:pt x="303" y="48"/>
                  </a:lnTo>
                  <a:lnTo>
                    <a:pt x="303" y="68"/>
                  </a:lnTo>
                  <a:lnTo>
                    <a:pt x="312" y="78"/>
                  </a:lnTo>
                  <a:lnTo>
                    <a:pt x="322" y="87"/>
                  </a:lnTo>
                  <a:lnTo>
                    <a:pt x="312" y="107"/>
                  </a:lnTo>
                  <a:lnTo>
                    <a:pt x="293" y="107"/>
                  </a:lnTo>
                  <a:lnTo>
                    <a:pt x="293" y="126"/>
                  </a:lnTo>
                  <a:lnTo>
                    <a:pt x="283" y="126"/>
                  </a:lnTo>
                  <a:lnTo>
                    <a:pt x="264" y="126"/>
                  </a:lnTo>
                  <a:lnTo>
                    <a:pt x="244" y="117"/>
                  </a:lnTo>
                  <a:lnTo>
                    <a:pt x="244" y="107"/>
                  </a:lnTo>
                  <a:lnTo>
                    <a:pt x="244" y="87"/>
                  </a:lnTo>
                  <a:lnTo>
                    <a:pt x="234" y="78"/>
                  </a:lnTo>
                  <a:lnTo>
                    <a:pt x="225" y="78"/>
                  </a:lnTo>
                  <a:lnTo>
                    <a:pt x="205" y="7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76" y="87"/>
                  </a:lnTo>
                  <a:lnTo>
                    <a:pt x="156" y="107"/>
                  </a:lnTo>
                  <a:lnTo>
                    <a:pt x="147" y="117"/>
                  </a:lnTo>
                  <a:lnTo>
                    <a:pt x="137" y="136"/>
                  </a:lnTo>
                  <a:lnTo>
                    <a:pt x="137" y="156"/>
                  </a:lnTo>
                  <a:lnTo>
                    <a:pt x="147" y="175"/>
                  </a:lnTo>
                  <a:lnTo>
                    <a:pt x="156" y="185"/>
                  </a:lnTo>
                  <a:lnTo>
                    <a:pt x="156" y="204"/>
                  </a:lnTo>
                  <a:lnTo>
                    <a:pt x="137" y="214"/>
                  </a:lnTo>
                  <a:lnTo>
                    <a:pt x="98" y="243"/>
                  </a:lnTo>
                  <a:lnTo>
                    <a:pt x="88" y="243"/>
                  </a:lnTo>
                  <a:lnTo>
                    <a:pt x="88" y="263"/>
                  </a:lnTo>
                  <a:lnTo>
                    <a:pt x="49" y="273"/>
                  </a:lnTo>
                  <a:lnTo>
                    <a:pt x="29" y="292"/>
                  </a:lnTo>
                  <a:lnTo>
                    <a:pt x="20" y="302"/>
                  </a:lnTo>
                  <a:lnTo>
                    <a:pt x="20" y="322"/>
                  </a:lnTo>
                  <a:lnTo>
                    <a:pt x="0" y="331"/>
                  </a:lnTo>
                  <a:lnTo>
                    <a:pt x="0" y="361"/>
                  </a:lnTo>
                  <a:lnTo>
                    <a:pt x="0" y="380"/>
                  </a:lnTo>
                  <a:lnTo>
                    <a:pt x="10" y="400"/>
                  </a:lnTo>
                  <a:lnTo>
                    <a:pt x="20" y="409"/>
                  </a:lnTo>
                  <a:lnTo>
                    <a:pt x="29" y="439"/>
                  </a:lnTo>
                  <a:lnTo>
                    <a:pt x="49" y="439"/>
                  </a:lnTo>
                  <a:lnTo>
                    <a:pt x="59" y="448"/>
                  </a:lnTo>
                  <a:lnTo>
                    <a:pt x="69" y="458"/>
                  </a:lnTo>
                  <a:lnTo>
                    <a:pt x="78" y="487"/>
                  </a:lnTo>
                  <a:lnTo>
                    <a:pt x="88" y="487"/>
                  </a:lnTo>
                  <a:lnTo>
                    <a:pt x="108" y="487"/>
                  </a:lnTo>
                  <a:lnTo>
                    <a:pt x="127" y="497"/>
                  </a:lnTo>
                  <a:lnTo>
                    <a:pt x="137" y="507"/>
                  </a:lnTo>
                  <a:lnTo>
                    <a:pt x="127" y="517"/>
                  </a:lnTo>
                  <a:lnTo>
                    <a:pt x="137" y="526"/>
                  </a:lnTo>
                  <a:lnTo>
                    <a:pt x="147" y="536"/>
                  </a:lnTo>
                  <a:lnTo>
                    <a:pt x="156" y="556"/>
                  </a:lnTo>
                  <a:lnTo>
                    <a:pt x="186" y="575"/>
                  </a:lnTo>
                  <a:lnTo>
                    <a:pt x="205" y="575"/>
                  </a:lnTo>
                  <a:lnTo>
                    <a:pt x="215" y="575"/>
                  </a:lnTo>
                  <a:lnTo>
                    <a:pt x="234" y="585"/>
                  </a:lnTo>
                  <a:lnTo>
                    <a:pt x="225" y="595"/>
                  </a:lnTo>
                  <a:lnTo>
                    <a:pt x="234" y="604"/>
                  </a:lnTo>
                  <a:lnTo>
                    <a:pt x="244" y="624"/>
                  </a:lnTo>
                  <a:lnTo>
                    <a:pt x="254" y="634"/>
                  </a:lnTo>
                  <a:lnTo>
                    <a:pt x="273" y="624"/>
                  </a:lnTo>
                  <a:lnTo>
                    <a:pt x="293" y="614"/>
                  </a:lnTo>
                  <a:lnTo>
                    <a:pt x="303" y="634"/>
                  </a:lnTo>
                  <a:lnTo>
                    <a:pt x="293" y="644"/>
                  </a:lnTo>
                  <a:lnTo>
                    <a:pt x="303" y="663"/>
                  </a:lnTo>
                  <a:lnTo>
                    <a:pt x="312" y="673"/>
                  </a:lnTo>
                  <a:lnTo>
                    <a:pt x="322" y="673"/>
                  </a:lnTo>
                  <a:lnTo>
                    <a:pt x="332" y="683"/>
                  </a:lnTo>
                  <a:lnTo>
                    <a:pt x="332" y="702"/>
                  </a:lnTo>
                  <a:lnTo>
                    <a:pt x="351" y="692"/>
                  </a:lnTo>
                  <a:lnTo>
                    <a:pt x="381" y="722"/>
                  </a:lnTo>
                  <a:lnTo>
                    <a:pt x="351" y="741"/>
                  </a:lnTo>
                  <a:lnTo>
                    <a:pt x="381" y="751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Freeform 168"/>
            <p:cNvSpPr>
              <a:spLocks/>
            </p:cNvSpPr>
            <p:nvPr/>
          </p:nvSpPr>
          <p:spPr bwMode="auto">
            <a:xfrm>
              <a:off x="1203" y="1911"/>
              <a:ext cx="249" cy="275"/>
            </a:xfrm>
            <a:custGeom>
              <a:avLst/>
              <a:gdLst/>
              <a:ahLst/>
              <a:cxnLst>
                <a:cxn ang="0">
                  <a:pos x="195" y="264"/>
                </a:cxn>
                <a:cxn ang="0">
                  <a:pos x="175" y="254"/>
                </a:cxn>
                <a:cxn ang="0">
                  <a:pos x="156" y="225"/>
                </a:cxn>
                <a:cxn ang="0">
                  <a:pos x="136" y="205"/>
                </a:cxn>
                <a:cxn ang="0">
                  <a:pos x="117" y="205"/>
                </a:cxn>
                <a:cxn ang="0">
                  <a:pos x="97" y="186"/>
                </a:cxn>
                <a:cxn ang="0">
                  <a:pos x="68" y="176"/>
                </a:cxn>
                <a:cxn ang="0">
                  <a:pos x="68" y="156"/>
                </a:cxn>
                <a:cxn ang="0">
                  <a:pos x="58" y="156"/>
                </a:cxn>
                <a:cxn ang="0">
                  <a:pos x="39" y="156"/>
                </a:cxn>
                <a:cxn ang="0">
                  <a:pos x="29" y="137"/>
                </a:cxn>
                <a:cxn ang="0">
                  <a:pos x="29" y="137"/>
                </a:cxn>
                <a:cxn ang="0">
                  <a:pos x="19" y="127"/>
                </a:cxn>
                <a:cxn ang="0">
                  <a:pos x="19" y="117"/>
                </a:cxn>
                <a:cxn ang="0">
                  <a:pos x="29" y="117"/>
                </a:cxn>
                <a:cxn ang="0">
                  <a:pos x="29" y="98"/>
                </a:cxn>
                <a:cxn ang="0">
                  <a:pos x="29" y="88"/>
                </a:cxn>
                <a:cxn ang="0">
                  <a:pos x="19" y="78"/>
                </a:cxn>
                <a:cxn ang="0">
                  <a:pos x="19" y="69"/>
                </a:cxn>
                <a:cxn ang="0">
                  <a:pos x="10" y="59"/>
                </a:cxn>
                <a:cxn ang="0">
                  <a:pos x="0" y="39"/>
                </a:cxn>
                <a:cxn ang="0">
                  <a:pos x="0" y="39"/>
                </a:cxn>
                <a:cxn ang="0">
                  <a:pos x="10" y="39"/>
                </a:cxn>
                <a:cxn ang="0">
                  <a:pos x="19" y="39"/>
                </a:cxn>
                <a:cxn ang="0">
                  <a:pos x="29" y="30"/>
                </a:cxn>
                <a:cxn ang="0">
                  <a:pos x="39" y="20"/>
                </a:cxn>
                <a:cxn ang="0">
                  <a:pos x="49" y="30"/>
                </a:cxn>
                <a:cxn ang="0">
                  <a:pos x="58" y="39"/>
                </a:cxn>
                <a:cxn ang="0">
                  <a:pos x="68" y="30"/>
                </a:cxn>
                <a:cxn ang="0">
                  <a:pos x="68" y="10"/>
                </a:cxn>
                <a:cxn ang="0">
                  <a:pos x="68" y="0"/>
                </a:cxn>
                <a:cxn ang="0">
                  <a:pos x="107" y="10"/>
                </a:cxn>
                <a:cxn ang="0">
                  <a:pos x="117" y="10"/>
                </a:cxn>
                <a:cxn ang="0">
                  <a:pos x="127" y="10"/>
                </a:cxn>
                <a:cxn ang="0">
                  <a:pos x="136" y="10"/>
                </a:cxn>
                <a:cxn ang="0">
                  <a:pos x="136" y="10"/>
                </a:cxn>
                <a:cxn ang="0">
                  <a:pos x="156" y="30"/>
                </a:cxn>
                <a:cxn ang="0">
                  <a:pos x="175" y="39"/>
                </a:cxn>
                <a:cxn ang="0">
                  <a:pos x="166" y="49"/>
                </a:cxn>
                <a:cxn ang="0">
                  <a:pos x="156" y="59"/>
                </a:cxn>
                <a:cxn ang="0">
                  <a:pos x="156" y="59"/>
                </a:cxn>
                <a:cxn ang="0">
                  <a:pos x="175" y="69"/>
                </a:cxn>
                <a:cxn ang="0">
                  <a:pos x="195" y="78"/>
                </a:cxn>
                <a:cxn ang="0">
                  <a:pos x="195" y="108"/>
                </a:cxn>
                <a:cxn ang="0">
                  <a:pos x="205" y="127"/>
                </a:cxn>
                <a:cxn ang="0">
                  <a:pos x="205" y="156"/>
                </a:cxn>
                <a:cxn ang="0">
                  <a:pos x="205" y="176"/>
                </a:cxn>
                <a:cxn ang="0">
                  <a:pos x="205" y="156"/>
                </a:cxn>
                <a:cxn ang="0">
                  <a:pos x="205" y="176"/>
                </a:cxn>
                <a:cxn ang="0">
                  <a:pos x="224" y="186"/>
                </a:cxn>
                <a:cxn ang="0">
                  <a:pos x="224" y="205"/>
                </a:cxn>
                <a:cxn ang="0">
                  <a:pos x="224" y="205"/>
                </a:cxn>
                <a:cxn ang="0">
                  <a:pos x="253" y="215"/>
                </a:cxn>
                <a:cxn ang="0">
                  <a:pos x="253" y="225"/>
                </a:cxn>
                <a:cxn ang="0">
                  <a:pos x="244" y="234"/>
                </a:cxn>
                <a:cxn ang="0">
                  <a:pos x="244" y="254"/>
                </a:cxn>
                <a:cxn ang="0">
                  <a:pos x="234" y="244"/>
                </a:cxn>
                <a:cxn ang="0">
                  <a:pos x="224" y="234"/>
                </a:cxn>
                <a:cxn ang="0">
                  <a:pos x="214" y="244"/>
                </a:cxn>
                <a:cxn ang="0">
                  <a:pos x="205" y="264"/>
                </a:cxn>
                <a:cxn ang="0">
                  <a:pos x="195" y="274"/>
                </a:cxn>
                <a:cxn ang="0">
                  <a:pos x="195" y="264"/>
                </a:cxn>
              </a:cxnLst>
              <a:rect l="0" t="0" r="r" b="b"/>
              <a:pathLst>
                <a:path w="253" h="274">
                  <a:moveTo>
                    <a:pt x="195" y="264"/>
                  </a:moveTo>
                  <a:lnTo>
                    <a:pt x="175" y="254"/>
                  </a:lnTo>
                  <a:lnTo>
                    <a:pt x="156" y="225"/>
                  </a:lnTo>
                  <a:lnTo>
                    <a:pt x="136" y="205"/>
                  </a:lnTo>
                  <a:lnTo>
                    <a:pt x="117" y="205"/>
                  </a:lnTo>
                  <a:lnTo>
                    <a:pt x="97" y="186"/>
                  </a:lnTo>
                  <a:lnTo>
                    <a:pt x="68" y="17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39" y="156"/>
                  </a:lnTo>
                  <a:lnTo>
                    <a:pt x="29" y="137"/>
                  </a:lnTo>
                  <a:lnTo>
                    <a:pt x="19" y="127"/>
                  </a:lnTo>
                  <a:lnTo>
                    <a:pt x="19" y="117"/>
                  </a:lnTo>
                  <a:lnTo>
                    <a:pt x="29" y="117"/>
                  </a:lnTo>
                  <a:lnTo>
                    <a:pt x="29" y="98"/>
                  </a:lnTo>
                  <a:lnTo>
                    <a:pt x="29" y="88"/>
                  </a:lnTo>
                  <a:lnTo>
                    <a:pt x="19" y="78"/>
                  </a:lnTo>
                  <a:lnTo>
                    <a:pt x="19" y="69"/>
                  </a:lnTo>
                  <a:lnTo>
                    <a:pt x="10" y="5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19" y="39"/>
                  </a:lnTo>
                  <a:lnTo>
                    <a:pt x="29" y="30"/>
                  </a:lnTo>
                  <a:lnTo>
                    <a:pt x="39" y="20"/>
                  </a:lnTo>
                  <a:lnTo>
                    <a:pt x="49" y="30"/>
                  </a:lnTo>
                  <a:lnTo>
                    <a:pt x="58" y="39"/>
                  </a:lnTo>
                  <a:lnTo>
                    <a:pt x="68" y="30"/>
                  </a:lnTo>
                  <a:lnTo>
                    <a:pt x="68" y="10"/>
                  </a:lnTo>
                  <a:lnTo>
                    <a:pt x="68" y="0"/>
                  </a:lnTo>
                  <a:lnTo>
                    <a:pt x="107" y="10"/>
                  </a:lnTo>
                  <a:lnTo>
                    <a:pt x="117" y="10"/>
                  </a:lnTo>
                  <a:lnTo>
                    <a:pt x="127" y="10"/>
                  </a:lnTo>
                  <a:lnTo>
                    <a:pt x="136" y="10"/>
                  </a:lnTo>
                  <a:lnTo>
                    <a:pt x="156" y="30"/>
                  </a:lnTo>
                  <a:lnTo>
                    <a:pt x="175" y="39"/>
                  </a:lnTo>
                  <a:lnTo>
                    <a:pt x="166" y="49"/>
                  </a:lnTo>
                  <a:lnTo>
                    <a:pt x="156" y="59"/>
                  </a:lnTo>
                  <a:lnTo>
                    <a:pt x="175" y="69"/>
                  </a:lnTo>
                  <a:lnTo>
                    <a:pt x="195" y="78"/>
                  </a:lnTo>
                  <a:lnTo>
                    <a:pt x="195" y="108"/>
                  </a:lnTo>
                  <a:lnTo>
                    <a:pt x="205" y="127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05" y="156"/>
                  </a:lnTo>
                  <a:lnTo>
                    <a:pt x="205" y="176"/>
                  </a:lnTo>
                  <a:lnTo>
                    <a:pt x="224" y="186"/>
                  </a:lnTo>
                  <a:lnTo>
                    <a:pt x="224" y="205"/>
                  </a:lnTo>
                  <a:lnTo>
                    <a:pt x="253" y="215"/>
                  </a:lnTo>
                  <a:lnTo>
                    <a:pt x="253" y="225"/>
                  </a:lnTo>
                  <a:lnTo>
                    <a:pt x="244" y="234"/>
                  </a:lnTo>
                  <a:lnTo>
                    <a:pt x="244" y="254"/>
                  </a:lnTo>
                  <a:lnTo>
                    <a:pt x="234" y="244"/>
                  </a:lnTo>
                  <a:lnTo>
                    <a:pt x="224" y="234"/>
                  </a:lnTo>
                  <a:lnTo>
                    <a:pt x="214" y="244"/>
                  </a:lnTo>
                  <a:lnTo>
                    <a:pt x="205" y="264"/>
                  </a:lnTo>
                  <a:lnTo>
                    <a:pt x="195" y="274"/>
                  </a:lnTo>
                  <a:lnTo>
                    <a:pt x="195" y="264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Freeform 167"/>
            <p:cNvSpPr>
              <a:spLocks/>
            </p:cNvSpPr>
            <p:nvPr/>
          </p:nvSpPr>
          <p:spPr bwMode="auto">
            <a:xfrm>
              <a:off x="1171" y="2050"/>
              <a:ext cx="225" cy="291"/>
            </a:xfrm>
            <a:custGeom>
              <a:avLst/>
              <a:gdLst/>
              <a:ahLst/>
              <a:cxnLst>
                <a:cxn ang="0">
                  <a:pos x="137" y="283"/>
                </a:cxn>
                <a:cxn ang="0">
                  <a:pos x="147" y="263"/>
                </a:cxn>
                <a:cxn ang="0">
                  <a:pos x="166" y="244"/>
                </a:cxn>
                <a:cxn ang="0">
                  <a:pos x="186" y="244"/>
                </a:cxn>
                <a:cxn ang="0">
                  <a:pos x="186" y="224"/>
                </a:cxn>
                <a:cxn ang="0">
                  <a:pos x="186" y="215"/>
                </a:cxn>
                <a:cxn ang="0">
                  <a:pos x="186" y="205"/>
                </a:cxn>
                <a:cxn ang="0">
                  <a:pos x="186" y="205"/>
                </a:cxn>
                <a:cxn ang="0">
                  <a:pos x="196" y="205"/>
                </a:cxn>
                <a:cxn ang="0">
                  <a:pos x="205" y="195"/>
                </a:cxn>
                <a:cxn ang="0">
                  <a:pos x="215" y="185"/>
                </a:cxn>
                <a:cxn ang="0">
                  <a:pos x="215" y="176"/>
                </a:cxn>
                <a:cxn ang="0">
                  <a:pos x="205" y="166"/>
                </a:cxn>
                <a:cxn ang="0">
                  <a:pos x="215" y="156"/>
                </a:cxn>
                <a:cxn ang="0">
                  <a:pos x="225" y="156"/>
                </a:cxn>
                <a:cxn ang="0">
                  <a:pos x="225" y="137"/>
                </a:cxn>
                <a:cxn ang="0">
                  <a:pos x="225" y="127"/>
                </a:cxn>
                <a:cxn ang="0">
                  <a:pos x="215" y="117"/>
                </a:cxn>
                <a:cxn ang="0">
                  <a:pos x="186" y="88"/>
                </a:cxn>
                <a:cxn ang="0">
                  <a:pos x="166" y="78"/>
                </a:cxn>
                <a:cxn ang="0">
                  <a:pos x="147" y="68"/>
                </a:cxn>
                <a:cxn ang="0">
                  <a:pos x="127" y="58"/>
                </a:cxn>
                <a:cxn ang="0">
                  <a:pos x="108" y="39"/>
                </a:cxn>
                <a:cxn ang="0">
                  <a:pos x="98" y="19"/>
                </a:cxn>
                <a:cxn ang="0">
                  <a:pos x="88" y="19"/>
                </a:cxn>
                <a:cxn ang="0">
                  <a:pos x="79" y="19"/>
                </a:cxn>
                <a:cxn ang="0">
                  <a:pos x="69" y="0"/>
                </a:cxn>
                <a:cxn ang="0">
                  <a:pos x="59" y="0"/>
                </a:cxn>
                <a:cxn ang="0">
                  <a:pos x="49" y="0"/>
                </a:cxn>
                <a:cxn ang="0">
                  <a:pos x="40" y="10"/>
                </a:cxn>
                <a:cxn ang="0">
                  <a:pos x="40" y="19"/>
                </a:cxn>
                <a:cxn ang="0">
                  <a:pos x="10" y="19"/>
                </a:cxn>
                <a:cxn ang="0">
                  <a:pos x="0" y="49"/>
                </a:cxn>
                <a:cxn ang="0">
                  <a:pos x="0" y="58"/>
                </a:cxn>
                <a:cxn ang="0">
                  <a:pos x="20" y="58"/>
                </a:cxn>
                <a:cxn ang="0">
                  <a:pos x="30" y="68"/>
                </a:cxn>
                <a:cxn ang="0">
                  <a:pos x="30" y="88"/>
                </a:cxn>
                <a:cxn ang="0">
                  <a:pos x="30" y="117"/>
                </a:cxn>
                <a:cxn ang="0">
                  <a:pos x="49" y="127"/>
                </a:cxn>
                <a:cxn ang="0">
                  <a:pos x="59" y="127"/>
                </a:cxn>
                <a:cxn ang="0">
                  <a:pos x="79" y="146"/>
                </a:cxn>
                <a:cxn ang="0">
                  <a:pos x="88" y="146"/>
                </a:cxn>
                <a:cxn ang="0">
                  <a:pos x="88" y="156"/>
                </a:cxn>
                <a:cxn ang="0">
                  <a:pos x="79" y="166"/>
                </a:cxn>
                <a:cxn ang="0">
                  <a:pos x="79" y="185"/>
                </a:cxn>
                <a:cxn ang="0">
                  <a:pos x="69" y="205"/>
                </a:cxn>
                <a:cxn ang="0">
                  <a:pos x="79" y="224"/>
                </a:cxn>
                <a:cxn ang="0">
                  <a:pos x="88" y="234"/>
                </a:cxn>
                <a:cxn ang="0">
                  <a:pos x="98" y="224"/>
                </a:cxn>
                <a:cxn ang="0">
                  <a:pos x="98" y="234"/>
                </a:cxn>
                <a:cxn ang="0">
                  <a:pos x="108" y="254"/>
                </a:cxn>
                <a:cxn ang="0">
                  <a:pos x="108" y="283"/>
                </a:cxn>
                <a:cxn ang="0">
                  <a:pos x="108" y="293"/>
                </a:cxn>
                <a:cxn ang="0">
                  <a:pos x="127" y="283"/>
                </a:cxn>
                <a:cxn ang="0">
                  <a:pos x="137" y="283"/>
                </a:cxn>
              </a:cxnLst>
              <a:rect l="0" t="0" r="r" b="b"/>
              <a:pathLst>
                <a:path w="225" h="293">
                  <a:moveTo>
                    <a:pt x="137" y="283"/>
                  </a:moveTo>
                  <a:lnTo>
                    <a:pt x="147" y="263"/>
                  </a:lnTo>
                  <a:lnTo>
                    <a:pt x="166" y="244"/>
                  </a:lnTo>
                  <a:lnTo>
                    <a:pt x="186" y="244"/>
                  </a:lnTo>
                  <a:lnTo>
                    <a:pt x="186" y="224"/>
                  </a:lnTo>
                  <a:lnTo>
                    <a:pt x="186" y="215"/>
                  </a:lnTo>
                  <a:lnTo>
                    <a:pt x="186" y="205"/>
                  </a:lnTo>
                  <a:lnTo>
                    <a:pt x="196" y="205"/>
                  </a:lnTo>
                  <a:lnTo>
                    <a:pt x="205" y="195"/>
                  </a:lnTo>
                  <a:lnTo>
                    <a:pt x="215" y="185"/>
                  </a:lnTo>
                  <a:lnTo>
                    <a:pt x="215" y="176"/>
                  </a:lnTo>
                  <a:lnTo>
                    <a:pt x="205" y="166"/>
                  </a:lnTo>
                  <a:lnTo>
                    <a:pt x="215" y="156"/>
                  </a:lnTo>
                  <a:lnTo>
                    <a:pt x="225" y="156"/>
                  </a:lnTo>
                  <a:lnTo>
                    <a:pt x="225" y="137"/>
                  </a:lnTo>
                  <a:lnTo>
                    <a:pt x="225" y="127"/>
                  </a:lnTo>
                  <a:lnTo>
                    <a:pt x="215" y="117"/>
                  </a:lnTo>
                  <a:lnTo>
                    <a:pt x="186" y="88"/>
                  </a:lnTo>
                  <a:lnTo>
                    <a:pt x="166" y="78"/>
                  </a:lnTo>
                  <a:lnTo>
                    <a:pt x="147" y="68"/>
                  </a:lnTo>
                  <a:lnTo>
                    <a:pt x="127" y="58"/>
                  </a:lnTo>
                  <a:lnTo>
                    <a:pt x="108" y="39"/>
                  </a:lnTo>
                  <a:lnTo>
                    <a:pt x="98" y="19"/>
                  </a:lnTo>
                  <a:lnTo>
                    <a:pt x="88" y="19"/>
                  </a:lnTo>
                  <a:lnTo>
                    <a:pt x="79" y="19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0"/>
                  </a:lnTo>
                  <a:lnTo>
                    <a:pt x="40" y="10"/>
                  </a:lnTo>
                  <a:lnTo>
                    <a:pt x="40" y="19"/>
                  </a:lnTo>
                  <a:lnTo>
                    <a:pt x="10" y="19"/>
                  </a:lnTo>
                  <a:lnTo>
                    <a:pt x="0" y="49"/>
                  </a:lnTo>
                  <a:lnTo>
                    <a:pt x="0" y="58"/>
                  </a:lnTo>
                  <a:lnTo>
                    <a:pt x="20" y="58"/>
                  </a:lnTo>
                  <a:lnTo>
                    <a:pt x="30" y="68"/>
                  </a:lnTo>
                  <a:lnTo>
                    <a:pt x="30" y="88"/>
                  </a:lnTo>
                  <a:lnTo>
                    <a:pt x="30" y="117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79" y="146"/>
                  </a:lnTo>
                  <a:lnTo>
                    <a:pt x="88" y="146"/>
                  </a:lnTo>
                  <a:lnTo>
                    <a:pt x="88" y="156"/>
                  </a:lnTo>
                  <a:lnTo>
                    <a:pt x="79" y="166"/>
                  </a:lnTo>
                  <a:lnTo>
                    <a:pt x="79" y="185"/>
                  </a:lnTo>
                  <a:lnTo>
                    <a:pt x="69" y="205"/>
                  </a:lnTo>
                  <a:lnTo>
                    <a:pt x="79" y="224"/>
                  </a:lnTo>
                  <a:lnTo>
                    <a:pt x="88" y="234"/>
                  </a:lnTo>
                  <a:lnTo>
                    <a:pt x="98" y="224"/>
                  </a:lnTo>
                  <a:lnTo>
                    <a:pt x="98" y="234"/>
                  </a:lnTo>
                  <a:lnTo>
                    <a:pt x="108" y="254"/>
                  </a:lnTo>
                  <a:lnTo>
                    <a:pt x="108" y="283"/>
                  </a:lnTo>
                  <a:lnTo>
                    <a:pt x="108" y="293"/>
                  </a:lnTo>
                  <a:lnTo>
                    <a:pt x="127" y="283"/>
                  </a:lnTo>
                  <a:lnTo>
                    <a:pt x="137" y="283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Freeform 166"/>
            <p:cNvSpPr>
              <a:spLocks/>
            </p:cNvSpPr>
            <p:nvPr/>
          </p:nvSpPr>
          <p:spPr bwMode="auto">
            <a:xfrm>
              <a:off x="1329" y="1864"/>
              <a:ext cx="203" cy="233"/>
            </a:xfrm>
            <a:custGeom>
              <a:avLst/>
              <a:gdLst>
                <a:gd name="T0" fmla="*/ 175 w 204"/>
                <a:gd name="T1" fmla="*/ 78 h 234"/>
                <a:gd name="T2" fmla="*/ 165 w 204"/>
                <a:gd name="T3" fmla="*/ 97 h 234"/>
                <a:gd name="T4" fmla="*/ 175 w 204"/>
                <a:gd name="T5" fmla="*/ 126 h 234"/>
                <a:gd name="T6" fmla="*/ 195 w 204"/>
                <a:gd name="T7" fmla="*/ 136 h 234"/>
                <a:gd name="T8" fmla="*/ 195 w 204"/>
                <a:gd name="T9" fmla="*/ 146 h 234"/>
                <a:gd name="T10" fmla="*/ 195 w 204"/>
                <a:gd name="T11" fmla="*/ 156 h 234"/>
                <a:gd name="T12" fmla="*/ 204 w 204"/>
                <a:gd name="T13" fmla="*/ 175 h 234"/>
                <a:gd name="T14" fmla="*/ 185 w 204"/>
                <a:gd name="T15" fmla="*/ 185 h 234"/>
                <a:gd name="T16" fmla="*/ 165 w 204"/>
                <a:gd name="T17" fmla="*/ 195 h 234"/>
                <a:gd name="T18" fmla="*/ 146 w 204"/>
                <a:gd name="T19" fmla="*/ 195 h 234"/>
                <a:gd name="T20" fmla="*/ 146 w 204"/>
                <a:gd name="T21" fmla="*/ 204 h 234"/>
                <a:gd name="T22" fmla="*/ 156 w 204"/>
                <a:gd name="T23" fmla="*/ 214 h 234"/>
                <a:gd name="T24" fmla="*/ 146 w 204"/>
                <a:gd name="T25" fmla="*/ 224 h 234"/>
                <a:gd name="T26" fmla="*/ 136 w 204"/>
                <a:gd name="T27" fmla="*/ 234 h 234"/>
                <a:gd name="T28" fmla="*/ 117 w 204"/>
                <a:gd name="T29" fmla="*/ 234 h 234"/>
                <a:gd name="T30" fmla="*/ 97 w 204"/>
                <a:gd name="T31" fmla="*/ 234 h 234"/>
                <a:gd name="T32" fmla="*/ 78 w 204"/>
                <a:gd name="T33" fmla="*/ 224 h 234"/>
                <a:gd name="T34" fmla="*/ 87 w 204"/>
                <a:gd name="T35" fmla="*/ 204 h 234"/>
                <a:gd name="T36" fmla="*/ 78 w 204"/>
                <a:gd name="T37" fmla="*/ 224 h 234"/>
                <a:gd name="T38" fmla="*/ 87 w 204"/>
                <a:gd name="T39" fmla="*/ 204 h 234"/>
                <a:gd name="T40" fmla="*/ 78 w 204"/>
                <a:gd name="T41" fmla="*/ 175 h 234"/>
                <a:gd name="T42" fmla="*/ 68 w 204"/>
                <a:gd name="T43" fmla="*/ 156 h 234"/>
                <a:gd name="T44" fmla="*/ 68 w 204"/>
                <a:gd name="T45" fmla="*/ 126 h 234"/>
                <a:gd name="T46" fmla="*/ 48 w 204"/>
                <a:gd name="T47" fmla="*/ 117 h 234"/>
                <a:gd name="T48" fmla="*/ 29 w 204"/>
                <a:gd name="T49" fmla="*/ 107 h 234"/>
                <a:gd name="T50" fmla="*/ 29 w 204"/>
                <a:gd name="T51" fmla="*/ 107 h 234"/>
                <a:gd name="T52" fmla="*/ 39 w 204"/>
                <a:gd name="T53" fmla="*/ 97 h 234"/>
                <a:gd name="T54" fmla="*/ 48 w 204"/>
                <a:gd name="T55" fmla="*/ 87 h 234"/>
                <a:gd name="T56" fmla="*/ 29 w 204"/>
                <a:gd name="T57" fmla="*/ 78 h 234"/>
                <a:gd name="T58" fmla="*/ 9 w 204"/>
                <a:gd name="T59" fmla="*/ 68 h 234"/>
                <a:gd name="T60" fmla="*/ 9 w 204"/>
                <a:gd name="T61" fmla="*/ 58 h 234"/>
                <a:gd name="T62" fmla="*/ 0 w 204"/>
                <a:gd name="T63" fmla="*/ 48 h 234"/>
                <a:gd name="T64" fmla="*/ 0 w 204"/>
                <a:gd name="T65" fmla="*/ 39 h 234"/>
                <a:gd name="T66" fmla="*/ 19 w 204"/>
                <a:gd name="T67" fmla="*/ 39 h 234"/>
                <a:gd name="T68" fmla="*/ 29 w 204"/>
                <a:gd name="T69" fmla="*/ 39 h 234"/>
                <a:gd name="T70" fmla="*/ 48 w 204"/>
                <a:gd name="T71" fmla="*/ 39 h 234"/>
                <a:gd name="T72" fmla="*/ 48 w 204"/>
                <a:gd name="T73" fmla="*/ 29 h 234"/>
                <a:gd name="T74" fmla="*/ 48 w 204"/>
                <a:gd name="T75" fmla="*/ 19 h 234"/>
                <a:gd name="T76" fmla="*/ 58 w 204"/>
                <a:gd name="T77" fmla="*/ 9 h 234"/>
                <a:gd name="T78" fmla="*/ 58 w 204"/>
                <a:gd name="T79" fmla="*/ 9 h 234"/>
                <a:gd name="T80" fmla="*/ 78 w 204"/>
                <a:gd name="T81" fmla="*/ 29 h 234"/>
                <a:gd name="T82" fmla="*/ 87 w 204"/>
                <a:gd name="T83" fmla="*/ 29 h 234"/>
                <a:gd name="T84" fmla="*/ 97 w 204"/>
                <a:gd name="T85" fmla="*/ 9 h 234"/>
                <a:gd name="T86" fmla="*/ 107 w 204"/>
                <a:gd name="T87" fmla="*/ 0 h 234"/>
                <a:gd name="T88" fmla="*/ 156 w 204"/>
                <a:gd name="T89" fmla="*/ 29 h 234"/>
                <a:gd name="T90" fmla="*/ 156 w 204"/>
                <a:gd name="T91" fmla="*/ 39 h 234"/>
                <a:gd name="T92" fmla="*/ 175 w 204"/>
                <a:gd name="T93" fmla="*/ 39 h 234"/>
                <a:gd name="T94" fmla="*/ 175 w 204"/>
                <a:gd name="T95" fmla="*/ 48 h 234"/>
                <a:gd name="T96" fmla="*/ 175 w 204"/>
                <a:gd name="T97" fmla="*/ 58 h 234"/>
                <a:gd name="T98" fmla="*/ 175 w 204"/>
                <a:gd name="T99" fmla="*/ 78 h 23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4"/>
                <a:gd name="T151" fmla="*/ 0 h 234"/>
                <a:gd name="T152" fmla="*/ 204 w 204"/>
                <a:gd name="T153" fmla="*/ 234 h 23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8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  <a:lnTo>
                    <a:pt x="175" y="7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Freeform 165"/>
            <p:cNvSpPr>
              <a:spLocks/>
            </p:cNvSpPr>
            <p:nvPr/>
          </p:nvSpPr>
          <p:spPr bwMode="auto">
            <a:xfrm>
              <a:off x="1326" y="1864"/>
              <a:ext cx="206" cy="233"/>
            </a:xfrm>
            <a:custGeom>
              <a:avLst/>
              <a:gdLst/>
              <a:ahLst/>
              <a:cxnLst>
                <a:cxn ang="0">
                  <a:pos x="175" y="78"/>
                </a:cxn>
                <a:cxn ang="0">
                  <a:pos x="165" y="97"/>
                </a:cxn>
                <a:cxn ang="0">
                  <a:pos x="175" y="126"/>
                </a:cxn>
                <a:cxn ang="0">
                  <a:pos x="195" y="136"/>
                </a:cxn>
                <a:cxn ang="0">
                  <a:pos x="195" y="146"/>
                </a:cxn>
                <a:cxn ang="0">
                  <a:pos x="195" y="156"/>
                </a:cxn>
                <a:cxn ang="0">
                  <a:pos x="204" y="175"/>
                </a:cxn>
                <a:cxn ang="0">
                  <a:pos x="185" y="185"/>
                </a:cxn>
                <a:cxn ang="0">
                  <a:pos x="165" y="195"/>
                </a:cxn>
                <a:cxn ang="0">
                  <a:pos x="146" y="195"/>
                </a:cxn>
                <a:cxn ang="0">
                  <a:pos x="146" y="204"/>
                </a:cxn>
                <a:cxn ang="0">
                  <a:pos x="156" y="214"/>
                </a:cxn>
                <a:cxn ang="0">
                  <a:pos x="146" y="224"/>
                </a:cxn>
                <a:cxn ang="0">
                  <a:pos x="136" y="234"/>
                </a:cxn>
                <a:cxn ang="0">
                  <a:pos x="117" y="234"/>
                </a:cxn>
                <a:cxn ang="0">
                  <a:pos x="97" y="234"/>
                </a:cxn>
                <a:cxn ang="0">
                  <a:pos x="78" y="224"/>
                </a:cxn>
                <a:cxn ang="0">
                  <a:pos x="87" y="204"/>
                </a:cxn>
                <a:cxn ang="0">
                  <a:pos x="78" y="224"/>
                </a:cxn>
                <a:cxn ang="0">
                  <a:pos x="87" y="204"/>
                </a:cxn>
                <a:cxn ang="0">
                  <a:pos x="78" y="175"/>
                </a:cxn>
                <a:cxn ang="0">
                  <a:pos x="68" y="156"/>
                </a:cxn>
                <a:cxn ang="0">
                  <a:pos x="68" y="126"/>
                </a:cxn>
                <a:cxn ang="0">
                  <a:pos x="48" y="117"/>
                </a:cxn>
                <a:cxn ang="0">
                  <a:pos x="29" y="107"/>
                </a:cxn>
                <a:cxn ang="0">
                  <a:pos x="29" y="107"/>
                </a:cxn>
                <a:cxn ang="0">
                  <a:pos x="39" y="97"/>
                </a:cxn>
                <a:cxn ang="0">
                  <a:pos x="48" y="87"/>
                </a:cxn>
                <a:cxn ang="0">
                  <a:pos x="29" y="78"/>
                </a:cxn>
                <a:cxn ang="0">
                  <a:pos x="9" y="68"/>
                </a:cxn>
                <a:cxn ang="0">
                  <a:pos x="9" y="58"/>
                </a:cxn>
                <a:cxn ang="0">
                  <a:pos x="0" y="48"/>
                </a:cxn>
                <a:cxn ang="0">
                  <a:pos x="0" y="39"/>
                </a:cxn>
                <a:cxn ang="0">
                  <a:pos x="19" y="39"/>
                </a:cxn>
                <a:cxn ang="0">
                  <a:pos x="29" y="39"/>
                </a:cxn>
                <a:cxn ang="0">
                  <a:pos x="48" y="39"/>
                </a:cxn>
                <a:cxn ang="0">
                  <a:pos x="48" y="29"/>
                </a:cxn>
                <a:cxn ang="0">
                  <a:pos x="48" y="19"/>
                </a:cxn>
                <a:cxn ang="0">
                  <a:pos x="48" y="9"/>
                </a:cxn>
                <a:cxn ang="0">
                  <a:pos x="58" y="9"/>
                </a:cxn>
                <a:cxn ang="0">
                  <a:pos x="78" y="29"/>
                </a:cxn>
                <a:cxn ang="0">
                  <a:pos x="97" y="29"/>
                </a:cxn>
                <a:cxn ang="0">
                  <a:pos x="97" y="9"/>
                </a:cxn>
                <a:cxn ang="0">
                  <a:pos x="107" y="0"/>
                </a:cxn>
                <a:cxn ang="0">
                  <a:pos x="156" y="29"/>
                </a:cxn>
                <a:cxn ang="0">
                  <a:pos x="156" y="39"/>
                </a:cxn>
                <a:cxn ang="0">
                  <a:pos x="175" y="39"/>
                </a:cxn>
                <a:cxn ang="0">
                  <a:pos x="175" y="48"/>
                </a:cxn>
                <a:cxn ang="0">
                  <a:pos x="175" y="58"/>
                </a:cxn>
              </a:cxnLst>
              <a:rect l="0" t="0" r="r" b="b"/>
              <a:pathLst>
                <a:path w="204" h="234">
                  <a:moveTo>
                    <a:pt x="175" y="78"/>
                  </a:moveTo>
                  <a:lnTo>
                    <a:pt x="165" y="97"/>
                  </a:lnTo>
                  <a:lnTo>
                    <a:pt x="175" y="126"/>
                  </a:lnTo>
                  <a:lnTo>
                    <a:pt x="195" y="136"/>
                  </a:lnTo>
                  <a:lnTo>
                    <a:pt x="195" y="146"/>
                  </a:lnTo>
                  <a:lnTo>
                    <a:pt x="195" y="156"/>
                  </a:lnTo>
                  <a:lnTo>
                    <a:pt x="204" y="175"/>
                  </a:lnTo>
                  <a:lnTo>
                    <a:pt x="185" y="185"/>
                  </a:lnTo>
                  <a:lnTo>
                    <a:pt x="165" y="195"/>
                  </a:lnTo>
                  <a:lnTo>
                    <a:pt x="146" y="195"/>
                  </a:lnTo>
                  <a:lnTo>
                    <a:pt x="146" y="204"/>
                  </a:lnTo>
                  <a:lnTo>
                    <a:pt x="156" y="214"/>
                  </a:lnTo>
                  <a:lnTo>
                    <a:pt x="146" y="224"/>
                  </a:lnTo>
                  <a:lnTo>
                    <a:pt x="136" y="234"/>
                  </a:lnTo>
                  <a:lnTo>
                    <a:pt x="117" y="234"/>
                  </a:lnTo>
                  <a:lnTo>
                    <a:pt x="97" y="23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224"/>
                  </a:lnTo>
                  <a:lnTo>
                    <a:pt x="87" y="204"/>
                  </a:lnTo>
                  <a:lnTo>
                    <a:pt x="78" y="175"/>
                  </a:lnTo>
                  <a:lnTo>
                    <a:pt x="68" y="156"/>
                  </a:lnTo>
                  <a:lnTo>
                    <a:pt x="68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39" y="97"/>
                  </a:lnTo>
                  <a:lnTo>
                    <a:pt x="48" y="87"/>
                  </a:lnTo>
                  <a:lnTo>
                    <a:pt x="29" y="78"/>
                  </a:lnTo>
                  <a:lnTo>
                    <a:pt x="9" y="68"/>
                  </a:lnTo>
                  <a:lnTo>
                    <a:pt x="9" y="58"/>
                  </a:lnTo>
                  <a:lnTo>
                    <a:pt x="0" y="48"/>
                  </a:lnTo>
                  <a:lnTo>
                    <a:pt x="0" y="39"/>
                  </a:lnTo>
                  <a:lnTo>
                    <a:pt x="19" y="39"/>
                  </a:lnTo>
                  <a:lnTo>
                    <a:pt x="29" y="39"/>
                  </a:lnTo>
                  <a:lnTo>
                    <a:pt x="48" y="39"/>
                  </a:lnTo>
                  <a:lnTo>
                    <a:pt x="48" y="29"/>
                  </a:lnTo>
                  <a:lnTo>
                    <a:pt x="48" y="19"/>
                  </a:lnTo>
                  <a:lnTo>
                    <a:pt x="48" y="9"/>
                  </a:lnTo>
                  <a:lnTo>
                    <a:pt x="58" y="9"/>
                  </a:lnTo>
                  <a:lnTo>
                    <a:pt x="78" y="29"/>
                  </a:lnTo>
                  <a:lnTo>
                    <a:pt x="97" y="29"/>
                  </a:lnTo>
                  <a:lnTo>
                    <a:pt x="97" y="9"/>
                  </a:lnTo>
                  <a:lnTo>
                    <a:pt x="107" y="0"/>
                  </a:lnTo>
                  <a:lnTo>
                    <a:pt x="156" y="29"/>
                  </a:lnTo>
                  <a:lnTo>
                    <a:pt x="156" y="39"/>
                  </a:lnTo>
                  <a:lnTo>
                    <a:pt x="175" y="39"/>
                  </a:lnTo>
                  <a:lnTo>
                    <a:pt x="175" y="48"/>
                  </a:lnTo>
                  <a:lnTo>
                    <a:pt x="175" y="58"/>
                  </a:lnTo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Freeform 164"/>
            <p:cNvSpPr>
              <a:spLocks/>
            </p:cNvSpPr>
            <p:nvPr/>
          </p:nvSpPr>
          <p:spPr bwMode="auto">
            <a:xfrm>
              <a:off x="1491" y="1864"/>
              <a:ext cx="206" cy="214"/>
            </a:xfrm>
            <a:custGeom>
              <a:avLst/>
              <a:gdLst/>
              <a:ahLst/>
              <a:cxnLst>
                <a:cxn ang="0">
                  <a:pos x="137" y="204"/>
                </a:cxn>
                <a:cxn ang="0">
                  <a:pos x="117" y="204"/>
                </a:cxn>
                <a:cxn ang="0">
                  <a:pos x="88" y="204"/>
                </a:cxn>
                <a:cxn ang="0">
                  <a:pos x="78" y="214"/>
                </a:cxn>
                <a:cxn ang="0">
                  <a:pos x="69" y="214"/>
                </a:cxn>
                <a:cxn ang="0">
                  <a:pos x="49" y="204"/>
                </a:cxn>
                <a:cxn ang="0">
                  <a:pos x="49" y="195"/>
                </a:cxn>
                <a:cxn ang="0">
                  <a:pos x="39" y="175"/>
                </a:cxn>
                <a:cxn ang="0">
                  <a:pos x="30" y="156"/>
                </a:cxn>
                <a:cxn ang="0">
                  <a:pos x="30" y="146"/>
                </a:cxn>
                <a:cxn ang="0">
                  <a:pos x="30" y="136"/>
                </a:cxn>
                <a:cxn ang="0">
                  <a:pos x="10" y="117"/>
                </a:cxn>
                <a:cxn ang="0">
                  <a:pos x="0" y="97"/>
                </a:cxn>
                <a:cxn ang="0">
                  <a:pos x="10" y="78"/>
                </a:cxn>
                <a:cxn ang="0">
                  <a:pos x="10" y="58"/>
                </a:cxn>
                <a:cxn ang="0">
                  <a:pos x="10" y="48"/>
                </a:cxn>
                <a:cxn ang="0">
                  <a:pos x="10" y="39"/>
                </a:cxn>
                <a:cxn ang="0">
                  <a:pos x="20" y="39"/>
                </a:cxn>
                <a:cxn ang="0">
                  <a:pos x="30" y="29"/>
                </a:cxn>
                <a:cxn ang="0">
                  <a:pos x="49" y="29"/>
                </a:cxn>
                <a:cxn ang="0">
                  <a:pos x="69" y="29"/>
                </a:cxn>
                <a:cxn ang="0">
                  <a:pos x="69" y="9"/>
                </a:cxn>
                <a:cxn ang="0">
                  <a:pos x="78" y="0"/>
                </a:cxn>
                <a:cxn ang="0">
                  <a:pos x="78" y="9"/>
                </a:cxn>
                <a:cxn ang="0">
                  <a:pos x="98" y="29"/>
                </a:cxn>
                <a:cxn ang="0">
                  <a:pos x="108" y="39"/>
                </a:cxn>
                <a:cxn ang="0">
                  <a:pos x="137" y="39"/>
                </a:cxn>
                <a:cxn ang="0">
                  <a:pos x="166" y="39"/>
                </a:cxn>
                <a:cxn ang="0">
                  <a:pos x="176" y="39"/>
                </a:cxn>
                <a:cxn ang="0">
                  <a:pos x="176" y="48"/>
                </a:cxn>
                <a:cxn ang="0">
                  <a:pos x="176" y="58"/>
                </a:cxn>
                <a:cxn ang="0">
                  <a:pos x="195" y="58"/>
                </a:cxn>
                <a:cxn ang="0">
                  <a:pos x="205" y="58"/>
                </a:cxn>
                <a:cxn ang="0">
                  <a:pos x="195" y="68"/>
                </a:cxn>
                <a:cxn ang="0">
                  <a:pos x="205" y="87"/>
                </a:cxn>
                <a:cxn ang="0">
                  <a:pos x="195" y="97"/>
                </a:cxn>
                <a:cxn ang="0">
                  <a:pos x="186" y="107"/>
                </a:cxn>
                <a:cxn ang="0">
                  <a:pos x="186" y="117"/>
                </a:cxn>
                <a:cxn ang="0">
                  <a:pos x="186" y="136"/>
                </a:cxn>
                <a:cxn ang="0">
                  <a:pos x="186" y="146"/>
                </a:cxn>
                <a:cxn ang="0">
                  <a:pos x="176" y="156"/>
                </a:cxn>
                <a:cxn ang="0">
                  <a:pos x="156" y="175"/>
                </a:cxn>
                <a:cxn ang="0">
                  <a:pos x="137" y="204"/>
                </a:cxn>
              </a:cxnLst>
              <a:rect l="0" t="0" r="r" b="b"/>
              <a:pathLst>
                <a:path w="205" h="214">
                  <a:moveTo>
                    <a:pt x="137" y="204"/>
                  </a:moveTo>
                  <a:lnTo>
                    <a:pt x="117" y="204"/>
                  </a:lnTo>
                  <a:lnTo>
                    <a:pt x="88" y="204"/>
                  </a:lnTo>
                  <a:lnTo>
                    <a:pt x="78" y="214"/>
                  </a:lnTo>
                  <a:lnTo>
                    <a:pt x="69" y="214"/>
                  </a:lnTo>
                  <a:lnTo>
                    <a:pt x="49" y="204"/>
                  </a:lnTo>
                  <a:lnTo>
                    <a:pt x="49" y="195"/>
                  </a:lnTo>
                  <a:lnTo>
                    <a:pt x="39" y="175"/>
                  </a:lnTo>
                  <a:lnTo>
                    <a:pt x="30" y="156"/>
                  </a:lnTo>
                  <a:lnTo>
                    <a:pt x="30" y="146"/>
                  </a:lnTo>
                  <a:lnTo>
                    <a:pt x="30" y="136"/>
                  </a:lnTo>
                  <a:lnTo>
                    <a:pt x="10" y="117"/>
                  </a:lnTo>
                  <a:lnTo>
                    <a:pt x="0" y="97"/>
                  </a:lnTo>
                  <a:lnTo>
                    <a:pt x="10" y="78"/>
                  </a:lnTo>
                  <a:lnTo>
                    <a:pt x="10" y="58"/>
                  </a:lnTo>
                  <a:lnTo>
                    <a:pt x="10" y="48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29"/>
                  </a:lnTo>
                  <a:lnTo>
                    <a:pt x="49" y="29"/>
                  </a:lnTo>
                  <a:lnTo>
                    <a:pt x="69" y="29"/>
                  </a:lnTo>
                  <a:lnTo>
                    <a:pt x="69" y="9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98" y="29"/>
                  </a:lnTo>
                  <a:lnTo>
                    <a:pt x="108" y="39"/>
                  </a:lnTo>
                  <a:lnTo>
                    <a:pt x="137" y="39"/>
                  </a:lnTo>
                  <a:lnTo>
                    <a:pt x="166" y="39"/>
                  </a:lnTo>
                  <a:lnTo>
                    <a:pt x="176" y="39"/>
                  </a:lnTo>
                  <a:lnTo>
                    <a:pt x="176" y="48"/>
                  </a:lnTo>
                  <a:lnTo>
                    <a:pt x="176" y="58"/>
                  </a:lnTo>
                  <a:lnTo>
                    <a:pt x="195" y="58"/>
                  </a:lnTo>
                  <a:lnTo>
                    <a:pt x="205" y="58"/>
                  </a:lnTo>
                  <a:lnTo>
                    <a:pt x="195" y="68"/>
                  </a:lnTo>
                  <a:lnTo>
                    <a:pt x="205" y="87"/>
                  </a:lnTo>
                  <a:lnTo>
                    <a:pt x="195" y="97"/>
                  </a:lnTo>
                  <a:lnTo>
                    <a:pt x="186" y="107"/>
                  </a:lnTo>
                  <a:lnTo>
                    <a:pt x="186" y="117"/>
                  </a:lnTo>
                  <a:lnTo>
                    <a:pt x="186" y="136"/>
                  </a:lnTo>
                  <a:lnTo>
                    <a:pt x="186" y="146"/>
                  </a:lnTo>
                  <a:lnTo>
                    <a:pt x="176" y="156"/>
                  </a:lnTo>
                  <a:lnTo>
                    <a:pt x="156" y="175"/>
                  </a:lnTo>
                  <a:lnTo>
                    <a:pt x="137" y="204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0" name="Freeform 163"/>
            <p:cNvSpPr>
              <a:spLocks/>
            </p:cNvSpPr>
            <p:nvPr/>
          </p:nvSpPr>
          <p:spPr bwMode="auto">
            <a:xfrm>
              <a:off x="1631" y="1982"/>
              <a:ext cx="271" cy="244"/>
            </a:xfrm>
            <a:custGeom>
              <a:avLst/>
              <a:gdLst/>
              <a:ahLst/>
              <a:cxnLst>
                <a:cxn ang="0">
                  <a:pos x="39" y="156"/>
                </a:cxn>
                <a:cxn ang="0">
                  <a:pos x="39" y="165"/>
                </a:cxn>
                <a:cxn ang="0">
                  <a:pos x="49" y="165"/>
                </a:cxn>
                <a:cxn ang="0">
                  <a:pos x="68" y="165"/>
                </a:cxn>
                <a:cxn ang="0">
                  <a:pos x="78" y="165"/>
                </a:cxn>
                <a:cxn ang="0">
                  <a:pos x="78" y="185"/>
                </a:cxn>
                <a:cxn ang="0">
                  <a:pos x="78" y="195"/>
                </a:cxn>
                <a:cxn ang="0">
                  <a:pos x="88" y="214"/>
                </a:cxn>
                <a:cxn ang="0">
                  <a:pos x="97" y="214"/>
                </a:cxn>
                <a:cxn ang="0">
                  <a:pos x="117" y="205"/>
                </a:cxn>
                <a:cxn ang="0">
                  <a:pos x="137" y="205"/>
                </a:cxn>
                <a:cxn ang="0">
                  <a:pos x="166" y="234"/>
                </a:cxn>
                <a:cxn ang="0">
                  <a:pos x="185" y="244"/>
                </a:cxn>
                <a:cxn ang="0">
                  <a:pos x="185" y="234"/>
                </a:cxn>
                <a:cxn ang="0">
                  <a:pos x="195" y="224"/>
                </a:cxn>
                <a:cxn ang="0">
                  <a:pos x="195" y="224"/>
                </a:cxn>
                <a:cxn ang="0">
                  <a:pos x="195" y="234"/>
                </a:cxn>
                <a:cxn ang="0">
                  <a:pos x="215" y="224"/>
                </a:cxn>
                <a:cxn ang="0">
                  <a:pos x="205" y="214"/>
                </a:cxn>
                <a:cxn ang="0">
                  <a:pos x="205" y="205"/>
                </a:cxn>
                <a:cxn ang="0">
                  <a:pos x="215" y="205"/>
                </a:cxn>
                <a:cxn ang="0">
                  <a:pos x="234" y="214"/>
                </a:cxn>
                <a:cxn ang="0">
                  <a:pos x="244" y="214"/>
                </a:cxn>
                <a:cxn ang="0">
                  <a:pos x="244" y="205"/>
                </a:cxn>
                <a:cxn ang="0">
                  <a:pos x="263" y="195"/>
                </a:cxn>
                <a:cxn ang="0">
                  <a:pos x="254" y="175"/>
                </a:cxn>
                <a:cxn ang="0">
                  <a:pos x="263" y="175"/>
                </a:cxn>
                <a:cxn ang="0">
                  <a:pos x="273" y="175"/>
                </a:cxn>
                <a:cxn ang="0">
                  <a:pos x="273" y="156"/>
                </a:cxn>
                <a:cxn ang="0">
                  <a:pos x="263" y="146"/>
                </a:cxn>
                <a:cxn ang="0">
                  <a:pos x="263" y="126"/>
                </a:cxn>
                <a:cxn ang="0">
                  <a:pos x="263" y="97"/>
                </a:cxn>
                <a:cxn ang="0">
                  <a:pos x="263" y="78"/>
                </a:cxn>
                <a:cxn ang="0">
                  <a:pos x="244" y="78"/>
                </a:cxn>
                <a:cxn ang="0">
                  <a:pos x="244" y="68"/>
                </a:cxn>
                <a:cxn ang="0">
                  <a:pos x="234" y="58"/>
                </a:cxn>
                <a:cxn ang="0">
                  <a:pos x="224" y="58"/>
                </a:cxn>
                <a:cxn ang="0">
                  <a:pos x="224" y="39"/>
                </a:cxn>
                <a:cxn ang="0">
                  <a:pos x="215" y="29"/>
                </a:cxn>
                <a:cxn ang="0">
                  <a:pos x="195" y="19"/>
                </a:cxn>
                <a:cxn ang="0">
                  <a:pos x="176" y="19"/>
                </a:cxn>
                <a:cxn ang="0">
                  <a:pos x="156" y="19"/>
                </a:cxn>
                <a:cxn ang="0">
                  <a:pos x="127" y="9"/>
                </a:cxn>
                <a:cxn ang="0">
                  <a:pos x="107" y="9"/>
                </a:cxn>
                <a:cxn ang="0">
                  <a:pos x="107" y="9"/>
                </a:cxn>
                <a:cxn ang="0">
                  <a:pos x="97" y="0"/>
                </a:cxn>
                <a:cxn ang="0">
                  <a:pos x="78" y="0"/>
                </a:cxn>
                <a:cxn ang="0">
                  <a:pos x="78" y="9"/>
                </a:cxn>
                <a:cxn ang="0">
                  <a:pos x="68" y="19"/>
                </a:cxn>
                <a:cxn ang="0">
                  <a:pos x="58" y="9"/>
                </a:cxn>
                <a:cxn ang="0">
                  <a:pos x="49" y="19"/>
                </a:cxn>
                <a:cxn ang="0">
                  <a:pos x="49" y="29"/>
                </a:cxn>
                <a:cxn ang="0">
                  <a:pos x="39" y="39"/>
                </a:cxn>
                <a:cxn ang="0">
                  <a:pos x="19" y="58"/>
                </a:cxn>
                <a:cxn ang="0">
                  <a:pos x="0" y="87"/>
                </a:cxn>
                <a:cxn ang="0">
                  <a:pos x="10" y="97"/>
                </a:cxn>
                <a:cxn ang="0">
                  <a:pos x="0" y="117"/>
                </a:cxn>
                <a:cxn ang="0">
                  <a:pos x="10" y="126"/>
                </a:cxn>
                <a:cxn ang="0">
                  <a:pos x="19" y="126"/>
                </a:cxn>
                <a:cxn ang="0">
                  <a:pos x="39" y="126"/>
                </a:cxn>
                <a:cxn ang="0">
                  <a:pos x="49" y="136"/>
                </a:cxn>
                <a:cxn ang="0">
                  <a:pos x="29" y="146"/>
                </a:cxn>
                <a:cxn ang="0">
                  <a:pos x="39" y="156"/>
                </a:cxn>
              </a:cxnLst>
              <a:rect l="0" t="0" r="r" b="b"/>
              <a:pathLst>
                <a:path w="273" h="244">
                  <a:moveTo>
                    <a:pt x="39" y="156"/>
                  </a:moveTo>
                  <a:lnTo>
                    <a:pt x="39" y="165"/>
                  </a:lnTo>
                  <a:lnTo>
                    <a:pt x="49" y="165"/>
                  </a:lnTo>
                  <a:lnTo>
                    <a:pt x="68" y="165"/>
                  </a:lnTo>
                  <a:lnTo>
                    <a:pt x="78" y="16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7" y="214"/>
                  </a:lnTo>
                  <a:lnTo>
                    <a:pt x="117" y="205"/>
                  </a:lnTo>
                  <a:lnTo>
                    <a:pt x="137" y="205"/>
                  </a:lnTo>
                  <a:lnTo>
                    <a:pt x="166" y="234"/>
                  </a:lnTo>
                  <a:lnTo>
                    <a:pt x="185" y="244"/>
                  </a:lnTo>
                  <a:lnTo>
                    <a:pt x="185" y="234"/>
                  </a:lnTo>
                  <a:lnTo>
                    <a:pt x="195" y="224"/>
                  </a:lnTo>
                  <a:lnTo>
                    <a:pt x="195" y="234"/>
                  </a:lnTo>
                  <a:lnTo>
                    <a:pt x="215" y="22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215" y="205"/>
                  </a:lnTo>
                  <a:lnTo>
                    <a:pt x="234" y="214"/>
                  </a:lnTo>
                  <a:lnTo>
                    <a:pt x="244" y="214"/>
                  </a:lnTo>
                  <a:lnTo>
                    <a:pt x="244" y="205"/>
                  </a:lnTo>
                  <a:lnTo>
                    <a:pt x="263" y="195"/>
                  </a:lnTo>
                  <a:lnTo>
                    <a:pt x="254" y="175"/>
                  </a:lnTo>
                  <a:lnTo>
                    <a:pt x="263" y="175"/>
                  </a:lnTo>
                  <a:lnTo>
                    <a:pt x="273" y="175"/>
                  </a:lnTo>
                  <a:lnTo>
                    <a:pt x="273" y="156"/>
                  </a:lnTo>
                  <a:lnTo>
                    <a:pt x="263" y="146"/>
                  </a:lnTo>
                  <a:lnTo>
                    <a:pt x="263" y="126"/>
                  </a:lnTo>
                  <a:lnTo>
                    <a:pt x="263" y="97"/>
                  </a:lnTo>
                  <a:lnTo>
                    <a:pt x="263" y="78"/>
                  </a:lnTo>
                  <a:lnTo>
                    <a:pt x="244" y="78"/>
                  </a:lnTo>
                  <a:lnTo>
                    <a:pt x="244" y="68"/>
                  </a:lnTo>
                  <a:lnTo>
                    <a:pt x="234" y="58"/>
                  </a:lnTo>
                  <a:lnTo>
                    <a:pt x="224" y="58"/>
                  </a:lnTo>
                  <a:lnTo>
                    <a:pt x="224" y="39"/>
                  </a:lnTo>
                  <a:lnTo>
                    <a:pt x="215" y="29"/>
                  </a:lnTo>
                  <a:lnTo>
                    <a:pt x="195" y="19"/>
                  </a:lnTo>
                  <a:lnTo>
                    <a:pt x="176" y="19"/>
                  </a:lnTo>
                  <a:lnTo>
                    <a:pt x="156" y="19"/>
                  </a:lnTo>
                  <a:lnTo>
                    <a:pt x="127" y="9"/>
                  </a:lnTo>
                  <a:lnTo>
                    <a:pt x="107" y="9"/>
                  </a:lnTo>
                  <a:lnTo>
                    <a:pt x="97" y="0"/>
                  </a:lnTo>
                  <a:lnTo>
                    <a:pt x="78" y="0"/>
                  </a:lnTo>
                  <a:lnTo>
                    <a:pt x="78" y="9"/>
                  </a:lnTo>
                  <a:lnTo>
                    <a:pt x="68" y="19"/>
                  </a:lnTo>
                  <a:lnTo>
                    <a:pt x="58" y="9"/>
                  </a:lnTo>
                  <a:lnTo>
                    <a:pt x="49" y="19"/>
                  </a:lnTo>
                  <a:lnTo>
                    <a:pt x="49" y="29"/>
                  </a:lnTo>
                  <a:lnTo>
                    <a:pt x="39" y="39"/>
                  </a:lnTo>
                  <a:lnTo>
                    <a:pt x="19" y="58"/>
                  </a:lnTo>
                  <a:lnTo>
                    <a:pt x="0" y="87"/>
                  </a:lnTo>
                  <a:lnTo>
                    <a:pt x="10" y="97"/>
                  </a:lnTo>
                  <a:lnTo>
                    <a:pt x="0" y="117"/>
                  </a:lnTo>
                  <a:lnTo>
                    <a:pt x="10" y="126"/>
                  </a:lnTo>
                  <a:lnTo>
                    <a:pt x="19" y="126"/>
                  </a:lnTo>
                  <a:lnTo>
                    <a:pt x="39" y="126"/>
                  </a:lnTo>
                  <a:lnTo>
                    <a:pt x="49" y="136"/>
                  </a:lnTo>
                  <a:lnTo>
                    <a:pt x="29" y="146"/>
                  </a:lnTo>
                  <a:lnTo>
                    <a:pt x="39" y="1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Freeform 162"/>
            <p:cNvSpPr>
              <a:spLocks/>
            </p:cNvSpPr>
            <p:nvPr/>
          </p:nvSpPr>
          <p:spPr bwMode="auto">
            <a:xfrm>
              <a:off x="1425" y="2038"/>
              <a:ext cx="256" cy="235"/>
            </a:xfrm>
            <a:custGeom>
              <a:avLst/>
              <a:gdLst/>
              <a:ahLst/>
              <a:cxnLst>
                <a:cxn ang="0">
                  <a:pos x="127" y="234"/>
                </a:cxn>
                <a:cxn ang="0">
                  <a:pos x="166" y="215"/>
                </a:cxn>
                <a:cxn ang="0">
                  <a:pos x="166" y="156"/>
                </a:cxn>
                <a:cxn ang="0">
                  <a:pos x="166" y="147"/>
                </a:cxn>
                <a:cxn ang="0">
                  <a:pos x="185" y="137"/>
                </a:cxn>
                <a:cxn ang="0">
                  <a:pos x="215" y="117"/>
                </a:cxn>
                <a:cxn ang="0">
                  <a:pos x="244" y="98"/>
                </a:cxn>
                <a:cxn ang="0">
                  <a:pos x="234" y="88"/>
                </a:cxn>
                <a:cxn ang="0">
                  <a:pos x="254" y="78"/>
                </a:cxn>
                <a:cxn ang="0">
                  <a:pos x="244" y="68"/>
                </a:cxn>
                <a:cxn ang="0">
                  <a:pos x="224" y="68"/>
                </a:cxn>
                <a:cxn ang="0">
                  <a:pos x="215" y="68"/>
                </a:cxn>
                <a:cxn ang="0">
                  <a:pos x="215" y="59"/>
                </a:cxn>
                <a:cxn ang="0">
                  <a:pos x="215" y="39"/>
                </a:cxn>
                <a:cxn ang="0">
                  <a:pos x="205" y="29"/>
                </a:cxn>
                <a:cxn ang="0">
                  <a:pos x="185" y="29"/>
                </a:cxn>
                <a:cxn ang="0">
                  <a:pos x="166" y="29"/>
                </a:cxn>
                <a:cxn ang="0">
                  <a:pos x="156" y="49"/>
                </a:cxn>
                <a:cxn ang="0">
                  <a:pos x="137" y="39"/>
                </a:cxn>
                <a:cxn ang="0">
                  <a:pos x="117" y="29"/>
                </a:cxn>
                <a:cxn ang="0">
                  <a:pos x="127" y="20"/>
                </a:cxn>
                <a:cxn ang="0">
                  <a:pos x="107" y="0"/>
                </a:cxn>
                <a:cxn ang="0">
                  <a:pos x="88" y="10"/>
                </a:cxn>
                <a:cxn ang="0">
                  <a:pos x="78" y="20"/>
                </a:cxn>
                <a:cxn ang="0">
                  <a:pos x="59" y="20"/>
                </a:cxn>
                <a:cxn ang="0">
                  <a:pos x="49" y="29"/>
                </a:cxn>
                <a:cxn ang="0">
                  <a:pos x="59" y="39"/>
                </a:cxn>
                <a:cxn ang="0">
                  <a:pos x="49" y="49"/>
                </a:cxn>
                <a:cxn ang="0">
                  <a:pos x="39" y="59"/>
                </a:cxn>
                <a:cxn ang="0">
                  <a:pos x="20" y="59"/>
                </a:cxn>
                <a:cxn ang="0">
                  <a:pos x="10" y="68"/>
                </a:cxn>
                <a:cxn ang="0">
                  <a:pos x="0" y="78"/>
                </a:cxn>
                <a:cxn ang="0">
                  <a:pos x="10" y="88"/>
                </a:cxn>
                <a:cxn ang="0">
                  <a:pos x="29" y="88"/>
                </a:cxn>
                <a:cxn ang="0">
                  <a:pos x="29" y="98"/>
                </a:cxn>
                <a:cxn ang="0">
                  <a:pos x="39" y="107"/>
                </a:cxn>
                <a:cxn ang="0">
                  <a:pos x="39" y="107"/>
                </a:cxn>
                <a:cxn ang="0">
                  <a:pos x="59" y="107"/>
                </a:cxn>
                <a:cxn ang="0">
                  <a:pos x="49" y="127"/>
                </a:cxn>
                <a:cxn ang="0">
                  <a:pos x="59" y="137"/>
                </a:cxn>
                <a:cxn ang="0">
                  <a:pos x="78" y="137"/>
                </a:cxn>
                <a:cxn ang="0">
                  <a:pos x="78" y="156"/>
                </a:cxn>
                <a:cxn ang="0">
                  <a:pos x="88" y="156"/>
                </a:cxn>
                <a:cxn ang="0">
                  <a:pos x="78" y="166"/>
                </a:cxn>
                <a:cxn ang="0">
                  <a:pos x="78" y="186"/>
                </a:cxn>
                <a:cxn ang="0">
                  <a:pos x="88" y="195"/>
                </a:cxn>
                <a:cxn ang="0">
                  <a:pos x="98" y="195"/>
                </a:cxn>
                <a:cxn ang="0">
                  <a:pos x="107" y="205"/>
                </a:cxn>
                <a:cxn ang="0">
                  <a:pos x="127" y="234"/>
                </a:cxn>
              </a:cxnLst>
              <a:rect l="0" t="0" r="r" b="b"/>
              <a:pathLst>
                <a:path w="254" h="234">
                  <a:moveTo>
                    <a:pt x="127" y="234"/>
                  </a:moveTo>
                  <a:lnTo>
                    <a:pt x="166" y="215"/>
                  </a:lnTo>
                  <a:lnTo>
                    <a:pt x="166" y="156"/>
                  </a:lnTo>
                  <a:lnTo>
                    <a:pt x="166" y="147"/>
                  </a:lnTo>
                  <a:lnTo>
                    <a:pt x="185" y="137"/>
                  </a:lnTo>
                  <a:lnTo>
                    <a:pt x="215" y="117"/>
                  </a:lnTo>
                  <a:lnTo>
                    <a:pt x="244" y="98"/>
                  </a:lnTo>
                  <a:lnTo>
                    <a:pt x="234" y="88"/>
                  </a:lnTo>
                  <a:lnTo>
                    <a:pt x="254" y="78"/>
                  </a:lnTo>
                  <a:lnTo>
                    <a:pt x="244" y="68"/>
                  </a:lnTo>
                  <a:lnTo>
                    <a:pt x="224" y="68"/>
                  </a:lnTo>
                  <a:lnTo>
                    <a:pt x="215" y="68"/>
                  </a:lnTo>
                  <a:lnTo>
                    <a:pt x="215" y="59"/>
                  </a:lnTo>
                  <a:lnTo>
                    <a:pt x="215" y="39"/>
                  </a:lnTo>
                  <a:lnTo>
                    <a:pt x="205" y="29"/>
                  </a:lnTo>
                  <a:lnTo>
                    <a:pt x="185" y="29"/>
                  </a:lnTo>
                  <a:lnTo>
                    <a:pt x="166" y="29"/>
                  </a:lnTo>
                  <a:lnTo>
                    <a:pt x="156" y="49"/>
                  </a:lnTo>
                  <a:lnTo>
                    <a:pt x="137" y="39"/>
                  </a:lnTo>
                  <a:lnTo>
                    <a:pt x="117" y="29"/>
                  </a:lnTo>
                  <a:lnTo>
                    <a:pt x="127" y="20"/>
                  </a:lnTo>
                  <a:lnTo>
                    <a:pt x="107" y="0"/>
                  </a:lnTo>
                  <a:lnTo>
                    <a:pt x="88" y="10"/>
                  </a:lnTo>
                  <a:lnTo>
                    <a:pt x="78" y="2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59" y="39"/>
                  </a:lnTo>
                  <a:lnTo>
                    <a:pt x="49" y="49"/>
                  </a:lnTo>
                  <a:lnTo>
                    <a:pt x="39" y="59"/>
                  </a:lnTo>
                  <a:lnTo>
                    <a:pt x="20" y="59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29" y="88"/>
                  </a:lnTo>
                  <a:lnTo>
                    <a:pt x="29" y="98"/>
                  </a:lnTo>
                  <a:lnTo>
                    <a:pt x="39" y="107"/>
                  </a:lnTo>
                  <a:lnTo>
                    <a:pt x="59" y="107"/>
                  </a:lnTo>
                  <a:lnTo>
                    <a:pt x="49" y="127"/>
                  </a:lnTo>
                  <a:lnTo>
                    <a:pt x="59" y="137"/>
                  </a:lnTo>
                  <a:lnTo>
                    <a:pt x="78" y="137"/>
                  </a:lnTo>
                  <a:lnTo>
                    <a:pt x="78" y="156"/>
                  </a:lnTo>
                  <a:lnTo>
                    <a:pt x="88" y="156"/>
                  </a:lnTo>
                  <a:lnTo>
                    <a:pt x="78" y="166"/>
                  </a:lnTo>
                  <a:lnTo>
                    <a:pt x="78" y="186"/>
                  </a:lnTo>
                  <a:lnTo>
                    <a:pt x="88" y="195"/>
                  </a:lnTo>
                  <a:lnTo>
                    <a:pt x="98" y="195"/>
                  </a:lnTo>
                  <a:lnTo>
                    <a:pt x="107" y="205"/>
                  </a:lnTo>
                  <a:lnTo>
                    <a:pt x="127" y="234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2" name="Freeform 161"/>
            <p:cNvSpPr>
              <a:spLocks/>
            </p:cNvSpPr>
            <p:nvPr/>
          </p:nvSpPr>
          <p:spPr bwMode="auto">
            <a:xfrm>
              <a:off x="1544" y="2134"/>
              <a:ext cx="252" cy="266"/>
            </a:xfrm>
            <a:custGeom>
              <a:avLst/>
              <a:gdLst/>
              <a:ahLst/>
              <a:cxnLst>
                <a:cxn ang="0">
                  <a:pos x="10" y="156"/>
                </a:cxn>
                <a:cxn ang="0">
                  <a:pos x="10" y="156"/>
                </a:cxn>
                <a:cxn ang="0">
                  <a:pos x="0" y="175"/>
                </a:cxn>
                <a:cxn ang="0">
                  <a:pos x="10" y="185"/>
                </a:cxn>
                <a:cxn ang="0">
                  <a:pos x="29" y="185"/>
                </a:cxn>
                <a:cxn ang="0">
                  <a:pos x="39" y="185"/>
                </a:cxn>
                <a:cxn ang="0">
                  <a:pos x="49" y="205"/>
                </a:cxn>
                <a:cxn ang="0">
                  <a:pos x="49" y="224"/>
                </a:cxn>
                <a:cxn ang="0">
                  <a:pos x="59" y="234"/>
                </a:cxn>
                <a:cxn ang="0">
                  <a:pos x="68" y="234"/>
                </a:cxn>
                <a:cxn ang="0">
                  <a:pos x="78" y="244"/>
                </a:cxn>
                <a:cxn ang="0">
                  <a:pos x="68" y="244"/>
                </a:cxn>
                <a:cxn ang="0">
                  <a:pos x="68" y="253"/>
                </a:cxn>
                <a:cxn ang="0">
                  <a:pos x="78" y="263"/>
                </a:cxn>
                <a:cxn ang="0">
                  <a:pos x="88" y="263"/>
                </a:cxn>
                <a:cxn ang="0">
                  <a:pos x="98" y="263"/>
                </a:cxn>
                <a:cxn ang="0">
                  <a:pos x="117" y="244"/>
                </a:cxn>
                <a:cxn ang="0">
                  <a:pos x="127" y="244"/>
                </a:cxn>
                <a:cxn ang="0">
                  <a:pos x="137" y="234"/>
                </a:cxn>
                <a:cxn ang="0">
                  <a:pos x="146" y="224"/>
                </a:cxn>
                <a:cxn ang="0">
                  <a:pos x="166" y="224"/>
                </a:cxn>
                <a:cxn ang="0">
                  <a:pos x="185" y="224"/>
                </a:cxn>
                <a:cxn ang="0">
                  <a:pos x="195" y="205"/>
                </a:cxn>
                <a:cxn ang="0">
                  <a:pos x="195" y="185"/>
                </a:cxn>
                <a:cxn ang="0">
                  <a:pos x="195" y="166"/>
                </a:cxn>
                <a:cxn ang="0">
                  <a:pos x="215" y="156"/>
                </a:cxn>
                <a:cxn ang="0">
                  <a:pos x="225" y="136"/>
                </a:cxn>
                <a:cxn ang="0">
                  <a:pos x="225" y="88"/>
                </a:cxn>
                <a:cxn ang="0">
                  <a:pos x="254" y="88"/>
                </a:cxn>
                <a:cxn ang="0">
                  <a:pos x="225" y="49"/>
                </a:cxn>
                <a:cxn ang="0">
                  <a:pos x="205" y="49"/>
                </a:cxn>
                <a:cxn ang="0">
                  <a:pos x="185" y="58"/>
                </a:cxn>
                <a:cxn ang="0">
                  <a:pos x="176" y="58"/>
                </a:cxn>
                <a:cxn ang="0">
                  <a:pos x="166" y="39"/>
                </a:cxn>
                <a:cxn ang="0">
                  <a:pos x="166" y="29"/>
                </a:cxn>
                <a:cxn ang="0">
                  <a:pos x="166" y="9"/>
                </a:cxn>
                <a:cxn ang="0">
                  <a:pos x="156" y="9"/>
                </a:cxn>
                <a:cxn ang="0">
                  <a:pos x="137" y="9"/>
                </a:cxn>
                <a:cxn ang="0">
                  <a:pos x="127" y="9"/>
                </a:cxn>
                <a:cxn ang="0">
                  <a:pos x="127" y="0"/>
                </a:cxn>
                <a:cxn ang="0">
                  <a:pos x="98" y="19"/>
                </a:cxn>
                <a:cxn ang="0">
                  <a:pos x="68" y="39"/>
                </a:cxn>
                <a:cxn ang="0">
                  <a:pos x="49" y="39"/>
                </a:cxn>
                <a:cxn ang="0">
                  <a:pos x="39" y="58"/>
                </a:cxn>
                <a:cxn ang="0">
                  <a:pos x="39" y="107"/>
                </a:cxn>
                <a:cxn ang="0">
                  <a:pos x="10" y="136"/>
                </a:cxn>
                <a:cxn ang="0">
                  <a:pos x="10" y="156"/>
                </a:cxn>
              </a:cxnLst>
              <a:rect l="0" t="0" r="r" b="b"/>
              <a:pathLst>
                <a:path w="254" h="263">
                  <a:moveTo>
                    <a:pt x="10" y="156"/>
                  </a:moveTo>
                  <a:lnTo>
                    <a:pt x="10" y="156"/>
                  </a:lnTo>
                  <a:lnTo>
                    <a:pt x="0" y="175"/>
                  </a:lnTo>
                  <a:lnTo>
                    <a:pt x="10" y="185"/>
                  </a:lnTo>
                  <a:lnTo>
                    <a:pt x="29" y="185"/>
                  </a:lnTo>
                  <a:lnTo>
                    <a:pt x="39" y="185"/>
                  </a:lnTo>
                  <a:lnTo>
                    <a:pt x="49" y="205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68" y="234"/>
                  </a:lnTo>
                  <a:lnTo>
                    <a:pt x="78" y="244"/>
                  </a:lnTo>
                  <a:lnTo>
                    <a:pt x="68" y="244"/>
                  </a:lnTo>
                  <a:lnTo>
                    <a:pt x="68" y="253"/>
                  </a:lnTo>
                  <a:lnTo>
                    <a:pt x="78" y="263"/>
                  </a:lnTo>
                  <a:lnTo>
                    <a:pt x="88" y="263"/>
                  </a:lnTo>
                  <a:lnTo>
                    <a:pt x="98" y="263"/>
                  </a:lnTo>
                  <a:lnTo>
                    <a:pt x="117" y="244"/>
                  </a:lnTo>
                  <a:lnTo>
                    <a:pt x="127" y="244"/>
                  </a:lnTo>
                  <a:lnTo>
                    <a:pt x="137" y="234"/>
                  </a:lnTo>
                  <a:lnTo>
                    <a:pt x="146" y="224"/>
                  </a:lnTo>
                  <a:lnTo>
                    <a:pt x="166" y="224"/>
                  </a:lnTo>
                  <a:lnTo>
                    <a:pt x="185" y="224"/>
                  </a:lnTo>
                  <a:lnTo>
                    <a:pt x="195" y="205"/>
                  </a:lnTo>
                  <a:lnTo>
                    <a:pt x="195" y="185"/>
                  </a:lnTo>
                  <a:lnTo>
                    <a:pt x="195" y="166"/>
                  </a:lnTo>
                  <a:lnTo>
                    <a:pt x="215" y="156"/>
                  </a:lnTo>
                  <a:lnTo>
                    <a:pt x="225" y="136"/>
                  </a:lnTo>
                  <a:lnTo>
                    <a:pt x="225" y="88"/>
                  </a:lnTo>
                  <a:lnTo>
                    <a:pt x="254" y="88"/>
                  </a:lnTo>
                  <a:lnTo>
                    <a:pt x="225" y="49"/>
                  </a:lnTo>
                  <a:lnTo>
                    <a:pt x="205" y="49"/>
                  </a:lnTo>
                  <a:lnTo>
                    <a:pt x="185" y="58"/>
                  </a:lnTo>
                  <a:lnTo>
                    <a:pt x="176" y="58"/>
                  </a:lnTo>
                  <a:lnTo>
                    <a:pt x="166" y="39"/>
                  </a:lnTo>
                  <a:lnTo>
                    <a:pt x="166" y="29"/>
                  </a:lnTo>
                  <a:lnTo>
                    <a:pt x="166" y="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9"/>
                  </a:lnTo>
                  <a:lnTo>
                    <a:pt x="127" y="0"/>
                  </a:lnTo>
                  <a:lnTo>
                    <a:pt x="98" y="19"/>
                  </a:lnTo>
                  <a:lnTo>
                    <a:pt x="68" y="39"/>
                  </a:lnTo>
                  <a:lnTo>
                    <a:pt x="49" y="39"/>
                  </a:lnTo>
                  <a:lnTo>
                    <a:pt x="39" y="58"/>
                  </a:lnTo>
                  <a:lnTo>
                    <a:pt x="39" y="107"/>
                  </a:lnTo>
                  <a:lnTo>
                    <a:pt x="10" y="136"/>
                  </a:lnTo>
                  <a:lnTo>
                    <a:pt x="10" y="1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3" name="Freeform 160"/>
            <p:cNvSpPr>
              <a:spLocks/>
            </p:cNvSpPr>
            <p:nvPr/>
          </p:nvSpPr>
          <p:spPr bwMode="auto">
            <a:xfrm>
              <a:off x="1290" y="2134"/>
              <a:ext cx="331" cy="315"/>
            </a:xfrm>
            <a:custGeom>
              <a:avLst/>
              <a:gdLst/>
              <a:ahLst/>
              <a:cxnLst>
                <a:cxn ang="0">
                  <a:pos x="117" y="68"/>
                </a:cxn>
                <a:cxn ang="0">
                  <a:pos x="87" y="78"/>
                </a:cxn>
                <a:cxn ang="0">
                  <a:pos x="97" y="97"/>
                </a:cxn>
                <a:cxn ang="0">
                  <a:pos x="78" y="117"/>
                </a:cxn>
                <a:cxn ang="0">
                  <a:pos x="68" y="117"/>
                </a:cxn>
                <a:cxn ang="0">
                  <a:pos x="68" y="136"/>
                </a:cxn>
                <a:cxn ang="0">
                  <a:pos x="58" y="156"/>
                </a:cxn>
                <a:cxn ang="0">
                  <a:pos x="19" y="195"/>
                </a:cxn>
                <a:cxn ang="0">
                  <a:pos x="0" y="205"/>
                </a:cxn>
                <a:cxn ang="0">
                  <a:pos x="9" y="234"/>
                </a:cxn>
                <a:cxn ang="0">
                  <a:pos x="9" y="263"/>
                </a:cxn>
                <a:cxn ang="0">
                  <a:pos x="39" y="292"/>
                </a:cxn>
                <a:cxn ang="0">
                  <a:pos x="68" y="312"/>
                </a:cxn>
                <a:cxn ang="0">
                  <a:pos x="107" y="292"/>
                </a:cxn>
                <a:cxn ang="0">
                  <a:pos x="136" y="302"/>
                </a:cxn>
                <a:cxn ang="0">
                  <a:pos x="156" y="292"/>
                </a:cxn>
                <a:cxn ang="0">
                  <a:pos x="175" y="273"/>
                </a:cxn>
                <a:cxn ang="0">
                  <a:pos x="185" y="253"/>
                </a:cxn>
                <a:cxn ang="0">
                  <a:pos x="234" y="263"/>
                </a:cxn>
                <a:cxn ang="0">
                  <a:pos x="282" y="302"/>
                </a:cxn>
                <a:cxn ang="0">
                  <a:pos x="321" y="292"/>
                </a:cxn>
                <a:cxn ang="0">
                  <a:pos x="331" y="263"/>
                </a:cxn>
                <a:cxn ang="0">
                  <a:pos x="321" y="244"/>
                </a:cxn>
                <a:cxn ang="0">
                  <a:pos x="321" y="234"/>
                </a:cxn>
                <a:cxn ang="0">
                  <a:pos x="302" y="224"/>
                </a:cxn>
                <a:cxn ang="0">
                  <a:pos x="292" y="185"/>
                </a:cxn>
                <a:cxn ang="0">
                  <a:pos x="263" y="185"/>
                </a:cxn>
                <a:cxn ang="0">
                  <a:pos x="263" y="156"/>
                </a:cxn>
                <a:cxn ang="0">
                  <a:pos x="263" y="136"/>
                </a:cxn>
                <a:cxn ang="0">
                  <a:pos x="234" y="97"/>
                </a:cxn>
                <a:cxn ang="0">
                  <a:pos x="214" y="88"/>
                </a:cxn>
                <a:cxn ang="0">
                  <a:pos x="224" y="58"/>
                </a:cxn>
                <a:cxn ang="0">
                  <a:pos x="204" y="39"/>
                </a:cxn>
                <a:cxn ang="0">
                  <a:pos x="185" y="29"/>
                </a:cxn>
                <a:cxn ang="0">
                  <a:pos x="175" y="9"/>
                </a:cxn>
                <a:cxn ang="0">
                  <a:pos x="165" y="0"/>
                </a:cxn>
                <a:cxn ang="0">
                  <a:pos x="156" y="29"/>
                </a:cxn>
                <a:cxn ang="0">
                  <a:pos x="136" y="9"/>
                </a:cxn>
                <a:cxn ang="0">
                  <a:pos x="126" y="39"/>
                </a:cxn>
              </a:cxnLst>
              <a:rect l="0" t="0" r="r" b="b"/>
              <a:pathLst>
                <a:path w="331" h="312">
                  <a:moveTo>
                    <a:pt x="117" y="49"/>
                  </a:moveTo>
                  <a:lnTo>
                    <a:pt x="117" y="68"/>
                  </a:lnTo>
                  <a:lnTo>
                    <a:pt x="97" y="68"/>
                  </a:lnTo>
                  <a:lnTo>
                    <a:pt x="87" y="78"/>
                  </a:lnTo>
                  <a:lnTo>
                    <a:pt x="97" y="88"/>
                  </a:lnTo>
                  <a:lnTo>
                    <a:pt x="97" y="97"/>
                  </a:lnTo>
                  <a:lnTo>
                    <a:pt x="87" y="107"/>
                  </a:lnTo>
                  <a:lnTo>
                    <a:pt x="78" y="117"/>
                  </a:lnTo>
                  <a:lnTo>
                    <a:pt x="68" y="117"/>
                  </a:lnTo>
                  <a:lnTo>
                    <a:pt x="68" y="127"/>
                  </a:lnTo>
                  <a:lnTo>
                    <a:pt x="68" y="136"/>
                  </a:lnTo>
                  <a:lnTo>
                    <a:pt x="68" y="156"/>
                  </a:lnTo>
                  <a:lnTo>
                    <a:pt x="58" y="156"/>
                  </a:lnTo>
                  <a:lnTo>
                    <a:pt x="29" y="185"/>
                  </a:lnTo>
                  <a:lnTo>
                    <a:pt x="19" y="195"/>
                  </a:lnTo>
                  <a:lnTo>
                    <a:pt x="9" y="205"/>
                  </a:lnTo>
                  <a:lnTo>
                    <a:pt x="0" y="205"/>
                  </a:lnTo>
                  <a:lnTo>
                    <a:pt x="0" y="214"/>
                  </a:lnTo>
                  <a:lnTo>
                    <a:pt x="9" y="234"/>
                  </a:lnTo>
                  <a:lnTo>
                    <a:pt x="0" y="253"/>
                  </a:lnTo>
                  <a:lnTo>
                    <a:pt x="9" y="263"/>
                  </a:lnTo>
                  <a:lnTo>
                    <a:pt x="9" y="273"/>
                  </a:lnTo>
                  <a:lnTo>
                    <a:pt x="39" y="292"/>
                  </a:lnTo>
                  <a:lnTo>
                    <a:pt x="58" y="312"/>
                  </a:lnTo>
                  <a:lnTo>
                    <a:pt x="68" y="312"/>
                  </a:lnTo>
                  <a:lnTo>
                    <a:pt x="97" y="292"/>
                  </a:lnTo>
                  <a:lnTo>
                    <a:pt x="107" y="292"/>
                  </a:lnTo>
                  <a:lnTo>
                    <a:pt x="117" y="312"/>
                  </a:lnTo>
                  <a:lnTo>
                    <a:pt x="136" y="302"/>
                  </a:lnTo>
                  <a:lnTo>
                    <a:pt x="146" y="292"/>
                  </a:lnTo>
                  <a:lnTo>
                    <a:pt x="156" y="292"/>
                  </a:lnTo>
                  <a:lnTo>
                    <a:pt x="165" y="283"/>
                  </a:lnTo>
                  <a:lnTo>
                    <a:pt x="175" y="273"/>
                  </a:lnTo>
                  <a:lnTo>
                    <a:pt x="185" y="263"/>
                  </a:lnTo>
                  <a:lnTo>
                    <a:pt x="185" y="253"/>
                  </a:lnTo>
                  <a:lnTo>
                    <a:pt x="204" y="253"/>
                  </a:lnTo>
                  <a:lnTo>
                    <a:pt x="234" y="263"/>
                  </a:lnTo>
                  <a:lnTo>
                    <a:pt x="253" y="263"/>
                  </a:lnTo>
                  <a:lnTo>
                    <a:pt x="282" y="302"/>
                  </a:lnTo>
                  <a:lnTo>
                    <a:pt x="302" y="312"/>
                  </a:lnTo>
                  <a:lnTo>
                    <a:pt x="321" y="292"/>
                  </a:lnTo>
                  <a:lnTo>
                    <a:pt x="321" y="273"/>
                  </a:lnTo>
                  <a:lnTo>
                    <a:pt x="331" y="263"/>
                  </a:lnTo>
                  <a:lnTo>
                    <a:pt x="321" y="253"/>
                  </a:lnTo>
                  <a:lnTo>
                    <a:pt x="321" y="244"/>
                  </a:lnTo>
                  <a:lnTo>
                    <a:pt x="331" y="234"/>
                  </a:lnTo>
                  <a:lnTo>
                    <a:pt x="321" y="234"/>
                  </a:lnTo>
                  <a:lnTo>
                    <a:pt x="312" y="234"/>
                  </a:lnTo>
                  <a:lnTo>
                    <a:pt x="302" y="224"/>
                  </a:lnTo>
                  <a:lnTo>
                    <a:pt x="302" y="205"/>
                  </a:lnTo>
                  <a:lnTo>
                    <a:pt x="292" y="185"/>
                  </a:lnTo>
                  <a:lnTo>
                    <a:pt x="282" y="185"/>
                  </a:lnTo>
                  <a:lnTo>
                    <a:pt x="263" y="185"/>
                  </a:lnTo>
                  <a:lnTo>
                    <a:pt x="253" y="175"/>
                  </a:lnTo>
                  <a:lnTo>
                    <a:pt x="263" y="156"/>
                  </a:lnTo>
                  <a:lnTo>
                    <a:pt x="263" y="136"/>
                  </a:lnTo>
                  <a:lnTo>
                    <a:pt x="243" y="97"/>
                  </a:lnTo>
                  <a:lnTo>
                    <a:pt x="234" y="97"/>
                  </a:lnTo>
                  <a:lnTo>
                    <a:pt x="224" y="97"/>
                  </a:lnTo>
                  <a:lnTo>
                    <a:pt x="214" y="88"/>
                  </a:lnTo>
                  <a:lnTo>
                    <a:pt x="214" y="6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204" y="39"/>
                  </a:lnTo>
                  <a:lnTo>
                    <a:pt x="195" y="39"/>
                  </a:lnTo>
                  <a:lnTo>
                    <a:pt x="185" y="29"/>
                  </a:lnTo>
                  <a:lnTo>
                    <a:pt x="195" y="9"/>
                  </a:lnTo>
                  <a:lnTo>
                    <a:pt x="175" y="9"/>
                  </a:lnTo>
                  <a:lnTo>
                    <a:pt x="165" y="0"/>
                  </a:lnTo>
                  <a:lnTo>
                    <a:pt x="156" y="9"/>
                  </a:lnTo>
                  <a:lnTo>
                    <a:pt x="156" y="29"/>
                  </a:lnTo>
                  <a:lnTo>
                    <a:pt x="146" y="19"/>
                  </a:lnTo>
                  <a:lnTo>
                    <a:pt x="136" y="9"/>
                  </a:lnTo>
                  <a:lnTo>
                    <a:pt x="126" y="19"/>
                  </a:lnTo>
                  <a:lnTo>
                    <a:pt x="126" y="39"/>
                  </a:lnTo>
                  <a:lnTo>
                    <a:pt x="117" y="49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4" name="Freeform 159"/>
            <p:cNvSpPr>
              <a:spLocks/>
            </p:cNvSpPr>
            <p:nvPr/>
          </p:nvSpPr>
          <p:spPr bwMode="auto">
            <a:xfrm>
              <a:off x="1769" y="1072"/>
              <a:ext cx="455" cy="432"/>
            </a:xfrm>
            <a:custGeom>
              <a:avLst/>
              <a:gdLst/>
              <a:ahLst/>
              <a:cxnLst>
                <a:cxn ang="0">
                  <a:pos x="429" y="322"/>
                </a:cxn>
                <a:cxn ang="0">
                  <a:pos x="399" y="322"/>
                </a:cxn>
                <a:cxn ang="0">
                  <a:pos x="370" y="351"/>
                </a:cxn>
                <a:cxn ang="0">
                  <a:pos x="331" y="371"/>
                </a:cxn>
                <a:cxn ang="0">
                  <a:pos x="292" y="410"/>
                </a:cxn>
                <a:cxn ang="0">
                  <a:pos x="253" y="410"/>
                </a:cxn>
                <a:cxn ang="0">
                  <a:pos x="224" y="410"/>
                </a:cxn>
                <a:cxn ang="0">
                  <a:pos x="214" y="381"/>
                </a:cxn>
                <a:cxn ang="0">
                  <a:pos x="224" y="361"/>
                </a:cxn>
                <a:cxn ang="0">
                  <a:pos x="204" y="351"/>
                </a:cxn>
                <a:cxn ang="0">
                  <a:pos x="214" y="322"/>
                </a:cxn>
                <a:cxn ang="0">
                  <a:pos x="185" y="303"/>
                </a:cxn>
                <a:cxn ang="0">
                  <a:pos x="156" y="293"/>
                </a:cxn>
                <a:cxn ang="0">
                  <a:pos x="175" y="264"/>
                </a:cxn>
                <a:cxn ang="0">
                  <a:pos x="156" y="244"/>
                </a:cxn>
                <a:cxn ang="0">
                  <a:pos x="107" y="244"/>
                </a:cxn>
                <a:cxn ang="0">
                  <a:pos x="87" y="215"/>
                </a:cxn>
                <a:cxn ang="0">
                  <a:pos x="58" y="225"/>
                </a:cxn>
                <a:cxn ang="0">
                  <a:pos x="48" y="205"/>
                </a:cxn>
                <a:cxn ang="0">
                  <a:pos x="29" y="205"/>
                </a:cxn>
                <a:cxn ang="0">
                  <a:pos x="0" y="195"/>
                </a:cxn>
                <a:cxn ang="0">
                  <a:pos x="9" y="176"/>
                </a:cxn>
                <a:cxn ang="0">
                  <a:pos x="9" y="147"/>
                </a:cxn>
                <a:cxn ang="0">
                  <a:pos x="9" y="108"/>
                </a:cxn>
                <a:cxn ang="0">
                  <a:pos x="9" y="88"/>
                </a:cxn>
                <a:cxn ang="0">
                  <a:pos x="29" y="78"/>
                </a:cxn>
                <a:cxn ang="0">
                  <a:pos x="58" y="69"/>
                </a:cxn>
                <a:cxn ang="0">
                  <a:pos x="97" y="59"/>
                </a:cxn>
                <a:cxn ang="0">
                  <a:pos x="87" y="69"/>
                </a:cxn>
                <a:cxn ang="0">
                  <a:pos x="107" y="69"/>
                </a:cxn>
                <a:cxn ang="0">
                  <a:pos x="107" y="78"/>
                </a:cxn>
                <a:cxn ang="0">
                  <a:pos x="126" y="88"/>
                </a:cxn>
                <a:cxn ang="0">
                  <a:pos x="146" y="108"/>
                </a:cxn>
                <a:cxn ang="0">
                  <a:pos x="146" y="127"/>
                </a:cxn>
                <a:cxn ang="0">
                  <a:pos x="126" y="147"/>
                </a:cxn>
                <a:cxn ang="0">
                  <a:pos x="117" y="166"/>
                </a:cxn>
                <a:cxn ang="0">
                  <a:pos x="126" y="186"/>
                </a:cxn>
                <a:cxn ang="0">
                  <a:pos x="156" y="195"/>
                </a:cxn>
                <a:cxn ang="0">
                  <a:pos x="185" y="195"/>
                </a:cxn>
                <a:cxn ang="0">
                  <a:pos x="204" y="176"/>
                </a:cxn>
                <a:cxn ang="0">
                  <a:pos x="214" y="156"/>
                </a:cxn>
                <a:cxn ang="0">
                  <a:pos x="204" y="127"/>
                </a:cxn>
                <a:cxn ang="0">
                  <a:pos x="195" y="117"/>
                </a:cxn>
                <a:cxn ang="0">
                  <a:pos x="175" y="98"/>
                </a:cxn>
                <a:cxn ang="0">
                  <a:pos x="165" y="78"/>
                </a:cxn>
                <a:cxn ang="0">
                  <a:pos x="165" y="49"/>
                </a:cxn>
                <a:cxn ang="0">
                  <a:pos x="175" y="49"/>
                </a:cxn>
                <a:cxn ang="0">
                  <a:pos x="185" y="30"/>
                </a:cxn>
                <a:cxn ang="0">
                  <a:pos x="204" y="30"/>
                </a:cxn>
                <a:cxn ang="0">
                  <a:pos x="185" y="20"/>
                </a:cxn>
                <a:cxn ang="0">
                  <a:pos x="165" y="10"/>
                </a:cxn>
                <a:cxn ang="0">
                  <a:pos x="195" y="0"/>
                </a:cxn>
                <a:cxn ang="0">
                  <a:pos x="263" y="20"/>
                </a:cxn>
                <a:cxn ang="0">
                  <a:pos x="282" y="20"/>
                </a:cxn>
                <a:cxn ang="0">
                  <a:pos x="282" y="49"/>
                </a:cxn>
                <a:cxn ang="0">
                  <a:pos x="282" y="88"/>
                </a:cxn>
                <a:cxn ang="0">
                  <a:pos x="331" y="234"/>
                </a:cxn>
                <a:cxn ang="0">
                  <a:pos x="390" y="244"/>
                </a:cxn>
                <a:cxn ang="0">
                  <a:pos x="399" y="215"/>
                </a:cxn>
                <a:cxn ang="0">
                  <a:pos x="419" y="254"/>
                </a:cxn>
                <a:cxn ang="0">
                  <a:pos x="458" y="303"/>
                </a:cxn>
                <a:cxn ang="0">
                  <a:pos x="458" y="322"/>
                </a:cxn>
                <a:cxn ang="0">
                  <a:pos x="448" y="332"/>
                </a:cxn>
              </a:cxnLst>
              <a:rect l="0" t="0" r="r" b="b"/>
              <a:pathLst>
                <a:path w="458" h="430">
                  <a:moveTo>
                    <a:pt x="448" y="332"/>
                  </a:moveTo>
                  <a:lnTo>
                    <a:pt x="429" y="322"/>
                  </a:lnTo>
                  <a:lnTo>
                    <a:pt x="409" y="322"/>
                  </a:lnTo>
                  <a:lnTo>
                    <a:pt x="399" y="322"/>
                  </a:lnTo>
                  <a:lnTo>
                    <a:pt x="390" y="332"/>
                  </a:lnTo>
                  <a:lnTo>
                    <a:pt x="370" y="351"/>
                  </a:lnTo>
                  <a:lnTo>
                    <a:pt x="331" y="361"/>
                  </a:lnTo>
                  <a:lnTo>
                    <a:pt x="331" y="371"/>
                  </a:lnTo>
                  <a:lnTo>
                    <a:pt x="312" y="391"/>
                  </a:lnTo>
                  <a:lnTo>
                    <a:pt x="292" y="410"/>
                  </a:lnTo>
                  <a:lnTo>
                    <a:pt x="273" y="430"/>
                  </a:lnTo>
                  <a:lnTo>
                    <a:pt x="253" y="410"/>
                  </a:lnTo>
                  <a:lnTo>
                    <a:pt x="234" y="410"/>
                  </a:lnTo>
                  <a:lnTo>
                    <a:pt x="224" y="410"/>
                  </a:lnTo>
                  <a:lnTo>
                    <a:pt x="224" y="381"/>
                  </a:lnTo>
                  <a:lnTo>
                    <a:pt x="214" y="381"/>
                  </a:lnTo>
                  <a:lnTo>
                    <a:pt x="214" y="371"/>
                  </a:lnTo>
                  <a:lnTo>
                    <a:pt x="224" y="361"/>
                  </a:lnTo>
                  <a:lnTo>
                    <a:pt x="224" y="351"/>
                  </a:lnTo>
                  <a:lnTo>
                    <a:pt x="204" y="351"/>
                  </a:lnTo>
                  <a:lnTo>
                    <a:pt x="214" y="332"/>
                  </a:lnTo>
                  <a:lnTo>
                    <a:pt x="214" y="322"/>
                  </a:lnTo>
                  <a:lnTo>
                    <a:pt x="204" y="303"/>
                  </a:lnTo>
                  <a:lnTo>
                    <a:pt x="185" y="303"/>
                  </a:lnTo>
                  <a:lnTo>
                    <a:pt x="165" y="303"/>
                  </a:lnTo>
                  <a:lnTo>
                    <a:pt x="156" y="293"/>
                  </a:lnTo>
                  <a:lnTo>
                    <a:pt x="165" y="273"/>
                  </a:lnTo>
                  <a:lnTo>
                    <a:pt x="175" y="264"/>
                  </a:lnTo>
                  <a:lnTo>
                    <a:pt x="165" y="244"/>
                  </a:lnTo>
                  <a:lnTo>
                    <a:pt x="156" y="244"/>
                  </a:lnTo>
                  <a:lnTo>
                    <a:pt x="126" y="244"/>
                  </a:lnTo>
                  <a:lnTo>
                    <a:pt x="107" y="244"/>
                  </a:lnTo>
                  <a:lnTo>
                    <a:pt x="97" y="225"/>
                  </a:lnTo>
                  <a:lnTo>
                    <a:pt x="87" y="215"/>
                  </a:lnTo>
                  <a:lnTo>
                    <a:pt x="68" y="225"/>
                  </a:lnTo>
                  <a:lnTo>
                    <a:pt x="58" y="225"/>
                  </a:lnTo>
                  <a:lnTo>
                    <a:pt x="48" y="215"/>
                  </a:lnTo>
                  <a:lnTo>
                    <a:pt x="48" y="205"/>
                  </a:lnTo>
                  <a:lnTo>
                    <a:pt x="39" y="195"/>
                  </a:lnTo>
                  <a:lnTo>
                    <a:pt x="29" y="205"/>
                  </a:lnTo>
                  <a:lnTo>
                    <a:pt x="9" y="20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9" y="176"/>
                  </a:lnTo>
                  <a:lnTo>
                    <a:pt x="0" y="16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9" y="108"/>
                  </a:lnTo>
                  <a:lnTo>
                    <a:pt x="9" y="88"/>
                  </a:lnTo>
                  <a:lnTo>
                    <a:pt x="9" y="78"/>
                  </a:lnTo>
                  <a:lnTo>
                    <a:pt x="29" y="78"/>
                  </a:lnTo>
                  <a:lnTo>
                    <a:pt x="48" y="69"/>
                  </a:lnTo>
                  <a:lnTo>
                    <a:pt x="58" y="69"/>
                  </a:lnTo>
                  <a:lnTo>
                    <a:pt x="87" y="59"/>
                  </a:lnTo>
                  <a:lnTo>
                    <a:pt x="97" y="59"/>
                  </a:lnTo>
                  <a:lnTo>
                    <a:pt x="87" y="59"/>
                  </a:lnTo>
                  <a:lnTo>
                    <a:pt x="87" y="69"/>
                  </a:lnTo>
                  <a:lnTo>
                    <a:pt x="97" y="69"/>
                  </a:lnTo>
                  <a:lnTo>
                    <a:pt x="107" y="69"/>
                  </a:lnTo>
                  <a:lnTo>
                    <a:pt x="107" y="78"/>
                  </a:lnTo>
                  <a:lnTo>
                    <a:pt x="107" y="88"/>
                  </a:lnTo>
                  <a:lnTo>
                    <a:pt x="126" y="88"/>
                  </a:lnTo>
                  <a:lnTo>
                    <a:pt x="136" y="88"/>
                  </a:lnTo>
                  <a:lnTo>
                    <a:pt x="146" y="108"/>
                  </a:lnTo>
                  <a:lnTo>
                    <a:pt x="156" y="127"/>
                  </a:lnTo>
                  <a:lnTo>
                    <a:pt x="146" y="127"/>
                  </a:lnTo>
                  <a:lnTo>
                    <a:pt x="136" y="137"/>
                  </a:lnTo>
                  <a:lnTo>
                    <a:pt x="126" y="147"/>
                  </a:lnTo>
                  <a:lnTo>
                    <a:pt x="117" y="147"/>
                  </a:lnTo>
                  <a:lnTo>
                    <a:pt x="117" y="166"/>
                  </a:lnTo>
                  <a:lnTo>
                    <a:pt x="126" y="176"/>
                  </a:lnTo>
                  <a:lnTo>
                    <a:pt x="126" y="186"/>
                  </a:lnTo>
                  <a:lnTo>
                    <a:pt x="136" y="186"/>
                  </a:lnTo>
                  <a:lnTo>
                    <a:pt x="156" y="195"/>
                  </a:lnTo>
                  <a:lnTo>
                    <a:pt x="165" y="195"/>
                  </a:lnTo>
                  <a:lnTo>
                    <a:pt x="185" y="195"/>
                  </a:lnTo>
                  <a:lnTo>
                    <a:pt x="195" y="186"/>
                  </a:lnTo>
                  <a:lnTo>
                    <a:pt x="204" y="176"/>
                  </a:lnTo>
                  <a:lnTo>
                    <a:pt x="214" y="166"/>
                  </a:lnTo>
                  <a:lnTo>
                    <a:pt x="214" y="156"/>
                  </a:lnTo>
                  <a:lnTo>
                    <a:pt x="214" y="137"/>
                  </a:lnTo>
                  <a:lnTo>
                    <a:pt x="204" y="127"/>
                  </a:lnTo>
                  <a:lnTo>
                    <a:pt x="195" y="117"/>
                  </a:lnTo>
                  <a:lnTo>
                    <a:pt x="175" y="117"/>
                  </a:lnTo>
                  <a:lnTo>
                    <a:pt x="175" y="98"/>
                  </a:lnTo>
                  <a:lnTo>
                    <a:pt x="165" y="88"/>
                  </a:lnTo>
                  <a:lnTo>
                    <a:pt x="165" y="78"/>
                  </a:lnTo>
                  <a:lnTo>
                    <a:pt x="165" y="59"/>
                  </a:lnTo>
                  <a:lnTo>
                    <a:pt x="165" y="49"/>
                  </a:lnTo>
                  <a:lnTo>
                    <a:pt x="175" y="30"/>
                  </a:lnTo>
                  <a:lnTo>
                    <a:pt x="175" y="49"/>
                  </a:lnTo>
                  <a:lnTo>
                    <a:pt x="185" y="39"/>
                  </a:lnTo>
                  <a:lnTo>
                    <a:pt x="185" y="30"/>
                  </a:lnTo>
                  <a:lnTo>
                    <a:pt x="195" y="30"/>
                  </a:lnTo>
                  <a:lnTo>
                    <a:pt x="204" y="30"/>
                  </a:lnTo>
                  <a:lnTo>
                    <a:pt x="195" y="20"/>
                  </a:lnTo>
                  <a:lnTo>
                    <a:pt x="185" y="20"/>
                  </a:lnTo>
                  <a:lnTo>
                    <a:pt x="175" y="20"/>
                  </a:lnTo>
                  <a:lnTo>
                    <a:pt x="165" y="10"/>
                  </a:lnTo>
                  <a:lnTo>
                    <a:pt x="165" y="0"/>
                  </a:lnTo>
                  <a:lnTo>
                    <a:pt x="195" y="0"/>
                  </a:lnTo>
                  <a:lnTo>
                    <a:pt x="224" y="10"/>
                  </a:lnTo>
                  <a:lnTo>
                    <a:pt x="263" y="20"/>
                  </a:lnTo>
                  <a:lnTo>
                    <a:pt x="273" y="20"/>
                  </a:lnTo>
                  <a:lnTo>
                    <a:pt x="282" y="20"/>
                  </a:lnTo>
                  <a:lnTo>
                    <a:pt x="273" y="30"/>
                  </a:lnTo>
                  <a:lnTo>
                    <a:pt x="282" y="49"/>
                  </a:lnTo>
                  <a:lnTo>
                    <a:pt x="282" y="69"/>
                  </a:lnTo>
                  <a:lnTo>
                    <a:pt x="282" y="88"/>
                  </a:lnTo>
                  <a:lnTo>
                    <a:pt x="263" y="108"/>
                  </a:lnTo>
                  <a:lnTo>
                    <a:pt x="331" y="234"/>
                  </a:lnTo>
                  <a:lnTo>
                    <a:pt x="370" y="244"/>
                  </a:lnTo>
                  <a:lnTo>
                    <a:pt x="390" y="244"/>
                  </a:lnTo>
                  <a:lnTo>
                    <a:pt x="380" y="215"/>
                  </a:lnTo>
                  <a:lnTo>
                    <a:pt x="399" y="215"/>
                  </a:lnTo>
                  <a:lnTo>
                    <a:pt x="409" y="244"/>
                  </a:lnTo>
                  <a:lnTo>
                    <a:pt x="419" y="254"/>
                  </a:lnTo>
                  <a:lnTo>
                    <a:pt x="448" y="283"/>
                  </a:lnTo>
                  <a:lnTo>
                    <a:pt x="458" y="303"/>
                  </a:lnTo>
                  <a:lnTo>
                    <a:pt x="448" y="312"/>
                  </a:lnTo>
                  <a:lnTo>
                    <a:pt x="458" y="322"/>
                  </a:lnTo>
                  <a:lnTo>
                    <a:pt x="458" y="332"/>
                  </a:lnTo>
                  <a:lnTo>
                    <a:pt x="448" y="33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5" name="Freeform 158"/>
            <p:cNvSpPr>
              <a:spLocks/>
            </p:cNvSpPr>
            <p:nvPr/>
          </p:nvSpPr>
          <p:spPr bwMode="auto">
            <a:xfrm>
              <a:off x="1706" y="2226"/>
              <a:ext cx="276" cy="301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117" y="29"/>
                </a:cxn>
                <a:cxn ang="0">
                  <a:pos x="137" y="29"/>
                </a:cxn>
                <a:cxn ang="0">
                  <a:pos x="156" y="39"/>
                </a:cxn>
                <a:cxn ang="0">
                  <a:pos x="166" y="58"/>
                </a:cxn>
                <a:cxn ang="0">
                  <a:pos x="166" y="68"/>
                </a:cxn>
                <a:cxn ang="0">
                  <a:pos x="166" y="87"/>
                </a:cxn>
                <a:cxn ang="0">
                  <a:pos x="185" y="117"/>
                </a:cxn>
                <a:cxn ang="0">
                  <a:pos x="195" y="117"/>
                </a:cxn>
                <a:cxn ang="0">
                  <a:pos x="205" y="117"/>
                </a:cxn>
                <a:cxn ang="0">
                  <a:pos x="215" y="107"/>
                </a:cxn>
                <a:cxn ang="0">
                  <a:pos x="224" y="117"/>
                </a:cxn>
                <a:cxn ang="0">
                  <a:pos x="234" y="126"/>
                </a:cxn>
                <a:cxn ang="0">
                  <a:pos x="244" y="146"/>
                </a:cxn>
                <a:cxn ang="0">
                  <a:pos x="254" y="156"/>
                </a:cxn>
                <a:cxn ang="0">
                  <a:pos x="273" y="156"/>
                </a:cxn>
                <a:cxn ang="0">
                  <a:pos x="273" y="195"/>
                </a:cxn>
                <a:cxn ang="0">
                  <a:pos x="263" y="195"/>
                </a:cxn>
                <a:cxn ang="0">
                  <a:pos x="263" y="214"/>
                </a:cxn>
                <a:cxn ang="0">
                  <a:pos x="254" y="234"/>
                </a:cxn>
                <a:cxn ang="0">
                  <a:pos x="263" y="234"/>
                </a:cxn>
                <a:cxn ang="0">
                  <a:pos x="263" y="263"/>
                </a:cxn>
                <a:cxn ang="0">
                  <a:pos x="254" y="263"/>
                </a:cxn>
                <a:cxn ang="0">
                  <a:pos x="254" y="282"/>
                </a:cxn>
                <a:cxn ang="0">
                  <a:pos x="224" y="273"/>
                </a:cxn>
                <a:cxn ang="0">
                  <a:pos x="224" y="302"/>
                </a:cxn>
                <a:cxn ang="0">
                  <a:pos x="195" y="302"/>
                </a:cxn>
                <a:cxn ang="0">
                  <a:pos x="185" y="282"/>
                </a:cxn>
                <a:cxn ang="0">
                  <a:pos x="156" y="273"/>
                </a:cxn>
                <a:cxn ang="0">
                  <a:pos x="146" y="282"/>
                </a:cxn>
                <a:cxn ang="0">
                  <a:pos x="137" y="282"/>
                </a:cxn>
                <a:cxn ang="0">
                  <a:pos x="127" y="263"/>
                </a:cxn>
                <a:cxn ang="0">
                  <a:pos x="107" y="253"/>
                </a:cxn>
                <a:cxn ang="0">
                  <a:pos x="98" y="243"/>
                </a:cxn>
                <a:cxn ang="0">
                  <a:pos x="78" y="243"/>
                </a:cxn>
                <a:cxn ang="0">
                  <a:pos x="78" y="224"/>
                </a:cxn>
                <a:cxn ang="0">
                  <a:pos x="88" y="224"/>
                </a:cxn>
                <a:cxn ang="0">
                  <a:pos x="78" y="204"/>
                </a:cxn>
                <a:cxn ang="0">
                  <a:pos x="49" y="204"/>
                </a:cxn>
                <a:cxn ang="0">
                  <a:pos x="29" y="175"/>
                </a:cxn>
                <a:cxn ang="0">
                  <a:pos x="0" y="175"/>
                </a:cxn>
                <a:cxn ang="0">
                  <a:pos x="0" y="136"/>
                </a:cxn>
                <a:cxn ang="0">
                  <a:pos x="29" y="136"/>
                </a:cxn>
                <a:cxn ang="0">
                  <a:pos x="29" y="117"/>
                </a:cxn>
                <a:cxn ang="0">
                  <a:pos x="29" y="87"/>
                </a:cxn>
                <a:cxn ang="0">
                  <a:pos x="29" y="78"/>
                </a:cxn>
                <a:cxn ang="0">
                  <a:pos x="49" y="68"/>
                </a:cxn>
                <a:cxn ang="0">
                  <a:pos x="59" y="48"/>
                </a:cxn>
                <a:cxn ang="0">
                  <a:pos x="59" y="0"/>
                </a:cxn>
                <a:cxn ang="0">
                  <a:pos x="88" y="0"/>
                </a:cxn>
              </a:cxnLst>
              <a:rect l="0" t="0" r="r" b="b"/>
              <a:pathLst>
                <a:path w="273" h="302">
                  <a:moveTo>
                    <a:pt x="88" y="0"/>
                  </a:moveTo>
                  <a:lnTo>
                    <a:pt x="117" y="29"/>
                  </a:lnTo>
                  <a:lnTo>
                    <a:pt x="137" y="2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66" y="87"/>
                  </a:lnTo>
                  <a:lnTo>
                    <a:pt x="185" y="117"/>
                  </a:lnTo>
                  <a:lnTo>
                    <a:pt x="195" y="117"/>
                  </a:lnTo>
                  <a:lnTo>
                    <a:pt x="205" y="117"/>
                  </a:lnTo>
                  <a:lnTo>
                    <a:pt x="215" y="107"/>
                  </a:lnTo>
                  <a:lnTo>
                    <a:pt x="224" y="117"/>
                  </a:lnTo>
                  <a:lnTo>
                    <a:pt x="234" y="126"/>
                  </a:lnTo>
                  <a:lnTo>
                    <a:pt x="244" y="146"/>
                  </a:lnTo>
                  <a:lnTo>
                    <a:pt x="254" y="156"/>
                  </a:lnTo>
                  <a:lnTo>
                    <a:pt x="273" y="156"/>
                  </a:lnTo>
                  <a:lnTo>
                    <a:pt x="273" y="195"/>
                  </a:lnTo>
                  <a:lnTo>
                    <a:pt x="263" y="195"/>
                  </a:lnTo>
                  <a:lnTo>
                    <a:pt x="263" y="214"/>
                  </a:lnTo>
                  <a:lnTo>
                    <a:pt x="254" y="234"/>
                  </a:lnTo>
                  <a:lnTo>
                    <a:pt x="263" y="234"/>
                  </a:lnTo>
                  <a:lnTo>
                    <a:pt x="263" y="263"/>
                  </a:lnTo>
                  <a:lnTo>
                    <a:pt x="254" y="263"/>
                  </a:lnTo>
                  <a:lnTo>
                    <a:pt x="254" y="282"/>
                  </a:lnTo>
                  <a:lnTo>
                    <a:pt x="224" y="273"/>
                  </a:lnTo>
                  <a:lnTo>
                    <a:pt x="224" y="302"/>
                  </a:lnTo>
                  <a:lnTo>
                    <a:pt x="195" y="302"/>
                  </a:lnTo>
                  <a:lnTo>
                    <a:pt x="185" y="282"/>
                  </a:lnTo>
                  <a:lnTo>
                    <a:pt x="156" y="273"/>
                  </a:lnTo>
                  <a:lnTo>
                    <a:pt x="146" y="282"/>
                  </a:lnTo>
                  <a:lnTo>
                    <a:pt x="137" y="282"/>
                  </a:lnTo>
                  <a:lnTo>
                    <a:pt x="127" y="263"/>
                  </a:lnTo>
                  <a:lnTo>
                    <a:pt x="107" y="253"/>
                  </a:lnTo>
                  <a:lnTo>
                    <a:pt x="98" y="243"/>
                  </a:lnTo>
                  <a:lnTo>
                    <a:pt x="78" y="243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78" y="204"/>
                  </a:lnTo>
                  <a:lnTo>
                    <a:pt x="49" y="204"/>
                  </a:lnTo>
                  <a:lnTo>
                    <a:pt x="29" y="175"/>
                  </a:lnTo>
                  <a:lnTo>
                    <a:pt x="0" y="175"/>
                  </a:lnTo>
                  <a:lnTo>
                    <a:pt x="0" y="136"/>
                  </a:lnTo>
                  <a:lnTo>
                    <a:pt x="29" y="136"/>
                  </a:lnTo>
                  <a:lnTo>
                    <a:pt x="29" y="117"/>
                  </a:lnTo>
                  <a:lnTo>
                    <a:pt x="29" y="87"/>
                  </a:lnTo>
                  <a:lnTo>
                    <a:pt x="29" y="78"/>
                  </a:lnTo>
                  <a:lnTo>
                    <a:pt x="49" y="68"/>
                  </a:lnTo>
                  <a:lnTo>
                    <a:pt x="59" y="48"/>
                  </a:lnTo>
                  <a:lnTo>
                    <a:pt x="59" y="0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Freeform 157"/>
            <p:cNvSpPr>
              <a:spLocks/>
            </p:cNvSpPr>
            <p:nvPr/>
          </p:nvSpPr>
          <p:spPr bwMode="auto">
            <a:xfrm>
              <a:off x="1902" y="2353"/>
              <a:ext cx="322" cy="235"/>
            </a:xfrm>
            <a:custGeom>
              <a:avLst/>
              <a:gdLst/>
              <a:ahLst/>
              <a:cxnLst>
                <a:cxn ang="0">
                  <a:pos x="78" y="69"/>
                </a:cxn>
                <a:cxn ang="0">
                  <a:pos x="68" y="88"/>
                </a:cxn>
                <a:cxn ang="0">
                  <a:pos x="68" y="108"/>
                </a:cxn>
                <a:cxn ang="0">
                  <a:pos x="59" y="137"/>
                </a:cxn>
                <a:cxn ang="0">
                  <a:pos x="39" y="147"/>
                </a:cxn>
                <a:cxn ang="0">
                  <a:pos x="0" y="176"/>
                </a:cxn>
                <a:cxn ang="0">
                  <a:pos x="20" y="186"/>
                </a:cxn>
                <a:cxn ang="0">
                  <a:pos x="49" y="215"/>
                </a:cxn>
                <a:cxn ang="0">
                  <a:pos x="68" y="235"/>
                </a:cxn>
                <a:cxn ang="0">
                  <a:pos x="107" y="235"/>
                </a:cxn>
                <a:cxn ang="0">
                  <a:pos x="107" y="215"/>
                </a:cxn>
                <a:cxn ang="0">
                  <a:pos x="98" y="205"/>
                </a:cxn>
                <a:cxn ang="0">
                  <a:pos x="117" y="186"/>
                </a:cxn>
                <a:cxn ang="0">
                  <a:pos x="156" y="186"/>
                </a:cxn>
                <a:cxn ang="0">
                  <a:pos x="176" y="186"/>
                </a:cxn>
                <a:cxn ang="0">
                  <a:pos x="195" y="186"/>
                </a:cxn>
                <a:cxn ang="0">
                  <a:pos x="234" y="205"/>
                </a:cxn>
                <a:cxn ang="0">
                  <a:pos x="273" y="235"/>
                </a:cxn>
                <a:cxn ang="0">
                  <a:pos x="293" y="215"/>
                </a:cxn>
                <a:cxn ang="0">
                  <a:pos x="322" y="205"/>
                </a:cxn>
                <a:cxn ang="0">
                  <a:pos x="322" y="186"/>
                </a:cxn>
                <a:cxn ang="0">
                  <a:pos x="322" y="137"/>
                </a:cxn>
                <a:cxn ang="0">
                  <a:pos x="302" y="117"/>
                </a:cxn>
                <a:cxn ang="0">
                  <a:pos x="273" y="127"/>
                </a:cxn>
                <a:cxn ang="0">
                  <a:pos x="254" y="108"/>
                </a:cxn>
                <a:cxn ang="0">
                  <a:pos x="224" y="88"/>
                </a:cxn>
                <a:cxn ang="0">
                  <a:pos x="205" y="69"/>
                </a:cxn>
                <a:cxn ang="0">
                  <a:pos x="195" y="39"/>
                </a:cxn>
                <a:cxn ang="0">
                  <a:pos x="185" y="20"/>
                </a:cxn>
                <a:cxn ang="0">
                  <a:pos x="166" y="0"/>
                </a:cxn>
                <a:cxn ang="0">
                  <a:pos x="146" y="39"/>
                </a:cxn>
                <a:cxn ang="0">
                  <a:pos x="117" y="39"/>
                </a:cxn>
              </a:cxnLst>
              <a:rect l="0" t="0" r="r" b="b"/>
              <a:pathLst>
                <a:path w="322" h="235">
                  <a:moveTo>
                    <a:pt x="88" y="30"/>
                  </a:moveTo>
                  <a:lnTo>
                    <a:pt x="78" y="69"/>
                  </a:lnTo>
                  <a:lnTo>
                    <a:pt x="68" y="69"/>
                  </a:lnTo>
                  <a:lnTo>
                    <a:pt x="68" y="88"/>
                  </a:lnTo>
                  <a:lnTo>
                    <a:pt x="59" y="108"/>
                  </a:lnTo>
                  <a:lnTo>
                    <a:pt x="68" y="108"/>
                  </a:lnTo>
                  <a:lnTo>
                    <a:pt x="68" y="137"/>
                  </a:lnTo>
                  <a:lnTo>
                    <a:pt x="59" y="137"/>
                  </a:lnTo>
                  <a:lnTo>
                    <a:pt x="59" y="156"/>
                  </a:lnTo>
                  <a:lnTo>
                    <a:pt x="39" y="147"/>
                  </a:lnTo>
                  <a:lnTo>
                    <a:pt x="29" y="17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20" y="18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68" y="215"/>
                  </a:lnTo>
                  <a:lnTo>
                    <a:pt x="68" y="235"/>
                  </a:lnTo>
                  <a:lnTo>
                    <a:pt x="98" y="235"/>
                  </a:lnTo>
                  <a:lnTo>
                    <a:pt x="107" y="235"/>
                  </a:lnTo>
                  <a:lnTo>
                    <a:pt x="107" y="215"/>
                  </a:lnTo>
                  <a:lnTo>
                    <a:pt x="98" y="215"/>
                  </a:lnTo>
                  <a:lnTo>
                    <a:pt x="98" y="205"/>
                  </a:lnTo>
                  <a:lnTo>
                    <a:pt x="117" y="205"/>
                  </a:lnTo>
                  <a:lnTo>
                    <a:pt x="117" y="186"/>
                  </a:lnTo>
                  <a:lnTo>
                    <a:pt x="127" y="186"/>
                  </a:lnTo>
                  <a:lnTo>
                    <a:pt x="156" y="186"/>
                  </a:lnTo>
                  <a:lnTo>
                    <a:pt x="176" y="186"/>
                  </a:lnTo>
                  <a:lnTo>
                    <a:pt x="176" y="176"/>
                  </a:lnTo>
                  <a:lnTo>
                    <a:pt x="195" y="186"/>
                  </a:lnTo>
                  <a:lnTo>
                    <a:pt x="215" y="196"/>
                  </a:lnTo>
                  <a:lnTo>
                    <a:pt x="234" y="205"/>
                  </a:lnTo>
                  <a:lnTo>
                    <a:pt x="254" y="235"/>
                  </a:lnTo>
                  <a:lnTo>
                    <a:pt x="273" y="235"/>
                  </a:lnTo>
                  <a:lnTo>
                    <a:pt x="273" y="215"/>
                  </a:lnTo>
                  <a:lnTo>
                    <a:pt x="293" y="215"/>
                  </a:lnTo>
                  <a:lnTo>
                    <a:pt x="312" y="215"/>
                  </a:lnTo>
                  <a:lnTo>
                    <a:pt x="322" y="205"/>
                  </a:lnTo>
                  <a:lnTo>
                    <a:pt x="322" y="196"/>
                  </a:lnTo>
                  <a:lnTo>
                    <a:pt x="322" y="186"/>
                  </a:lnTo>
                  <a:lnTo>
                    <a:pt x="322" y="156"/>
                  </a:lnTo>
                  <a:lnTo>
                    <a:pt x="322" y="137"/>
                  </a:lnTo>
                  <a:lnTo>
                    <a:pt x="322" y="127"/>
                  </a:lnTo>
                  <a:lnTo>
                    <a:pt x="302" y="117"/>
                  </a:lnTo>
                  <a:lnTo>
                    <a:pt x="283" y="117"/>
                  </a:lnTo>
                  <a:lnTo>
                    <a:pt x="273" y="127"/>
                  </a:lnTo>
                  <a:lnTo>
                    <a:pt x="263" y="117"/>
                  </a:lnTo>
                  <a:lnTo>
                    <a:pt x="254" y="108"/>
                  </a:lnTo>
                  <a:lnTo>
                    <a:pt x="244" y="88"/>
                  </a:lnTo>
                  <a:lnTo>
                    <a:pt x="224" y="88"/>
                  </a:lnTo>
                  <a:lnTo>
                    <a:pt x="224" y="69"/>
                  </a:lnTo>
                  <a:lnTo>
                    <a:pt x="205" y="69"/>
                  </a:lnTo>
                  <a:lnTo>
                    <a:pt x="185" y="69"/>
                  </a:lnTo>
                  <a:lnTo>
                    <a:pt x="195" y="39"/>
                  </a:lnTo>
                  <a:lnTo>
                    <a:pt x="195" y="30"/>
                  </a:lnTo>
                  <a:lnTo>
                    <a:pt x="185" y="20"/>
                  </a:lnTo>
                  <a:lnTo>
                    <a:pt x="185" y="10"/>
                  </a:lnTo>
                  <a:lnTo>
                    <a:pt x="166" y="0"/>
                  </a:lnTo>
                  <a:lnTo>
                    <a:pt x="166" y="20"/>
                  </a:lnTo>
                  <a:lnTo>
                    <a:pt x="146" y="39"/>
                  </a:lnTo>
                  <a:lnTo>
                    <a:pt x="127" y="49"/>
                  </a:lnTo>
                  <a:lnTo>
                    <a:pt x="117" y="39"/>
                  </a:lnTo>
                  <a:lnTo>
                    <a:pt x="88" y="3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7" name="Freeform 156"/>
            <p:cNvSpPr>
              <a:spLocks/>
            </p:cNvSpPr>
            <p:nvPr/>
          </p:nvSpPr>
          <p:spPr bwMode="auto">
            <a:xfrm>
              <a:off x="1989" y="2527"/>
              <a:ext cx="353" cy="282"/>
            </a:xfrm>
            <a:custGeom>
              <a:avLst/>
              <a:gdLst/>
              <a:ahLst/>
              <a:cxnLst>
                <a:cxn ang="0">
                  <a:pos x="19" y="59"/>
                </a:cxn>
                <a:cxn ang="0">
                  <a:pos x="19" y="39"/>
                </a:cxn>
                <a:cxn ang="0">
                  <a:pos x="10" y="29"/>
                </a:cxn>
                <a:cxn ang="0">
                  <a:pos x="29" y="10"/>
                </a:cxn>
                <a:cxn ang="0">
                  <a:pos x="68" y="0"/>
                </a:cxn>
                <a:cxn ang="0">
                  <a:pos x="88" y="10"/>
                </a:cxn>
                <a:cxn ang="0">
                  <a:pos x="107" y="0"/>
                </a:cxn>
                <a:cxn ang="0">
                  <a:pos x="146" y="29"/>
                </a:cxn>
                <a:cxn ang="0">
                  <a:pos x="185" y="59"/>
                </a:cxn>
                <a:cxn ang="0">
                  <a:pos x="205" y="39"/>
                </a:cxn>
                <a:cxn ang="0">
                  <a:pos x="234" y="29"/>
                </a:cxn>
                <a:cxn ang="0">
                  <a:pos x="244" y="0"/>
                </a:cxn>
                <a:cxn ang="0">
                  <a:pos x="253" y="39"/>
                </a:cxn>
                <a:cxn ang="0">
                  <a:pos x="273" y="59"/>
                </a:cxn>
                <a:cxn ang="0">
                  <a:pos x="292" y="39"/>
                </a:cxn>
                <a:cxn ang="0">
                  <a:pos x="322" y="59"/>
                </a:cxn>
                <a:cxn ang="0">
                  <a:pos x="322" y="117"/>
                </a:cxn>
                <a:cxn ang="0">
                  <a:pos x="351" y="117"/>
                </a:cxn>
                <a:cxn ang="0">
                  <a:pos x="341" y="127"/>
                </a:cxn>
                <a:cxn ang="0">
                  <a:pos x="322" y="166"/>
                </a:cxn>
                <a:cxn ang="0">
                  <a:pos x="273" y="185"/>
                </a:cxn>
                <a:cxn ang="0">
                  <a:pos x="263" y="224"/>
                </a:cxn>
                <a:cxn ang="0">
                  <a:pos x="224" y="234"/>
                </a:cxn>
                <a:cxn ang="0">
                  <a:pos x="175" y="254"/>
                </a:cxn>
                <a:cxn ang="0">
                  <a:pos x="156" y="254"/>
                </a:cxn>
                <a:cxn ang="0">
                  <a:pos x="136" y="283"/>
                </a:cxn>
                <a:cxn ang="0">
                  <a:pos x="78" y="283"/>
                </a:cxn>
                <a:cxn ang="0">
                  <a:pos x="49" y="234"/>
                </a:cxn>
                <a:cxn ang="0">
                  <a:pos x="39" y="195"/>
                </a:cxn>
                <a:cxn ang="0">
                  <a:pos x="29" y="156"/>
                </a:cxn>
                <a:cxn ang="0">
                  <a:pos x="39" y="146"/>
                </a:cxn>
                <a:cxn ang="0">
                  <a:pos x="19" y="127"/>
                </a:cxn>
                <a:cxn ang="0">
                  <a:pos x="29" y="107"/>
                </a:cxn>
                <a:cxn ang="0">
                  <a:pos x="29" y="98"/>
                </a:cxn>
                <a:cxn ang="0">
                  <a:pos x="0" y="59"/>
                </a:cxn>
              </a:cxnLst>
              <a:rect l="0" t="0" r="r" b="b"/>
              <a:pathLst>
                <a:path w="351" h="283">
                  <a:moveTo>
                    <a:pt x="0" y="59"/>
                  </a:moveTo>
                  <a:lnTo>
                    <a:pt x="19" y="59"/>
                  </a:lnTo>
                  <a:lnTo>
                    <a:pt x="19" y="39"/>
                  </a:lnTo>
                  <a:lnTo>
                    <a:pt x="10" y="39"/>
                  </a:lnTo>
                  <a:lnTo>
                    <a:pt x="10" y="29"/>
                  </a:lnTo>
                  <a:lnTo>
                    <a:pt x="29" y="20"/>
                  </a:lnTo>
                  <a:lnTo>
                    <a:pt x="29" y="10"/>
                  </a:lnTo>
                  <a:lnTo>
                    <a:pt x="39" y="0"/>
                  </a:lnTo>
                  <a:lnTo>
                    <a:pt x="68" y="0"/>
                  </a:lnTo>
                  <a:lnTo>
                    <a:pt x="68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27" y="20"/>
                  </a:lnTo>
                  <a:lnTo>
                    <a:pt x="146" y="29"/>
                  </a:lnTo>
                  <a:lnTo>
                    <a:pt x="166" y="59"/>
                  </a:lnTo>
                  <a:lnTo>
                    <a:pt x="185" y="59"/>
                  </a:lnTo>
                  <a:lnTo>
                    <a:pt x="185" y="39"/>
                  </a:lnTo>
                  <a:lnTo>
                    <a:pt x="205" y="39"/>
                  </a:lnTo>
                  <a:lnTo>
                    <a:pt x="224" y="39"/>
                  </a:lnTo>
                  <a:lnTo>
                    <a:pt x="234" y="29"/>
                  </a:lnTo>
                  <a:lnTo>
                    <a:pt x="244" y="20"/>
                  </a:lnTo>
                  <a:lnTo>
                    <a:pt x="244" y="0"/>
                  </a:lnTo>
                  <a:lnTo>
                    <a:pt x="244" y="20"/>
                  </a:lnTo>
                  <a:lnTo>
                    <a:pt x="253" y="39"/>
                  </a:lnTo>
                  <a:lnTo>
                    <a:pt x="273" y="39"/>
                  </a:lnTo>
                  <a:lnTo>
                    <a:pt x="273" y="59"/>
                  </a:lnTo>
                  <a:lnTo>
                    <a:pt x="292" y="59"/>
                  </a:lnTo>
                  <a:lnTo>
                    <a:pt x="292" y="39"/>
                  </a:lnTo>
                  <a:lnTo>
                    <a:pt x="312" y="49"/>
                  </a:lnTo>
                  <a:lnTo>
                    <a:pt x="322" y="59"/>
                  </a:lnTo>
                  <a:lnTo>
                    <a:pt x="322" y="88"/>
                  </a:lnTo>
                  <a:lnTo>
                    <a:pt x="322" y="117"/>
                  </a:lnTo>
                  <a:lnTo>
                    <a:pt x="341" y="107"/>
                  </a:lnTo>
                  <a:lnTo>
                    <a:pt x="351" y="117"/>
                  </a:lnTo>
                  <a:lnTo>
                    <a:pt x="351" y="127"/>
                  </a:lnTo>
                  <a:lnTo>
                    <a:pt x="341" y="127"/>
                  </a:lnTo>
                  <a:lnTo>
                    <a:pt x="331" y="137"/>
                  </a:lnTo>
                  <a:lnTo>
                    <a:pt x="322" y="166"/>
                  </a:lnTo>
                  <a:lnTo>
                    <a:pt x="302" y="176"/>
                  </a:lnTo>
                  <a:lnTo>
                    <a:pt x="273" y="185"/>
                  </a:lnTo>
                  <a:lnTo>
                    <a:pt x="273" y="195"/>
                  </a:lnTo>
                  <a:lnTo>
                    <a:pt x="263" y="224"/>
                  </a:lnTo>
                  <a:lnTo>
                    <a:pt x="253" y="234"/>
                  </a:lnTo>
                  <a:lnTo>
                    <a:pt x="224" y="234"/>
                  </a:lnTo>
                  <a:lnTo>
                    <a:pt x="195" y="234"/>
                  </a:lnTo>
                  <a:lnTo>
                    <a:pt x="175" y="254"/>
                  </a:lnTo>
                  <a:lnTo>
                    <a:pt x="166" y="244"/>
                  </a:lnTo>
                  <a:lnTo>
                    <a:pt x="156" y="254"/>
                  </a:lnTo>
                  <a:lnTo>
                    <a:pt x="156" y="263"/>
                  </a:lnTo>
                  <a:lnTo>
                    <a:pt x="136" y="283"/>
                  </a:lnTo>
                  <a:lnTo>
                    <a:pt x="107" y="283"/>
                  </a:lnTo>
                  <a:lnTo>
                    <a:pt x="78" y="283"/>
                  </a:lnTo>
                  <a:lnTo>
                    <a:pt x="58" y="283"/>
                  </a:lnTo>
                  <a:lnTo>
                    <a:pt x="49" y="234"/>
                  </a:lnTo>
                  <a:lnTo>
                    <a:pt x="39" y="205"/>
                  </a:lnTo>
                  <a:lnTo>
                    <a:pt x="39" y="195"/>
                  </a:lnTo>
                  <a:lnTo>
                    <a:pt x="39" y="156"/>
                  </a:lnTo>
                  <a:lnTo>
                    <a:pt x="29" y="156"/>
                  </a:lnTo>
                  <a:lnTo>
                    <a:pt x="29" y="146"/>
                  </a:lnTo>
                  <a:lnTo>
                    <a:pt x="39" y="146"/>
                  </a:lnTo>
                  <a:lnTo>
                    <a:pt x="39" y="137"/>
                  </a:lnTo>
                  <a:lnTo>
                    <a:pt x="19" y="127"/>
                  </a:lnTo>
                  <a:lnTo>
                    <a:pt x="29" y="107"/>
                  </a:lnTo>
                  <a:lnTo>
                    <a:pt x="19" y="98"/>
                  </a:lnTo>
                  <a:lnTo>
                    <a:pt x="29" y="98"/>
                  </a:lnTo>
                  <a:lnTo>
                    <a:pt x="10" y="78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8" name="Freeform 155"/>
            <p:cNvSpPr>
              <a:spLocks/>
            </p:cNvSpPr>
            <p:nvPr/>
          </p:nvSpPr>
          <p:spPr bwMode="auto">
            <a:xfrm>
              <a:off x="1590" y="2374"/>
              <a:ext cx="459" cy="496"/>
            </a:xfrm>
            <a:custGeom>
              <a:avLst/>
              <a:gdLst/>
              <a:ahLst/>
              <a:cxnLst>
                <a:cxn ang="0">
                  <a:pos x="322" y="166"/>
                </a:cxn>
                <a:cxn ang="0">
                  <a:pos x="332" y="185"/>
                </a:cxn>
                <a:cxn ang="0">
                  <a:pos x="380" y="195"/>
                </a:cxn>
                <a:cxn ang="0">
                  <a:pos x="400" y="224"/>
                </a:cxn>
                <a:cxn ang="0">
                  <a:pos x="429" y="254"/>
                </a:cxn>
                <a:cxn ang="0">
                  <a:pos x="429" y="273"/>
                </a:cxn>
                <a:cxn ang="0">
                  <a:pos x="419" y="283"/>
                </a:cxn>
                <a:cxn ang="0">
                  <a:pos x="429" y="302"/>
                </a:cxn>
                <a:cxn ang="0">
                  <a:pos x="429" y="322"/>
                </a:cxn>
                <a:cxn ang="0">
                  <a:pos x="439" y="351"/>
                </a:cxn>
                <a:cxn ang="0">
                  <a:pos x="449" y="400"/>
                </a:cxn>
                <a:cxn ang="0">
                  <a:pos x="439" y="449"/>
                </a:cxn>
                <a:cxn ang="0">
                  <a:pos x="429" y="439"/>
                </a:cxn>
                <a:cxn ang="0">
                  <a:pos x="390" y="449"/>
                </a:cxn>
                <a:cxn ang="0">
                  <a:pos x="351" y="439"/>
                </a:cxn>
                <a:cxn ang="0">
                  <a:pos x="341" y="429"/>
                </a:cxn>
                <a:cxn ang="0">
                  <a:pos x="322" y="439"/>
                </a:cxn>
                <a:cxn ang="0">
                  <a:pos x="283" y="439"/>
                </a:cxn>
                <a:cxn ang="0">
                  <a:pos x="273" y="439"/>
                </a:cxn>
                <a:cxn ang="0">
                  <a:pos x="254" y="419"/>
                </a:cxn>
                <a:cxn ang="0">
                  <a:pos x="234" y="429"/>
                </a:cxn>
                <a:cxn ang="0">
                  <a:pos x="215" y="468"/>
                </a:cxn>
                <a:cxn ang="0">
                  <a:pos x="215" y="497"/>
                </a:cxn>
                <a:cxn ang="0">
                  <a:pos x="166" y="468"/>
                </a:cxn>
                <a:cxn ang="0">
                  <a:pos x="176" y="439"/>
                </a:cxn>
                <a:cxn ang="0">
                  <a:pos x="176" y="390"/>
                </a:cxn>
                <a:cxn ang="0">
                  <a:pos x="156" y="380"/>
                </a:cxn>
                <a:cxn ang="0">
                  <a:pos x="146" y="361"/>
                </a:cxn>
                <a:cxn ang="0">
                  <a:pos x="136" y="351"/>
                </a:cxn>
                <a:cxn ang="0">
                  <a:pos x="136" y="312"/>
                </a:cxn>
                <a:cxn ang="0">
                  <a:pos x="107" y="322"/>
                </a:cxn>
                <a:cxn ang="0">
                  <a:pos x="107" y="293"/>
                </a:cxn>
                <a:cxn ang="0">
                  <a:pos x="97" y="273"/>
                </a:cxn>
                <a:cxn ang="0">
                  <a:pos x="58" y="263"/>
                </a:cxn>
                <a:cxn ang="0">
                  <a:pos x="78" y="234"/>
                </a:cxn>
                <a:cxn ang="0">
                  <a:pos x="97" y="176"/>
                </a:cxn>
                <a:cxn ang="0">
                  <a:pos x="58" y="156"/>
                </a:cxn>
                <a:cxn ang="0">
                  <a:pos x="49" y="136"/>
                </a:cxn>
                <a:cxn ang="0">
                  <a:pos x="29" y="127"/>
                </a:cxn>
                <a:cxn ang="0">
                  <a:pos x="10" y="117"/>
                </a:cxn>
                <a:cxn ang="0">
                  <a:pos x="0" y="78"/>
                </a:cxn>
                <a:cxn ang="0">
                  <a:pos x="19" y="49"/>
                </a:cxn>
                <a:cxn ang="0">
                  <a:pos x="39" y="29"/>
                </a:cxn>
                <a:cxn ang="0">
                  <a:pos x="68" y="19"/>
                </a:cxn>
                <a:cxn ang="0">
                  <a:pos x="88" y="0"/>
                </a:cxn>
                <a:cxn ang="0">
                  <a:pos x="117" y="0"/>
                </a:cxn>
                <a:cxn ang="0">
                  <a:pos x="146" y="39"/>
                </a:cxn>
                <a:cxn ang="0">
                  <a:pos x="195" y="58"/>
                </a:cxn>
                <a:cxn ang="0">
                  <a:pos x="195" y="88"/>
                </a:cxn>
                <a:cxn ang="0">
                  <a:pos x="215" y="97"/>
                </a:cxn>
                <a:cxn ang="0">
                  <a:pos x="244" y="117"/>
                </a:cxn>
                <a:cxn ang="0">
                  <a:pos x="263" y="146"/>
                </a:cxn>
                <a:cxn ang="0">
                  <a:pos x="302" y="146"/>
                </a:cxn>
              </a:cxnLst>
              <a:rect l="0" t="0" r="r" b="b"/>
              <a:pathLst>
                <a:path w="458" h="497">
                  <a:moveTo>
                    <a:pt x="312" y="156"/>
                  </a:moveTo>
                  <a:lnTo>
                    <a:pt x="322" y="166"/>
                  </a:lnTo>
                  <a:lnTo>
                    <a:pt x="332" y="176"/>
                  </a:lnTo>
                  <a:lnTo>
                    <a:pt x="332" y="185"/>
                  </a:lnTo>
                  <a:lnTo>
                    <a:pt x="361" y="205"/>
                  </a:lnTo>
                  <a:lnTo>
                    <a:pt x="380" y="195"/>
                  </a:lnTo>
                  <a:lnTo>
                    <a:pt x="380" y="215"/>
                  </a:lnTo>
                  <a:lnTo>
                    <a:pt x="400" y="224"/>
                  </a:lnTo>
                  <a:lnTo>
                    <a:pt x="410" y="234"/>
                  </a:lnTo>
                  <a:lnTo>
                    <a:pt x="429" y="254"/>
                  </a:lnTo>
                  <a:lnTo>
                    <a:pt x="419" y="263"/>
                  </a:lnTo>
                  <a:lnTo>
                    <a:pt x="429" y="273"/>
                  </a:lnTo>
                  <a:lnTo>
                    <a:pt x="419" y="283"/>
                  </a:lnTo>
                  <a:lnTo>
                    <a:pt x="429" y="293"/>
                  </a:lnTo>
                  <a:lnTo>
                    <a:pt x="429" y="302"/>
                  </a:lnTo>
                  <a:lnTo>
                    <a:pt x="429" y="322"/>
                  </a:lnTo>
                  <a:lnTo>
                    <a:pt x="439" y="322"/>
                  </a:lnTo>
                  <a:lnTo>
                    <a:pt x="439" y="351"/>
                  </a:lnTo>
                  <a:lnTo>
                    <a:pt x="439" y="361"/>
                  </a:lnTo>
                  <a:lnTo>
                    <a:pt x="449" y="400"/>
                  </a:lnTo>
                  <a:lnTo>
                    <a:pt x="458" y="439"/>
                  </a:lnTo>
                  <a:lnTo>
                    <a:pt x="439" y="449"/>
                  </a:lnTo>
                  <a:lnTo>
                    <a:pt x="439" y="439"/>
                  </a:lnTo>
                  <a:lnTo>
                    <a:pt x="429" y="439"/>
                  </a:lnTo>
                  <a:lnTo>
                    <a:pt x="419" y="449"/>
                  </a:lnTo>
                  <a:lnTo>
                    <a:pt x="390" y="449"/>
                  </a:lnTo>
                  <a:lnTo>
                    <a:pt x="380" y="439"/>
                  </a:lnTo>
                  <a:lnTo>
                    <a:pt x="351" y="439"/>
                  </a:lnTo>
                  <a:lnTo>
                    <a:pt x="341" y="439"/>
                  </a:lnTo>
                  <a:lnTo>
                    <a:pt x="341" y="429"/>
                  </a:lnTo>
                  <a:lnTo>
                    <a:pt x="332" y="429"/>
                  </a:lnTo>
                  <a:lnTo>
                    <a:pt x="322" y="439"/>
                  </a:lnTo>
                  <a:lnTo>
                    <a:pt x="312" y="439"/>
                  </a:lnTo>
                  <a:lnTo>
                    <a:pt x="283" y="439"/>
                  </a:lnTo>
                  <a:lnTo>
                    <a:pt x="273" y="439"/>
                  </a:lnTo>
                  <a:lnTo>
                    <a:pt x="254" y="439"/>
                  </a:lnTo>
                  <a:lnTo>
                    <a:pt x="254" y="419"/>
                  </a:lnTo>
                  <a:lnTo>
                    <a:pt x="234" y="429"/>
                  </a:lnTo>
                  <a:lnTo>
                    <a:pt x="224" y="439"/>
                  </a:lnTo>
                  <a:lnTo>
                    <a:pt x="215" y="468"/>
                  </a:lnTo>
                  <a:lnTo>
                    <a:pt x="205" y="468"/>
                  </a:lnTo>
                  <a:lnTo>
                    <a:pt x="215" y="497"/>
                  </a:lnTo>
                  <a:lnTo>
                    <a:pt x="166" y="478"/>
                  </a:lnTo>
                  <a:lnTo>
                    <a:pt x="166" y="468"/>
                  </a:lnTo>
                  <a:lnTo>
                    <a:pt x="176" y="458"/>
                  </a:lnTo>
                  <a:lnTo>
                    <a:pt x="176" y="439"/>
                  </a:lnTo>
                  <a:lnTo>
                    <a:pt x="176" y="410"/>
                  </a:lnTo>
                  <a:lnTo>
                    <a:pt x="176" y="390"/>
                  </a:lnTo>
                  <a:lnTo>
                    <a:pt x="166" y="380"/>
                  </a:lnTo>
                  <a:lnTo>
                    <a:pt x="156" y="380"/>
                  </a:lnTo>
                  <a:lnTo>
                    <a:pt x="146" y="371"/>
                  </a:lnTo>
                  <a:lnTo>
                    <a:pt x="146" y="361"/>
                  </a:lnTo>
                  <a:lnTo>
                    <a:pt x="146" y="351"/>
                  </a:lnTo>
                  <a:lnTo>
                    <a:pt x="136" y="351"/>
                  </a:lnTo>
                  <a:lnTo>
                    <a:pt x="146" y="332"/>
                  </a:lnTo>
                  <a:lnTo>
                    <a:pt x="136" y="312"/>
                  </a:lnTo>
                  <a:lnTo>
                    <a:pt x="117" y="322"/>
                  </a:lnTo>
                  <a:lnTo>
                    <a:pt x="107" y="322"/>
                  </a:lnTo>
                  <a:lnTo>
                    <a:pt x="97" y="302"/>
                  </a:lnTo>
                  <a:lnTo>
                    <a:pt x="107" y="293"/>
                  </a:lnTo>
                  <a:lnTo>
                    <a:pt x="107" y="283"/>
                  </a:lnTo>
                  <a:lnTo>
                    <a:pt x="97" y="273"/>
                  </a:lnTo>
                  <a:lnTo>
                    <a:pt x="78" y="283"/>
                  </a:lnTo>
                  <a:lnTo>
                    <a:pt x="58" y="263"/>
                  </a:lnTo>
                  <a:lnTo>
                    <a:pt x="58" y="254"/>
                  </a:lnTo>
                  <a:lnTo>
                    <a:pt x="78" y="234"/>
                  </a:lnTo>
                  <a:lnTo>
                    <a:pt x="107" y="195"/>
                  </a:lnTo>
                  <a:lnTo>
                    <a:pt x="97" y="176"/>
                  </a:lnTo>
                  <a:lnTo>
                    <a:pt x="68" y="146"/>
                  </a:lnTo>
                  <a:lnTo>
                    <a:pt x="58" y="156"/>
                  </a:lnTo>
                  <a:lnTo>
                    <a:pt x="39" y="146"/>
                  </a:lnTo>
                  <a:lnTo>
                    <a:pt x="49" y="136"/>
                  </a:lnTo>
                  <a:lnTo>
                    <a:pt x="58" y="136"/>
                  </a:lnTo>
                  <a:lnTo>
                    <a:pt x="29" y="127"/>
                  </a:lnTo>
                  <a:lnTo>
                    <a:pt x="19" y="127"/>
                  </a:lnTo>
                  <a:lnTo>
                    <a:pt x="10" y="117"/>
                  </a:lnTo>
                  <a:lnTo>
                    <a:pt x="10" y="97"/>
                  </a:lnTo>
                  <a:lnTo>
                    <a:pt x="0" y="78"/>
                  </a:lnTo>
                  <a:lnTo>
                    <a:pt x="19" y="58"/>
                  </a:lnTo>
                  <a:lnTo>
                    <a:pt x="19" y="49"/>
                  </a:lnTo>
                  <a:lnTo>
                    <a:pt x="29" y="29"/>
                  </a:lnTo>
                  <a:lnTo>
                    <a:pt x="39" y="29"/>
                  </a:lnTo>
                  <a:lnTo>
                    <a:pt x="58" y="29"/>
                  </a:lnTo>
                  <a:lnTo>
                    <a:pt x="68" y="19"/>
                  </a:lnTo>
                  <a:lnTo>
                    <a:pt x="78" y="19"/>
                  </a:lnTo>
                  <a:lnTo>
                    <a:pt x="88" y="0"/>
                  </a:lnTo>
                  <a:lnTo>
                    <a:pt x="107" y="0"/>
                  </a:lnTo>
                  <a:lnTo>
                    <a:pt x="117" y="0"/>
                  </a:lnTo>
                  <a:lnTo>
                    <a:pt x="117" y="29"/>
                  </a:lnTo>
                  <a:lnTo>
                    <a:pt x="146" y="39"/>
                  </a:lnTo>
                  <a:lnTo>
                    <a:pt x="166" y="68"/>
                  </a:lnTo>
                  <a:lnTo>
                    <a:pt x="195" y="58"/>
                  </a:lnTo>
                  <a:lnTo>
                    <a:pt x="205" y="78"/>
                  </a:lnTo>
                  <a:lnTo>
                    <a:pt x="195" y="88"/>
                  </a:lnTo>
                  <a:lnTo>
                    <a:pt x="195" y="107"/>
                  </a:lnTo>
                  <a:lnTo>
                    <a:pt x="215" y="97"/>
                  </a:lnTo>
                  <a:lnTo>
                    <a:pt x="224" y="117"/>
                  </a:lnTo>
                  <a:lnTo>
                    <a:pt x="244" y="117"/>
                  </a:lnTo>
                  <a:lnTo>
                    <a:pt x="254" y="146"/>
                  </a:lnTo>
                  <a:lnTo>
                    <a:pt x="263" y="146"/>
                  </a:lnTo>
                  <a:lnTo>
                    <a:pt x="273" y="127"/>
                  </a:lnTo>
                  <a:lnTo>
                    <a:pt x="302" y="146"/>
                  </a:lnTo>
                  <a:lnTo>
                    <a:pt x="312" y="1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9" name="Freeform 154"/>
            <p:cNvSpPr>
              <a:spLocks/>
            </p:cNvSpPr>
            <p:nvPr/>
          </p:nvSpPr>
          <p:spPr bwMode="auto">
            <a:xfrm>
              <a:off x="712" y="2478"/>
              <a:ext cx="334" cy="430"/>
            </a:xfrm>
            <a:custGeom>
              <a:avLst/>
              <a:gdLst/>
              <a:ahLst/>
              <a:cxnLst>
                <a:cxn ang="0">
                  <a:pos x="215" y="361"/>
                </a:cxn>
                <a:cxn ang="0">
                  <a:pos x="234" y="351"/>
                </a:cxn>
                <a:cxn ang="0">
                  <a:pos x="244" y="303"/>
                </a:cxn>
                <a:cxn ang="0">
                  <a:pos x="263" y="283"/>
                </a:cxn>
                <a:cxn ang="0">
                  <a:pos x="283" y="273"/>
                </a:cxn>
                <a:cxn ang="0">
                  <a:pos x="312" y="244"/>
                </a:cxn>
                <a:cxn ang="0">
                  <a:pos x="322" y="215"/>
                </a:cxn>
                <a:cxn ang="0">
                  <a:pos x="302" y="176"/>
                </a:cxn>
                <a:cxn ang="0">
                  <a:pos x="322" y="117"/>
                </a:cxn>
                <a:cxn ang="0">
                  <a:pos x="273" y="108"/>
                </a:cxn>
                <a:cxn ang="0">
                  <a:pos x="273" y="69"/>
                </a:cxn>
                <a:cxn ang="0">
                  <a:pos x="263" y="29"/>
                </a:cxn>
                <a:cxn ang="0">
                  <a:pos x="234" y="39"/>
                </a:cxn>
                <a:cxn ang="0">
                  <a:pos x="215" y="20"/>
                </a:cxn>
                <a:cxn ang="0">
                  <a:pos x="195" y="10"/>
                </a:cxn>
                <a:cxn ang="0">
                  <a:pos x="176" y="39"/>
                </a:cxn>
                <a:cxn ang="0">
                  <a:pos x="185" y="88"/>
                </a:cxn>
                <a:cxn ang="0">
                  <a:pos x="176" y="69"/>
                </a:cxn>
                <a:cxn ang="0">
                  <a:pos x="156" y="59"/>
                </a:cxn>
                <a:cxn ang="0">
                  <a:pos x="117" y="69"/>
                </a:cxn>
                <a:cxn ang="0">
                  <a:pos x="98" y="69"/>
                </a:cxn>
                <a:cxn ang="0">
                  <a:pos x="68" y="88"/>
                </a:cxn>
                <a:cxn ang="0">
                  <a:pos x="59" y="59"/>
                </a:cxn>
                <a:cxn ang="0">
                  <a:pos x="49" y="49"/>
                </a:cxn>
                <a:cxn ang="0">
                  <a:pos x="29" y="29"/>
                </a:cxn>
                <a:cxn ang="0">
                  <a:pos x="10" y="29"/>
                </a:cxn>
                <a:cxn ang="0">
                  <a:pos x="10" y="49"/>
                </a:cxn>
                <a:cxn ang="0">
                  <a:pos x="10" y="88"/>
                </a:cxn>
                <a:cxn ang="0">
                  <a:pos x="0" y="127"/>
                </a:cxn>
                <a:cxn ang="0">
                  <a:pos x="10" y="166"/>
                </a:cxn>
                <a:cxn ang="0">
                  <a:pos x="20" y="205"/>
                </a:cxn>
                <a:cxn ang="0">
                  <a:pos x="20" y="254"/>
                </a:cxn>
                <a:cxn ang="0">
                  <a:pos x="20" y="322"/>
                </a:cxn>
                <a:cxn ang="0">
                  <a:pos x="10" y="361"/>
                </a:cxn>
                <a:cxn ang="0">
                  <a:pos x="39" y="361"/>
                </a:cxn>
                <a:cxn ang="0">
                  <a:pos x="59" y="390"/>
                </a:cxn>
                <a:cxn ang="0">
                  <a:pos x="88" y="390"/>
                </a:cxn>
                <a:cxn ang="0">
                  <a:pos x="127" y="381"/>
                </a:cxn>
                <a:cxn ang="0">
                  <a:pos x="137" y="332"/>
                </a:cxn>
                <a:cxn ang="0">
                  <a:pos x="146" y="303"/>
                </a:cxn>
                <a:cxn ang="0">
                  <a:pos x="107" y="332"/>
                </a:cxn>
                <a:cxn ang="0">
                  <a:pos x="68" y="361"/>
                </a:cxn>
                <a:cxn ang="0">
                  <a:pos x="59" y="342"/>
                </a:cxn>
                <a:cxn ang="0">
                  <a:pos x="68" y="312"/>
                </a:cxn>
                <a:cxn ang="0">
                  <a:pos x="88" y="322"/>
                </a:cxn>
                <a:cxn ang="0">
                  <a:pos x="107" y="303"/>
                </a:cxn>
                <a:cxn ang="0">
                  <a:pos x="146" y="273"/>
                </a:cxn>
                <a:cxn ang="0">
                  <a:pos x="127" y="225"/>
                </a:cxn>
                <a:cxn ang="0">
                  <a:pos x="98" y="195"/>
                </a:cxn>
                <a:cxn ang="0">
                  <a:pos x="98" y="186"/>
                </a:cxn>
                <a:cxn ang="0">
                  <a:pos x="137" y="225"/>
                </a:cxn>
                <a:cxn ang="0">
                  <a:pos x="166" y="244"/>
                </a:cxn>
                <a:cxn ang="0">
                  <a:pos x="176" y="303"/>
                </a:cxn>
                <a:cxn ang="0">
                  <a:pos x="146" y="351"/>
                </a:cxn>
                <a:cxn ang="0">
                  <a:pos x="146" y="400"/>
                </a:cxn>
                <a:cxn ang="0">
                  <a:pos x="166" y="420"/>
                </a:cxn>
                <a:cxn ang="0">
                  <a:pos x="215" y="400"/>
                </a:cxn>
              </a:cxnLst>
              <a:rect l="0" t="0" r="r" b="b"/>
              <a:pathLst>
                <a:path w="332" h="430">
                  <a:moveTo>
                    <a:pt x="215" y="400"/>
                  </a:moveTo>
                  <a:lnTo>
                    <a:pt x="205" y="381"/>
                  </a:lnTo>
                  <a:lnTo>
                    <a:pt x="215" y="361"/>
                  </a:lnTo>
                  <a:lnTo>
                    <a:pt x="224" y="371"/>
                  </a:lnTo>
                  <a:lnTo>
                    <a:pt x="244" y="361"/>
                  </a:lnTo>
                  <a:lnTo>
                    <a:pt x="234" y="351"/>
                  </a:lnTo>
                  <a:lnTo>
                    <a:pt x="244" y="322"/>
                  </a:lnTo>
                  <a:lnTo>
                    <a:pt x="254" y="312"/>
                  </a:lnTo>
                  <a:lnTo>
                    <a:pt x="244" y="303"/>
                  </a:lnTo>
                  <a:lnTo>
                    <a:pt x="254" y="303"/>
                  </a:lnTo>
                  <a:lnTo>
                    <a:pt x="254" y="283"/>
                  </a:lnTo>
                  <a:lnTo>
                    <a:pt x="263" y="283"/>
                  </a:lnTo>
                  <a:lnTo>
                    <a:pt x="263" y="264"/>
                  </a:lnTo>
                  <a:lnTo>
                    <a:pt x="283" y="264"/>
                  </a:lnTo>
                  <a:lnTo>
                    <a:pt x="283" y="273"/>
                  </a:lnTo>
                  <a:lnTo>
                    <a:pt x="302" y="273"/>
                  </a:lnTo>
                  <a:lnTo>
                    <a:pt x="312" y="264"/>
                  </a:lnTo>
                  <a:lnTo>
                    <a:pt x="312" y="244"/>
                  </a:lnTo>
                  <a:lnTo>
                    <a:pt x="322" y="244"/>
                  </a:lnTo>
                  <a:lnTo>
                    <a:pt x="332" y="234"/>
                  </a:lnTo>
                  <a:lnTo>
                    <a:pt x="322" y="215"/>
                  </a:lnTo>
                  <a:lnTo>
                    <a:pt x="302" y="195"/>
                  </a:lnTo>
                  <a:lnTo>
                    <a:pt x="302" y="176"/>
                  </a:lnTo>
                  <a:lnTo>
                    <a:pt x="312" y="156"/>
                  </a:lnTo>
                  <a:lnTo>
                    <a:pt x="322" y="147"/>
                  </a:lnTo>
                  <a:lnTo>
                    <a:pt x="322" y="117"/>
                  </a:lnTo>
                  <a:lnTo>
                    <a:pt x="302" y="88"/>
                  </a:lnTo>
                  <a:lnTo>
                    <a:pt x="293" y="98"/>
                  </a:lnTo>
                  <a:lnTo>
                    <a:pt x="273" y="108"/>
                  </a:lnTo>
                  <a:lnTo>
                    <a:pt x="263" y="98"/>
                  </a:lnTo>
                  <a:lnTo>
                    <a:pt x="263" y="78"/>
                  </a:lnTo>
                  <a:lnTo>
                    <a:pt x="273" y="69"/>
                  </a:lnTo>
                  <a:lnTo>
                    <a:pt x="273" y="49"/>
                  </a:lnTo>
                  <a:lnTo>
                    <a:pt x="263" y="39"/>
                  </a:lnTo>
                  <a:lnTo>
                    <a:pt x="263" y="29"/>
                  </a:lnTo>
                  <a:lnTo>
                    <a:pt x="244" y="29"/>
                  </a:lnTo>
                  <a:lnTo>
                    <a:pt x="244" y="49"/>
                  </a:lnTo>
                  <a:lnTo>
                    <a:pt x="234" y="3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15" y="20"/>
                  </a:lnTo>
                  <a:lnTo>
                    <a:pt x="205" y="10"/>
                  </a:lnTo>
                  <a:lnTo>
                    <a:pt x="205" y="0"/>
                  </a:lnTo>
                  <a:lnTo>
                    <a:pt x="195" y="10"/>
                  </a:lnTo>
                  <a:lnTo>
                    <a:pt x="185" y="20"/>
                  </a:lnTo>
                  <a:lnTo>
                    <a:pt x="176" y="29"/>
                  </a:lnTo>
                  <a:lnTo>
                    <a:pt x="176" y="39"/>
                  </a:lnTo>
                  <a:lnTo>
                    <a:pt x="185" y="59"/>
                  </a:lnTo>
                  <a:lnTo>
                    <a:pt x="185" y="78"/>
                  </a:lnTo>
                  <a:lnTo>
                    <a:pt x="185" y="88"/>
                  </a:lnTo>
                  <a:lnTo>
                    <a:pt x="176" y="88"/>
                  </a:lnTo>
                  <a:lnTo>
                    <a:pt x="176" y="78"/>
                  </a:lnTo>
                  <a:lnTo>
                    <a:pt x="176" y="69"/>
                  </a:lnTo>
                  <a:lnTo>
                    <a:pt x="166" y="69"/>
                  </a:lnTo>
                  <a:lnTo>
                    <a:pt x="156" y="69"/>
                  </a:lnTo>
                  <a:lnTo>
                    <a:pt x="156" y="59"/>
                  </a:lnTo>
                  <a:lnTo>
                    <a:pt x="146" y="59"/>
                  </a:lnTo>
                  <a:lnTo>
                    <a:pt x="137" y="59"/>
                  </a:lnTo>
                  <a:lnTo>
                    <a:pt x="117" y="69"/>
                  </a:lnTo>
                  <a:lnTo>
                    <a:pt x="107" y="59"/>
                  </a:lnTo>
                  <a:lnTo>
                    <a:pt x="98" y="59"/>
                  </a:lnTo>
                  <a:lnTo>
                    <a:pt x="98" y="69"/>
                  </a:lnTo>
                  <a:lnTo>
                    <a:pt x="88" y="88"/>
                  </a:lnTo>
                  <a:lnTo>
                    <a:pt x="78" y="88"/>
                  </a:lnTo>
                  <a:lnTo>
                    <a:pt x="68" y="88"/>
                  </a:lnTo>
                  <a:lnTo>
                    <a:pt x="68" y="78"/>
                  </a:lnTo>
                  <a:lnTo>
                    <a:pt x="59" y="69"/>
                  </a:lnTo>
                  <a:lnTo>
                    <a:pt x="59" y="59"/>
                  </a:lnTo>
                  <a:lnTo>
                    <a:pt x="39" y="59"/>
                  </a:lnTo>
                  <a:lnTo>
                    <a:pt x="49" y="49"/>
                  </a:lnTo>
                  <a:lnTo>
                    <a:pt x="39" y="39"/>
                  </a:lnTo>
                  <a:lnTo>
                    <a:pt x="39" y="29"/>
                  </a:lnTo>
                  <a:lnTo>
                    <a:pt x="29" y="29"/>
                  </a:lnTo>
                  <a:lnTo>
                    <a:pt x="29" y="39"/>
                  </a:lnTo>
                  <a:lnTo>
                    <a:pt x="20" y="39"/>
                  </a:lnTo>
                  <a:lnTo>
                    <a:pt x="10" y="29"/>
                  </a:lnTo>
                  <a:lnTo>
                    <a:pt x="0" y="29"/>
                  </a:lnTo>
                  <a:lnTo>
                    <a:pt x="10" y="49"/>
                  </a:lnTo>
                  <a:lnTo>
                    <a:pt x="10" y="69"/>
                  </a:lnTo>
                  <a:lnTo>
                    <a:pt x="10" y="88"/>
                  </a:lnTo>
                  <a:lnTo>
                    <a:pt x="10" y="98"/>
                  </a:lnTo>
                  <a:lnTo>
                    <a:pt x="0" y="108"/>
                  </a:lnTo>
                  <a:lnTo>
                    <a:pt x="0" y="127"/>
                  </a:lnTo>
                  <a:lnTo>
                    <a:pt x="10" y="137"/>
                  </a:lnTo>
                  <a:lnTo>
                    <a:pt x="10" y="166"/>
                  </a:lnTo>
                  <a:lnTo>
                    <a:pt x="10" y="176"/>
                  </a:lnTo>
                  <a:lnTo>
                    <a:pt x="10" y="195"/>
                  </a:lnTo>
                  <a:lnTo>
                    <a:pt x="20" y="205"/>
                  </a:lnTo>
                  <a:lnTo>
                    <a:pt x="29" y="225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73"/>
                  </a:lnTo>
                  <a:lnTo>
                    <a:pt x="20" y="283"/>
                  </a:lnTo>
                  <a:lnTo>
                    <a:pt x="20" y="322"/>
                  </a:lnTo>
                  <a:lnTo>
                    <a:pt x="20" y="34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10" y="371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49" y="371"/>
                  </a:lnTo>
                  <a:lnTo>
                    <a:pt x="49" y="381"/>
                  </a:lnTo>
                  <a:lnTo>
                    <a:pt x="59" y="390"/>
                  </a:lnTo>
                  <a:lnTo>
                    <a:pt x="59" y="400"/>
                  </a:lnTo>
                  <a:lnTo>
                    <a:pt x="68" y="410"/>
                  </a:lnTo>
                  <a:lnTo>
                    <a:pt x="88" y="390"/>
                  </a:lnTo>
                  <a:lnTo>
                    <a:pt x="107" y="390"/>
                  </a:lnTo>
                  <a:lnTo>
                    <a:pt x="127" y="381"/>
                  </a:lnTo>
                  <a:lnTo>
                    <a:pt x="137" y="351"/>
                  </a:lnTo>
                  <a:lnTo>
                    <a:pt x="137" y="342"/>
                  </a:lnTo>
                  <a:lnTo>
                    <a:pt x="137" y="332"/>
                  </a:lnTo>
                  <a:lnTo>
                    <a:pt x="146" y="322"/>
                  </a:lnTo>
                  <a:lnTo>
                    <a:pt x="156" y="303"/>
                  </a:lnTo>
                  <a:lnTo>
                    <a:pt x="146" y="303"/>
                  </a:lnTo>
                  <a:lnTo>
                    <a:pt x="137" y="312"/>
                  </a:lnTo>
                  <a:lnTo>
                    <a:pt x="127" y="322"/>
                  </a:lnTo>
                  <a:lnTo>
                    <a:pt x="107" y="332"/>
                  </a:lnTo>
                  <a:lnTo>
                    <a:pt x="98" y="351"/>
                  </a:lnTo>
                  <a:lnTo>
                    <a:pt x="78" y="361"/>
                  </a:lnTo>
                  <a:lnTo>
                    <a:pt x="68" y="361"/>
                  </a:lnTo>
                  <a:lnTo>
                    <a:pt x="68" y="351"/>
                  </a:lnTo>
                  <a:lnTo>
                    <a:pt x="68" y="342"/>
                  </a:lnTo>
                  <a:lnTo>
                    <a:pt x="59" y="342"/>
                  </a:lnTo>
                  <a:lnTo>
                    <a:pt x="49" y="332"/>
                  </a:lnTo>
                  <a:lnTo>
                    <a:pt x="49" y="322"/>
                  </a:lnTo>
                  <a:lnTo>
                    <a:pt x="68" y="312"/>
                  </a:lnTo>
                  <a:lnTo>
                    <a:pt x="78" y="303"/>
                  </a:lnTo>
                  <a:lnTo>
                    <a:pt x="78" y="312"/>
                  </a:lnTo>
                  <a:lnTo>
                    <a:pt x="88" y="322"/>
                  </a:lnTo>
                  <a:lnTo>
                    <a:pt x="98" y="322"/>
                  </a:lnTo>
                  <a:lnTo>
                    <a:pt x="98" y="303"/>
                  </a:lnTo>
                  <a:lnTo>
                    <a:pt x="107" y="303"/>
                  </a:lnTo>
                  <a:lnTo>
                    <a:pt x="117" y="293"/>
                  </a:lnTo>
                  <a:lnTo>
                    <a:pt x="127" y="283"/>
                  </a:lnTo>
                  <a:lnTo>
                    <a:pt x="146" y="273"/>
                  </a:lnTo>
                  <a:lnTo>
                    <a:pt x="146" y="264"/>
                  </a:lnTo>
                  <a:lnTo>
                    <a:pt x="146" y="254"/>
                  </a:lnTo>
                  <a:lnTo>
                    <a:pt x="127" y="225"/>
                  </a:lnTo>
                  <a:lnTo>
                    <a:pt x="117" y="225"/>
                  </a:lnTo>
                  <a:lnTo>
                    <a:pt x="98" y="205"/>
                  </a:lnTo>
                  <a:lnTo>
                    <a:pt x="98" y="195"/>
                  </a:lnTo>
                  <a:lnTo>
                    <a:pt x="88" y="186"/>
                  </a:lnTo>
                  <a:lnTo>
                    <a:pt x="98" y="176"/>
                  </a:lnTo>
                  <a:lnTo>
                    <a:pt x="98" y="186"/>
                  </a:lnTo>
                  <a:lnTo>
                    <a:pt x="117" y="205"/>
                  </a:lnTo>
                  <a:lnTo>
                    <a:pt x="127" y="215"/>
                  </a:lnTo>
                  <a:lnTo>
                    <a:pt x="137" y="225"/>
                  </a:lnTo>
                  <a:lnTo>
                    <a:pt x="156" y="225"/>
                  </a:lnTo>
                  <a:lnTo>
                    <a:pt x="166" y="234"/>
                  </a:lnTo>
                  <a:lnTo>
                    <a:pt x="166" y="244"/>
                  </a:lnTo>
                  <a:lnTo>
                    <a:pt x="185" y="273"/>
                  </a:lnTo>
                  <a:lnTo>
                    <a:pt x="176" y="293"/>
                  </a:lnTo>
                  <a:lnTo>
                    <a:pt x="176" y="303"/>
                  </a:lnTo>
                  <a:lnTo>
                    <a:pt x="176" y="322"/>
                  </a:lnTo>
                  <a:lnTo>
                    <a:pt x="156" y="342"/>
                  </a:lnTo>
                  <a:lnTo>
                    <a:pt x="146" y="351"/>
                  </a:lnTo>
                  <a:lnTo>
                    <a:pt x="137" y="351"/>
                  </a:lnTo>
                  <a:lnTo>
                    <a:pt x="127" y="381"/>
                  </a:lnTo>
                  <a:lnTo>
                    <a:pt x="146" y="400"/>
                  </a:lnTo>
                  <a:lnTo>
                    <a:pt x="137" y="420"/>
                  </a:lnTo>
                  <a:lnTo>
                    <a:pt x="146" y="430"/>
                  </a:lnTo>
                  <a:lnTo>
                    <a:pt x="166" y="420"/>
                  </a:lnTo>
                  <a:lnTo>
                    <a:pt x="185" y="420"/>
                  </a:lnTo>
                  <a:lnTo>
                    <a:pt x="185" y="400"/>
                  </a:lnTo>
                  <a:lnTo>
                    <a:pt x="215" y="40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0" name="Freeform 153"/>
            <p:cNvSpPr>
              <a:spLocks/>
            </p:cNvSpPr>
            <p:nvPr/>
          </p:nvSpPr>
          <p:spPr bwMode="auto">
            <a:xfrm>
              <a:off x="896" y="2729"/>
              <a:ext cx="314" cy="430"/>
            </a:xfrm>
            <a:custGeom>
              <a:avLst/>
              <a:gdLst/>
              <a:ahLst/>
              <a:cxnLst>
                <a:cxn ang="0">
                  <a:pos x="39" y="273"/>
                </a:cxn>
                <a:cxn ang="0">
                  <a:pos x="39" y="293"/>
                </a:cxn>
                <a:cxn ang="0">
                  <a:pos x="69" y="312"/>
                </a:cxn>
                <a:cxn ang="0">
                  <a:pos x="98" y="322"/>
                </a:cxn>
                <a:cxn ang="0">
                  <a:pos x="117" y="341"/>
                </a:cxn>
                <a:cxn ang="0">
                  <a:pos x="117" y="361"/>
                </a:cxn>
                <a:cxn ang="0">
                  <a:pos x="127" y="390"/>
                </a:cxn>
                <a:cxn ang="0">
                  <a:pos x="166" y="390"/>
                </a:cxn>
                <a:cxn ang="0">
                  <a:pos x="166" y="419"/>
                </a:cxn>
                <a:cxn ang="0">
                  <a:pos x="195" y="419"/>
                </a:cxn>
                <a:cxn ang="0">
                  <a:pos x="215" y="410"/>
                </a:cxn>
                <a:cxn ang="0">
                  <a:pos x="186" y="380"/>
                </a:cxn>
                <a:cxn ang="0">
                  <a:pos x="215" y="390"/>
                </a:cxn>
                <a:cxn ang="0">
                  <a:pos x="225" y="371"/>
                </a:cxn>
                <a:cxn ang="0">
                  <a:pos x="234" y="351"/>
                </a:cxn>
                <a:cxn ang="0">
                  <a:pos x="273" y="371"/>
                </a:cxn>
                <a:cxn ang="0">
                  <a:pos x="293" y="351"/>
                </a:cxn>
                <a:cxn ang="0">
                  <a:pos x="313" y="322"/>
                </a:cxn>
                <a:cxn ang="0">
                  <a:pos x="264" y="234"/>
                </a:cxn>
                <a:cxn ang="0">
                  <a:pos x="273" y="195"/>
                </a:cxn>
                <a:cxn ang="0">
                  <a:pos x="264" y="156"/>
                </a:cxn>
                <a:cxn ang="0">
                  <a:pos x="254" y="127"/>
                </a:cxn>
                <a:cxn ang="0">
                  <a:pos x="244" y="97"/>
                </a:cxn>
                <a:cxn ang="0">
                  <a:pos x="205" y="88"/>
                </a:cxn>
                <a:cxn ang="0">
                  <a:pos x="205" y="78"/>
                </a:cxn>
                <a:cxn ang="0">
                  <a:pos x="186" y="68"/>
                </a:cxn>
                <a:cxn ang="0">
                  <a:pos x="166" y="58"/>
                </a:cxn>
                <a:cxn ang="0">
                  <a:pos x="127" y="0"/>
                </a:cxn>
                <a:cxn ang="0">
                  <a:pos x="98" y="19"/>
                </a:cxn>
                <a:cxn ang="0">
                  <a:pos x="78" y="10"/>
                </a:cxn>
                <a:cxn ang="0">
                  <a:pos x="59" y="29"/>
                </a:cxn>
                <a:cxn ang="0">
                  <a:pos x="59" y="49"/>
                </a:cxn>
                <a:cxn ang="0">
                  <a:pos x="59" y="68"/>
                </a:cxn>
                <a:cxn ang="0">
                  <a:pos x="59" y="107"/>
                </a:cxn>
                <a:cxn ang="0">
                  <a:pos x="30" y="107"/>
                </a:cxn>
                <a:cxn ang="0">
                  <a:pos x="20" y="146"/>
                </a:cxn>
                <a:cxn ang="0">
                  <a:pos x="30" y="185"/>
                </a:cxn>
                <a:cxn ang="0">
                  <a:pos x="49" y="195"/>
                </a:cxn>
                <a:cxn ang="0">
                  <a:pos x="30" y="215"/>
                </a:cxn>
                <a:cxn ang="0">
                  <a:pos x="0" y="215"/>
                </a:cxn>
                <a:cxn ang="0">
                  <a:pos x="20" y="234"/>
                </a:cxn>
                <a:cxn ang="0">
                  <a:pos x="20" y="263"/>
                </a:cxn>
              </a:cxnLst>
              <a:rect l="0" t="0" r="r" b="b"/>
              <a:pathLst>
                <a:path w="313" h="429">
                  <a:moveTo>
                    <a:pt x="20" y="263"/>
                  </a:moveTo>
                  <a:lnTo>
                    <a:pt x="39" y="273"/>
                  </a:lnTo>
                  <a:lnTo>
                    <a:pt x="49" y="283"/>
                  </a:lnTo>
                  <a:lnTo>
                    <a:pt x="39" y="293"/>
                  </a:lnTo>
                  <a:lnTo>
                    <a:pt x="59" y="302"/>
                  </a:lnTo>
                  <a:lnTo>
                    <a:pt x="69" y="312"/>
                  </a:lnTo>
                  <a:lnTo>
                    <a:pt x="69" y="322"/>
                  </a:lnTo>
                  <a:lnTo>
                    <a:pt x="98" y="322"/>
                  </a:lnTo>
                  <a:lnTo>
                    <a:pt x="98" y="332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37" y="371"/>
                  </a:lnTo>
                  <a:lnTo>
                    <a:pt x="127" y="390"/>
                  </a:lnTo>
                  <a:lnTo>
                    <a:pt x="137" y="410"/>
                  </a:lnTo>
                  <a:lnTo>
                    <a:pt x="166" y="390"/>
                  </a:lnTo>
                  <a:lnTo>
                    <a:pt x="176" y="410"/>
                  </a:lnTo>
                  <a:lnTo>
                    <a:pt x="166" y="419"/>
                  </a:lnTo>
                  <a:lnTo>
                    <a:pt x="176" y="429"/>
                  </a:lnTo>
                  <a:lnTo>
                    <a:pt x="195" y="419"/>
                  </a:lnTo>
                  <a:lnTo>
                    <a:pt x="205" y="429"/>
                  </a:lnTo>
                  <a:lnTo>
                    <a:pt x="215" y="410"/>
                  </a:lnTo>
                  <a:lnTo>
                    <a:pt x="195" y="400"/>
                  </a:lnTo>
                  <a:lnTo>
                    <a:pt x="186" y="380"/>
                  </a:lnTo>
                  <a:lnTo>
                    <a:pt x="205" y="380"/>
                  </a:lnTo>
                  <a:lnTo>
                    <a:pt x="215" y="390"/>
                  </a:lnTo>
                  <a:lnTo>
                    <a:pt x="225" y="371"/>
                  </a:lnTo>
                  <a:lnTo>
                    <a:pt x="225" y="351"/>
                  </a:lnTo>
                  <a:lnTo>
                    <a:pt x="234" y="351"/>
                  </a:lnTo>
                  <a:lnTo>
                    <a:pt x="254" y="371"/>
                  </a:lnTo>
                  <a:lnTo>
                    <a:pt x="273" y="371"/>
                  </a:lnTo>
                  <a:lnTo>
                    <a:pt x="283" y="361"/>
                  </a:lnTo>
                  <a:lnTo>
                    <a:pt x="293" y="351"/>
                  </a:lnTo>
                  <a:lnTo>
                    <a:pt x="313" y="332"/>
                  </a:lnTo>
                  <a:lnTo>
                    <a:pt x="313" y="322"/>
                  </a:lnTo>
                  <a:lnTo>
                    <a:pt x="293" y="293"/>
                  </a:lnTo>
                  <a:lnTo>
                    <a:pt x="264" y="234"/>
                  </a:lnTo>
                  <a:lnTo>
                    <a:pt x="264" y="215"/>
                  </a:lnTo>
                  <a:lnTo>
                    <a:pt x="273" y="195"/>
                  </a:lnTo>
                  <a:lnTo>
                    <a:pt x="273" y="176"/>
                  </a:lnTo>
                  <a:lnTo>
                    <a:pt x="264" y="156"/>
                  </a:lnTo>
                  <a:lnTo>
                    <a:pt x="254" y="146"/>
                  </a:lnTo>
                  <a:lnTo>
                    <a:pt x="254" y="127"/>
                  </a:lnTo>
                  <a:lnTo>
                    <a:pt x="254" y="117"/>
                  </a:lnTo>
                  <a:lnTo>
                    <a:pt x="244" y="97"/>
                  </a:lnTo>
                  <a:lnTo>
                    <a:pt x="225" y="97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205" y="78"/>
                  </a:lnTo>
                  <a:lnTo>
                    <a:pt x="195" y="68"/>
                  </a:lnTo>
                  <a:lnTo>
                    <a:pt x="186" y="68"/>
                  </a:lnTo>
                  <a:lnTo>
                    <a:pt x="176" y="78"/>
                  </a:lnTo>
                  <a:lnTo>
                    <a:pt x="166" y="58"/>
                  </a:lnTo>
                  <a:lnTo>
                    <a:pt x="156" y="39"/>
                  </a:lnTo>
                  <a:lnTo>
                    <a:pt x="127" y="0"/>
                  </a:lnTo>
                  <a:lnTo>
                    <a:pt x="117" y="10"/>
                  </a:lnTo>
                  <a:lnTo>
                    <a:pt x="98" y="19"/>
                  </a:lnTo>
                  <a:lnTo>
                    <a:pt x="98" y="0"/>
                  </a:lnTo>
                  <a:lnTo>
                    <a:pt x="78" y="10"/>
                  </a:lnTo>
                  <a:lnTo>
                    <a:pt x="69" y="29"/>
                  </a:lnTo>
                  <a:lnTo>
                    <a:pt x="59" y="29"/>
                  </a:lnTo>
                  <a:lnTo>
                    <a:pt x="59" y="49"/>
                  </a:lnTo>
                  <a:lnTo>
                    <a:pt x="69" y="58"/>
                  </a:lnTo>
                  <a:lnTo>
                    <a:pt x="59" y="68"/>
                  </a:lnTo>
                  <a:lnTo>
                    <a:pt x="49" y="97"/>
                  </a:lnTo>
                  <a:lnTo>
                    <a:pt x="59" y="107"/>
                  </a:lnTo>
                  <a:lnTo>
                    <a:pt x="39" y="12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20" y="146"/>
                  </a:lnTo>
                  <a:lnTo>
                    <a:pt x="20" y="166"/>
                  </a:lnTo>
                  <a:lnTo>
                    <a:pt x="30" y="185"/>
                  </a:lnTo>
                  <a:lnTo>
                    <a:pt x="39" y="185"/>
                  </a:lnTo>
                  <a:lnTo>
                    <a:pt x="49" y="19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10" y="215"/>
                  </a:lnTo>
                  <a:lnTo>
                    <a:pt x="0" y="215"/>
                  </a:lnTo>
                  <a:lnTo>
                    <a:pt x="10" y="224"/>
                  </a:lnTo>
                  <a:lnTo>
                    <a:pt x="20" y="234"/>
                  </a:lnTo>
                  <a:lnTo>
                    <a:pt x="20" y="254"/>
                  </a:lnTo>
                  <a:lnTo>
                    <a:pt x="20" y="263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1" name="Freeform 152"/>
            <p:cNvSpPr>
              <a:spLocks/>
            </p:cNvSpPr>
            <p:nvPr/>
          </p:nvSpPr>
          <p:spPr bwMode="auto">
            <a:xfrm>
              <a:off x="1053" y="2753"/>
              <a:ext cx="430" cy="430"/>
            </a:xfrm>
            <a:custGeom>
              <a:avLst/>
              <a:gdLst/>
              <a:ahLst/>
              <a:cxnLst>
                <a:cxn ang="0">
                  <a:pos x="157" y="313"/>
                </a:cxn>
                <a:cxn ang="0">
                  <a:pos x="137" y="274"/>
                </a:cxn>
                <a:cxn ang="0">
                  <a:pos x="108" y="196"/>
                </a:cxn>
                <a:cxn ang="0">
                  <a:pos x="117" y="157"/>
                </a:cxn>
                <a:cxn ang="0">
                  <a:pos x="98" y="137"/>
                </a:cxn>
                <a:cxn ang="0">
                  <a:pos x="98" y="98"/>
                </a:cxn>
                <a:cxn ang="0">
                  <a:pos x="69" y="78"/>
                </a:cxn>
                <a:cxn ang="0">
                  <a:pos x="39" y="69"/>
                </a:cxn>
                <a:cxn ang="0">
                  <a:pos x="39" y="49"/>
                </a:cxn>
                <a:cxn ang="0">
                  <a:pos x="20" y="59"/>
                </a:cxn>
                <a:cxn ang="0">
                  <a:pos x="0" y="30"/>
                </a:cxn>
                <a:cxn ang="0">
                  <a:pos x="30" y="10"/>
                </a:cxn>
                <a:cxn ang="0">
                  <a:pos x="69" y="30"/>
                </a:cxn>
                <a:cxn ang="0">
                  <a:pos x="78" y="0"/>
                </a:cxn>
                <a:cxn ang="0">
                  <a:pos x="88" y="39"/>
                </a:cxn>
                <a:cxn ang="0">
                  <a:pos x="108" y="69"/>
                </a:cxn>
                <a:cxn ang="0">
                  <a:pos x="117" y="117"/>
                </a:cxn>
                <a:cxn ang="0">
                  <a:pos x="157" y="137"/>
                </a:cxn>
                <a:cxn ang="0">
                  <a:pos x="186" y="117"/>
                </a:cxn>
                <a:cxn ang="0">
                  <a:pos x="196" y="98"/>
                </a:cxn>
                <a:cxn ang="0">
                  <a:pos x="235" y="98"/>
                </a:cxn>
                <a:cxn ang="0">
                  <a:pos x="283" y="69"/>
                </a:cxn>
                <a:cxn ang="0">
                  <a:pos x="264" y="49"/>
                </a:cxn>
                <a:cxn ang="0">
                  <a:pos x="235" y="49"/>
                </a:cxn>
                <a:cxn ang="0">
                  <a:pos x="264" y="30"/>
                </a:cxn>
                <a:cxn ang="0">
                  <a:pos x="283" y="20"/>
                </a:cxn>
                <a:cxn ang="0">
                  <a:pos x="313" y="39"/>
                </a:cxn>
                <a:cxn ang="0">
                  <a:pos x="322" y="10"/>
                </a:cxn>
                <a:cxn ang="0">
                  <a:pos x="342" y="30"/>
                </a:cxn>
                <a:cxn ang="0">
                  <a:pos x="371" y="39"/>
                </a:cxn>
                <a:cxn ang="0">
                  <a:pos x="391" y="78"/>
                </a:cxn>
                <a:cxn ang="0">
                  <a:pos x="391" y="98"/>
                </a:cxn>
                <a:cxn ang="0">
                  <a:pos x="381" y="147"/>
                </a:cxn>
                <a:cxn ang="0">
                  <a:pos x="391" y="176"/>
                </a:cxn>
                <a:cxn ang="0">
                  <a:pos x="430" y="196"/>
                </a:cxn>
                <a:cxn ang="0">
                  <a:pos x="430" y="205"/>
                </a:cxn>
                <a:cxn ang="0">
                  <a:pos x="391" y="196"/>
                </a:cxn>
                <a:cxn ang="0">
                  <a:pos x="371" y="244"/>
                </a:cxn>
                <a:cxn ang="0">
                  <a:pos x="381" y="283"/>
                </a:cxn>
                <a:cxn ang="0">
                  <a:pos x="342" y="283"/>
                </a:cxn>
                <a:cxn ang="0">
                  <a:pos x="322" y="283"/>
                </a:cxn>
                <a:cxn ang="0">
                  <a:pos x="313" y="293"/>
                </a:cxn>
                <a:cxn ang="0">
                  <a:pos x="313" y="332"/>
                </a:cxn>
                <a:cxn ang="0">
                  <a:pos x="274" y="352"/>
                </a:cxn>
                <a:cxn ang="0">
                  <a:pos x="293" y="381"/>
                </a:cxn>
                <a:cxn ang="0">
                  <a:pos x="283" y="410"/>
                </a:cxn>
                <a:cxn ang="0">
                  <a:pos x="254" y="420"/>
                </a:cxn>
                <a:cxn ang="0">
                  <a:pos x="215" y="430"/>
                </a:cxn>
                <a:cxn ang="0">
                  <a:pos x="196" y="420"/>
                </a:cxn>
                <a:cxn ang="0">
                  <a:pos x="205" y="410"/>
                </a:cxn>
                <a:cxn ang="0">
                  <a:pos x="186" y="400"/>
                </a:cxn>
                <a:cxn ang="0">
                  <a:pos x="137" y="332"/>
                </a:cxn>
              </a:cxnLst>
              <a:rect l="0" t="0" r="r" b="b"/>
              <a:pathLst>
                <a:path w="430" h="430">
                  <a:moveTo>
                    <a:pt x="137" y="332"/>
                  </a:moveTo>
                  <a:lnTo>
                    <a:pt x="157" y="313"/>
                  </a:lnTo>
                  <a:lnTo>
                    <a:pt x="157" y="303"/>
                  </a:lnTo>
                  <a:lnTo>
                    <a:pt x="137" y="274"/>
                  </a:lnTo>
                  <a:lnTo>
                    <a:pt x="117" y="225"/>
                  </a:lnTo>
                  <a:lnTo>
                    <a:pt x="108" y="196"/>
                  </a:lnTo>
                  <a:lnTo>
                    <a:pt x="117" y="176"/>
                  </a:lnTo>
                  <a:lnTo>
                    <a:pt x="117" y="157"/>
                  </a:lnTo>
                  <a:lnTo>
                    <a:pt x="117" y="147"/>
                  </a:lnTo>
                  <a:lnTo>
                    <a:pt x="98" y="137"/>
                  </a:lnTo>
                  <a:lnTo>
                    <a:pt x="98" y="117"/>
                  </a:lnTo>
                  <a:lnTo>
                    <a:pt x="98" y="98"/>
                  </a:lnTo>
                  <a:lnTo>
                    <a:pt x="88" y="78"/>
                  </a:lnTo>
                  <a:lnTo>
                    <a:pt x="69" y="78"/>
                  </a:lnTo>
                  <a:lnTo>
                    <a:pt x="49" y="78"/>
                  </a:lnTo>
                  <a:lnTo>
                    <a:pt x="39" y="69"/>
                  </a:lnTo>
                  <a:lnTo>
                    <a:pt x="49" y="59"/>
                  </a:lnTo>
                  <a:lnTo>
                    <a:pt x="39" y="49"/>
                  </a:lnTo>
                  <a:lnTo>
                    <a:pt x="30" y="59"/>
                  </a:lnTo>
                  <a:lnTo>
                    <a:pt x="20" y="59"/>
                  </a:lnTo>
                  <a:lnTo>
                    <a:pt x="10" y="39"/>
                  </a:lnTo>
                  <a:lnTo>
                    <a:pt x="0" y="30"/>
                  </a:lnTo>
                  <a:lnTo>
                    <a:pt x="20" y="10"/>
                  </a:lnTo>
                  <a:lnTo>
                    <a:pt x="30" y="10"/>
                  </a:lnTo>
                  <a:lnTo>
                    <a:pt x="59" y="20"/>
                  </a:lnTo>
                  <a:lnTo>
                    <a:pt x="69" y="3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88" y="30"/>
                  </a:lnTo>
                  <a:lnTo>
                    <a:pt x="88" y="39"/>
                  </a:lnTo>
                  <a:lnTo>
                    <a:pt x="108" y="49"/>
                  </a:lnTo>
                  <a:lnTo>
                    <a:pt x="108" y="69"/>
                  </a:lnTo>
                  <a:lnTo>
                    <a:pt x="117" y="98"/>
                  </a:lnTo>
                  <a:lnTo>
                    <a:pt x="117" y="117"/>
                  </a:lnTo>
                  <a:lnTo>
                    <a:pt x="157" y="117"/>
                  </a:lnTo>
                  <a:lnTo>
                    <a:pt x="157" y="137"/>
                  </a:lnTo>
                  <a:lnTo>
                    <a:pt x="166" y="137"/>
                  </a:lnTo>
                  <a:lnTo>
                    <a:pt x="186" y="117"/>
                  </a:lnTo>
                  <a:lnTo>
                    <a:pt x="176" y="108"/>
                  </a:lnTo>
                  <a:lnTo>
                    <a:pt x="196" y="98"/>
                  </a:lnTo>
                  <a:lnTo>
                    <a:pt x="215" y="108"/>
                  </a:lnTo>
                  <a:lnTo>
                    <a:pt x="235" y="98"/>
                  </a:lnTo>
                  <a:lnTo>
                    <a:pt x="264" y="88"/>
                  </a:lnTo>
                  <a:lnTo>
                    <a:pt x="283" y="69"/>
                  </a:lnTo>
                  <a:lnTo>
                    <a:pt x="274" y="59"/>
                  </a:lnTo>
                  <a:lnTo>
                    <a:pt x="264" y="49"/>
                  </a:lnTo>
                  <a:lnTo>
                    <a:pt x="244" y="59"/>
                  </a:lnTo>
                  <a:lnTo>
                    <a:pt x="235" y="49"/>
                  </a:lnTo>
                  <a:lnTo>
                    <a:pt x="244" y="39"/>
                  </a:lnTo>
                  <a:lnTo>
                    <a:pt x="264" y="30"/>
                  </a:lnTo>
                  <a:lnTo>
                    <a:pt x="264" y="10"/>
                  </a:lnTo>
                  <a:lnTo>
                    <a:pt x="283" y="20"/>
                  </a:lnTo>
                  <a:lnTo>
                    <a:pt x="303" y="30"/>
                  </a:lnTo>
                  <a:lnTo>
                    <a:pt x="313" y="39"/>
                  </a:lnTo>
                  <a:lnTo>
                    <a:pt x="322" y="30"/>
                  </a:lnTo>
                  <a:lnTo>
                    <a:pt x="322" y="10"/>
                  </a:lnTo>
                  <a:lnTo>
                    <a:pt x="342" y="10"/>
                  </a:lnTo>
                  <a:lnTo>
                    <a:pt x="342" y="30"/>
                  </a:lnTo>
                  <a:lnTo>
                    <a:pt x="352" y="39"/>
                  </a:lnTo>
                  <a:lnTo>
                    <a:pt x="371" y="39"/>
                  </a:lnTo>
                  <a:lnTo>
                    <a:pt x="371" y="59"/>
                  </a:lnTo>
                  <a:lnTo>
                    <a:pt x="391" y="78"/>
                  </a:lnTo>
                  <a:lnTo>
                    <a:pt x="381" y="88"/>
                  </a:lnTo>
                  <a:lnTo>
                    <a:pt x="391" y="98"/>
                  </a:lnTo>
                  <a:lnTo>
                    <a:pt x="381" y="117"/>
                  </a:lnTo>
                  <a:lnTo>
                    <a:pt x="381" y="147"/>
                  </a:lnTo>
                  <a:lnTo>
                    <a:pt x="381" y="166"/>
                  </a:lnTo>
                  <a:lnTo>
                    <a:pt x="391" y="176"/>
                  </a:lnTo>
                  <a:lnTo>
                    <a:pt x="410" y="176"/>
                  </a:lnTo>
                  <a:lnTo>
                    <a:pt x="430" y="196"/>
                  </a:lnTo>
                  <a:lnTo>
                    <a:pt x="430" y="205"/>
                  </a:lnTo>
                  <a:lnTo>
                    <a:pt x="410" y="196"/>
                  </a:lnTo>
                  <a:lnTo>
                    <a:pt x="391" y="196"/>
                  </a:lnTo>
                  <a:lnTo>
                    <a:pt x="381" y="225"/>
                  </a:lnTo>
                  <a:lnTo>
                    <a:pt x="371" y="244"/>
                  </a:lnTo>
                  <a:lnTo>
                    <a:pt x="371" y="264"/>
                  </a:lnTo>
                  <a:lnTo>
                    <a:pt x="381" y="283"/>
                  </a:lnTo>
                  <a:lnTo>
                    <a:pt x="361" y="283"/>
                  </a:lnTo>
                  <a:lnTo>
                    <a:pt x="342" y="283"/>
                  </a:lnTo>
                  <a:lnTo>
                    <a:pt x="332" y="293"/>
                  </a:lnTo>
                  <a:lnTo>
                    <a:pt x="322" y="283"/>
                  </a:lnTo>
                  <a:lnTo>
                    <a:pt x="303" y="283"/>
                  </a:lnTo>
                  <a:lnTo>
                    <a:pt x="313" y="293"/>
                  </a:lnTo>
                  <a:lnTo>
                    <a:pt x="303" y="313"/>
                  </a:lnTo>
                  <a:lnTo>
                    <a:pt x="313" y="332"/>
                  </a:lnTo>
                  <a:lnTo>
                    <a:pt x="293" y="342"/>
                  </a:lnTo>
                  <a:lnTo>
                    <a:pt x="274" y="352"/>
                  </a:lnTo>
                  <a:lnTo>
                    <a:pt x="274" y="371"/>
                  </a:lnTo>
                  <a:lnTo>
                    <a:pt x="293" y="381"/>
                  </a:lnTo>
                  <a:lnTo>
                    <a:pt x="293" y="400"/>
                  </a:lnTo>
                  <a:lnTo>
                    <a:pt x="283" y="410"/>
                  </a:lnTo>
                  <a:lnTo>
                    <a:pt x="274" y="420"/>
                  </a:lnTo>
                  <a:lnTo>
                    <a:pt x="254" y="420"/>
                  </a:lnTo>
                  <a:lnTo>
                    <a:pt x="235" y="430"/>
                  </a:lnTo>
                  <a:lnTo>
                    <a:pt x="215" y="430"/>
                  </a:lnTo>
                  <a:lnTo>
                    <a:pt x="215" y="420"/>
                  </a:lnTo>
                  <a:lnTo>
                    <a:pt x="196" y="420"/>
                  </a:lnTo>
                  <a:lnTo>
                    <a:pt x="205" y="410"/>
                  </a:lnTo>
                  <a:lnTo>
                    <a:pt x="196" y="391"/>
                  </a:lnTo>
                  <a:lnTo>
                    <a:pt x="186" y="400"/>
                  </a:lnTo>
                  <a:lnTo>
                    <a:pt x="166" y="352"/>
                  </a:lnTo>
                  <a:lnTo>
                    <a:pt x="137" y="33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Freeform 151"/>
            <p:cNvSpPr>
              <a:spLocks/>
            </p:cNvSpPr>
            <p:nvPr/>
          </p:nvSpPr>
          <p:spPr bwMode="auto">
            <a:xfrm>
              <a:off x="1329" y="2783"/>
              <a:ext cx="242" cy="407"/>
            </a:xfrm>
            <a:custGeom>
              <a:avLst/>
              <a:gdLst>
                <a:gd name="T0" fmla="*/ 39 w 243"/>
                <a:gd name="T1" fmla="*/ 351 h 409"/>
                <a:gd name="T2" fmla="*/ 48 w 243"/>
                <a:gd name="T3" fmla="*/ 361 h 409"/>
                <a:gd name="T4" fmla="*/ 68 w 243"/>
                <a:gd name="T5" fmla="*/ 370 h 409"/>
                <a:gd name="T6" fmla="*/ 87 w 243"/>
                <a:gd name="T7" fmla="*/ 390 h 409"/>
                <a:gd name="T8" fmla="*/ 117 w 243"/>
                <a:gd name="T9" fmla="*/ 390 h 409"/>
                <a:gd name="T10" fmla="*/ 136 w 243"/>
                <a:gd name="T11" fmla="*/ 400 h 409"/>
                <a:gd name="T12" fmla="*/ 146 w 243"/>
                <a:gd name="T13" fmla="*/ 400 h 409"/>
                <a:gd name="T14" fmla="*/ 185 w 243"/>
                <a:gd name="T15" fmla="*/ 400 h 409"/>
                <a:gd name="T16" fmla="*/ 195 w 243"/>
                <a:gd name="T17" fmla="*/ 380 h 409"/>
                <a:gd name="T18" fmla="*/ 165 w 243"/>
                <a:gd name="T19" fmla="*/ 351 h 409"/>
                <a:gd name="T20" fmla="*/ 175 w 243"/>
                <a:gd name="T21" fmla="*/ 331 h 409"/>
                <a:gd name="T22" fmla="*/ 185 w 243"/>
                <a:gd name="T23" fmla="*/ 341 h 409"/>
                <a:gd name="T24" fmla="*/ 204 w 243"/>
                <a:gd name="T25" fmla="*/ 351 h 409"/>
                <a:gd name="T26" fmla="*/ 224 w 243"/>
                <a:gd name="T27" fmla="*/ 322 h 409"/>
                <a:gd name="T28" fmla="*/ 234 w 243"/>
                <a:gd name="T29" fmla="*/ 253 h 409"/>
                <a:gd name="T30" fmla="*/ 234 w 243"/>
                <a:gd name="T31" fmla="*/ 224 h 409"/>
                <a:gd name="T32" fmla="*/ 214 w 243"/>
                <a:gd name="T33" fmla="*/ 185 h 409"/>
                <a:gd name="T34" fmla="*/ 195 w 243"/>
                <a:gd name="T35" fmla="*/ 185 h 409"/>
                <a:gd name="T36" fmla="*/ 195 w 243"/>
                <a:gd name="T37" fmla="*/ 166 h 409"/>
                <a:gd name="T38" fmla="*/ 214 w 243"/>
                <a:gd name="T39" fmla="*/ 146 h 409"/>
                <a:gd name="T40" fmla="*/ 224 w 243"/>
                <a:gd name="T41" fmla="*/ 117 h 409"/>
                <a:gd name="T42" fmla="*/ 214 w 243"/>
                <a:gd name="T43" fmla="*/ 78 h 409"/>
                <a:gd name="T44" fmla="*/ 234 w 243"/>
                <a:gd name="T45" fmla="*/ 68 h 409"/>
                <a:gd name="T46" fmla="*/ 234 w 243"/>
                <a:gd name="T47" fmla="*/ 48 h 409"/>
                <a:gd name="T48" fmla="*/ 185 w 243"/>
                <a:gd name="T49" fmla="*/ 29 h 409"/>
                <a:gd name="T50" fmla="*/ 146 w 243"/>
                <a:gd name="T51" fmla="*/ 9 h 409"/>
                <a:gd name="T52" fmla="*/ 136 w 243"/>
                <a:gd name="T53" fmla="*/ 9 h 409"/>
                <a:gd name="T54" fmla="*/ 117 w 243"/>
                <a:gd name="T55" fmla="*/ 0 h 409"/>
                <a:gd name="T56" fmla="*/ 107 w 243"/>
                <a:gd name="T57" fmla="*/ 58 h 409"/>
                <a:gd name="T58" fmla="*/ 107 w 243"/>
                <a:gd name="T59" fmla="*/ 87 h 409"/>
                <a:gd name="T60" fmla="*/ 107 w 243"/>
                <a:gd name="T61" fmla="*/ 136 h 409"/>
                <a:gd name="T62" fmla="*/ 136 w 243"/>
                <a:gd name="T63" fmla="*/ 146 h 409"/>
                <a:gd name="T64" fmla="*/ 156 w 243"/>
                <a:gd name="T65" fmla="*/ 175 h 409"/>
                <a:gd name="T66" fmla="*/ 136 w 243"/>
                <a:gd name="T67" fmla="*/ 166 h 409"/>
                <a:gd name="T68" fmla="*/ 107 w 243"/>
                <a:gd name="T69" fmla="*/ 185 h 409"/>
                <a:gd name="T70" fmla="*/ 97 w 243"/>
                <a:gd name="T71" fmla="*/ 234 h 409"/>
                <a:gd name="T72" fmla="*/ 87 w 243"/>
                <a:gd name="T73" fmla="*/ 253 h 409"/>
                <a:gd name="T74" fmla="*/ 58 w 243"/>
                <a:gd name="T75" fmla="*/ 253 h 409"/>
                <a:gd name="T76" fmla="*/ 29 w 243"/>
                <a:gd name="T77" fmla="*/ 244 h 409"/>
                <a:gd name="T78" fmla="*/ 29 w 243"/>
                <a:gd name="T79" fmla="*/ 283 h 409"/>
                <a:gd name="T80" fmla="*/ 19 w 243"/>
                <a:gd name="T81" fmla="*/ 312 h 409"/>
                <a:gd name="T82" fmla="*/ 0 w 243"/>
                <a:gd name="T83" fmla="*/ 341 h 409"/>
                <a:gd name="T84" fmla="*/ 19 w 243"/>
                <a:gd name="T85" fmla="*/ 370 h 40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43"/>
                <a:gd name="T130" fmla="*/ 0 h 409"/>
                <a:gd name="T131" fmla="*/ 243 w 243"/>
                <a:gd name="T132" fmla="*/ 409 h 40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43" h="409">
                  <a:moveTo>
                    <a:pt x="29" y="351"/>
                  </a:moveTo>
                  <a:lnTo>
                    <a:pt x="39" y="351"/>
                  </a:lnTo>
                  <a:lnTo>
                    <a:pt x="39" y="370"/>
                  </a:lnTo>
                  <a:lnTo>
                    <a:pt x="48" y="361"/>
                  </a:lnTo>
                  <a:lnTo>
                    <a:pt x="48" y="380"/>
                  </a:lnTo>
                  <a:lnTo>
                    <a:pt x="68" y="370"/>
                  </a:lnTo>
                  <a:lnTo>
                    <a:pt x="68" y="380"/>
                  </a:lnTo>
                  <a:lnTo>
                    <a:pt x="87" y="390"/>
                  </a:lnTo>
                  <a:lnTo>
                    <a:pt x="97" y="390"/>
                  </a:lnTo>
                  <a:lnTo>
                    <a:pt x="117" y="390"/>
                  </a:lnTo>
                  <a:lnTo>
                    <a:pt x="126" y="409"/>
                  </a:lnTo>
                  <a:lnTo>
                    <a:pt x="136" y="400"/>
                  </a:lnTo>
                  <a:lnTo>
                    <a:pt x="136" y="390"/>
                  </a:lnTo>
                  <a:lnTo>
                    <a:pt x="146" y="400"/>
                  </a:lnTo>
                  <a:lnTo>
                    <a:pt x="165" y="400"/>
                  </a:lnTo>
                  <a:lnTo>
                    <a:pt x="185" y="400"/>
                  </a:lnTo>
                  <a:lnTo>
                    <a:pt x="195" y="390"/>
                  </a:lnTo>
                  <a:lnTo>
                    <a:pt x="195" y="380"/>
                  </a:lnTo>
                  <a:lnTo>
                    <a:pt x="185" y="370"/>
                  </a:lnTo>
                  <a:lnTo>
                    <a:pt x="165" y="351"/>
                  </a:lnTo>
                  <a:lnTo>
                    <a:pt x="165" y="341"/>
                  </a:lnTo>
                  <a:lnTo>
                    <a:pt x="175" y="331"/>
                  </a:lnTo>
                  <a:lnTo>
                    <a:pt x="185" y="331"/>
                  </a:lnTo>
                  <a:lnTo>
                    <a:pt x="185" y="341"/>
                  </a:lnTo>
                  <a:lnTo>
                    <a:pt x="195" y="351"/>
                  </a:lnTo>
                  <a:lnTo>
                    <a:pt x="204" y="351"/>
                  </a:lnTo>
                  <a:lnTo>
                    <a:pt x="214" y="341"/>
                  </a:lnTo>
                  <a:lnTo>
                    <a:pt x="224" y="322"/>
                  </a:lnTo>
                  <a:lnTo>
                    <a:pt x="224" y="292"/>
                  </a:lnTo>
                  <a:lnTo>
                    <a:pt x="234" y="253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14" y="205"/>
                  </a:lnTo>
                  <a:lnTo>
                    <a:pt x="214" y="185"/>
                  </a:lnTo>
                  <a:lnTo>
                    <a:pt x="204" y="185"/>
                  </a:lnTo>
                  <a:lnTo>
                    <a:pt x="195" y="185"/>
                  </a:lnTo>
                  <a:lnTo>
                    <a:pt x="195" y="175"/>
                  </a:lnTo>
                  <a:lnTo>
                    <a:pt x="195" y="166"/>
                  </a:lnTo>
                  <a:lnTo>
                    <a:pt x="204" y="156"/>
                  </a:lnTo>
                  <a:lnTo>
                    <a:pt x="214" y="146"/>
                  </a:lnTo>
                  <a:lnTo>
                    <a:pt x="22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14" y="78"/>
                  </a:lnTo>
                  <a:lnTo>
                    <a:pt x="224" y="78"/>
                  </a:lnTo>
                  <a:lnTo>
                    <a:pt x="234" y="68"/>
                  </a:lnTo>
                  <a:lnTo>
                    <a:pt x="243" y="58"/>
                  </a:lnTo>
                  <a:lnTo>
                    <a:pt x="234" y="48"/>
                  </a:lnTo>
                  <a:lnTo>
                    <a:pt x="204" y="29"/>
                  </a:lnTo>
                  <a:lnTo>
                    <a:pt x="185" y="29"/>
                  </a:lnTo>
                  <a:lnTo>
                    <a:pt x="165" y="9"/>
                  </a:lnTo>
                  <a:lnTo>
                    <a:pt x="146" y="9"/>
                  </a:lnTo>
                  <a:lnTo>
                    <a:pt x="136" y="9"/>
                  </a:lnTo>
                  <a:lnTo>
                    <a:pt x="126" y="0"/>
                  </a:lnTo>
                  <a:lnTo>
                    <a:pt x="117" y="0"/>
                  </a:lnTo>
                  <a:lnTo>
                    <a:pt x="117" y="39"/>
                  </a:lnTo>
                  <a:lnTo>
                    <a:pt x="107" y="58"/>
                  </a:lnTo>
                  <a:lnTo>
                    <a:pt x="117" y="68"/>
                  </a:lnTo>
                  <a:lnTo>
                    <a:pt x="107" y="87"/>
                  </a:lnTo>
                  <a:lnTo>
                    <a:pt x="107" y="107"/>
                  </a:lnTo>
                  <a:lnTo>
                    <a:pt x="107" y="136"/>
                  </a:lnTo>
                  <a:lnTo>
                    <a:pt x="117" y="146"/>
                  </a:lnTo>
                  <a:lnTo>
                    <a:pt x="136" y="146"/>
                  </a:lnTo>
                  <a:lnTo>
                    <a:pt x="156" y="166"/>
                  </a:lnTo>
                  <a:lnTo>
                    <a:pt x="156" y="175"/>
                  </a:lnTo>
                  <a:lnTo>
                    <a:pt x="146" y="175"/>
                  </a:lnTo>
                  <a:lnTo>
                    <a:pt x="136" y="166"/>
                  </a:lnTo>
                  <a:lnTo>
                    <a:pt x="117" y="166"/>
                  </a:lnTo>
                  <a:lnTo>
                    <a:pt x="107" y="185"/>
                  </a:lnTo>
                  <a:lnTo>
                    <a:pt x="97" y="214"/>
                  </a:lnTo>
                  <a:lnTo>
                    <a:pt x="97" y="234"/>
                  </a:lnTo>
                  <a:lnTo>
                    <a:pt x="97" y="244"/>
                  </a:lnTo>
                  <a:lnTo>
                    <a:pt x="87" y="253"/>
                  </a:lnTo>
                  <a:lnTo>
                    <a:pt x="68" y="244"/>
                  </a:lnTo>
                  <a:lnTo>
                    <a:pt x="58" y="253"/>
                  </a:lnTo>
                  <a:lnTo>
                    <a:pt x="48" y="244"/>
                  </a:lnTo>
                  <a:lnTo>
                    <a:pt x="29" y="244"/>
                  </a:lnTo>
                  <a:lnTo>
                    <a:pt x="39" y="263"/>
                  </a:lnTo>
                  <a:lnTo>
                    <a:pt x="29" y="283"/>
                  </a:lnTo>
                  <a:lnTo>
                    <a:pt x="39" y="292"/>
                  </a:lnTo>
                  <a:lnTo>
                    <a:pt x="19" y="312"/>
                  </a:lnTo>
                  <a:lnTo>
                    <a:pt x="0" y="322"/>
                  </a:lnTo>
                  <a:lnTo>
                    <a:pt x="0" y="341"/>
                  </a:lnTo>
                  <a:lnTo>
                    <a:pt x="19" y="351"/>
                  </a:lnTo>
                  <a:lnTo>
                    <a:pt x="19" y="370"/>
                  </a:lnTo>
                  <a:lnTo>
                    <a:pt x="29" y="35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93" name="Group 148"/>
            <p:cNvGrpSpPr>
              <a:grpSpLocks/>
            </p:cNvGrpSpPr>
            <p:nvPr/>
          </p:nvGrpSpPr>
          <p:grpSpPr bwMode="auto">
            <a:xfrm>
              <a:off x="1327" y="2781"/>
              <a:ext cx="243" cy="409"/>
              <a:chOff x="1327" y="2781"/>
              <a:chExt cx="243" cy="409"/>
            </a:xfrm>
          </p:grpSpPr>
          <p:sp>
            <p:nvSpPr>
              <p:cNvPr id="326" name="Freeform 150"/>
              <p:cNvSpPr>
                <a:spLocks/>
              </p:cNvSpPr>
              <p:nvPr/>
            </p:nvSpPr>
            <p:spPr bwMode="auto">
              <a:xfrm>
                <a:off x="1329" y="2781"/>
                <a:ext cx="242" cy="409"/>
              </a:xfrm>
              <a:custGeom>
                <a:avLst/>
                <a:gdLst>
                  <a:gd name="T0" fmla="*/ 39 w 243"/>
                  <a:gd name="T1" fmla="*/ 351 h 409"/>
                  <a:gd name="T2" fmla="*/ 48 w 243"/>
                  <a:gd name="T3" fmla="*/ 361 h 409"/>
                  <a:gd name="T4" fmla="*/ 68 w 243"/>
                  <a:gd name="T5" fmla="*/ 380 h 409"/>
                  <a:gd name="T6" fmla="*/ 87 w 243"/>
                  <a:gd name="T7" fmla="*/ 390 h 409"/>
                  <a:gd name="T8" fmla="*/ 117 w 243"/>
                  <a:gd name="T9" fmla="*/ 390 h 409"/>
                  <a:gd name="T10" fmla="*/ 136 w 243"/>
                  <a:gd name="T11" fmla="*/ 400 h 409"/>
                  <a:gd name="T12" fmla="*/ 146 w 243"/>
                  <a:gd name="T13" fmla="*/ 400 h 409"/>
                  <a:gd name="T14" fmla="*/ 185 w 243"/>
                  <a:gd name="T15" fmla="*/ 400 h 409"/>
                  <a:gd name="T16" fmla="*/ 195 w 243"/>
                  <a:gd name="T17" fmla="*/ 380 h 409"/>
                  <a:gd name="T18" fmla="*/ 165 w 243"/>
                  <a:gd name="T19" fmla="*/ 351 h 409"/>
                  <a:gd name="T20" fmla="*/ 175 w 243"/>
                  <a:gd name="T21" fmla="*/ 331 h 409"/>
                  <a:gd name="T22" fmla="*/ 185 w 243"/>
                  <a:gd name="T23" fmla="*/ 341 h 409"/>
                  <a:gd name="T24" fmla="*/ 204 w 243"/>
                  <a:gd name="T25" fmla="*/ 351 h 409"/>
                  <a:gd name="T26" fmla="*/ 224 w 243"/>
                  <a:gd name="T27" fmla="*/ 322 h 409"/>
                  <a:gd name="T28" fmla="*/ 234 w 243"/>
                  <a:gd name="T29" fmla="*/ 253 h 409"/>
                  <a:gd name="T30" fmla="*/ 234 w 243"/>
                  <a:gd name="T31" fmla="*/ 224 h 409"/>
                  <a:gd name="T32" fmla="*/ 214 w 243"/>
                  <a:gd name="T33" fmla="*/ 185 h 409"/>
                  <a:gd name="T34" fmla="*/ 195 w 243"/>
                  <a:gd name="T35" fmla="*/ 185 h 409"/>
                  <a:gd name="T36" fmla="*/ 195 w 243"/>
                  <a:gd name="T37" fmla="*/ 166 h 409"/>
                  <a:gd name="T38" fmla="*/ 214 w 243"/>
                  <a:gd name="T39" fmla="*/ 146 h 409"/>
                  <a:gd name="T40" fmla="*/ 224 w 243"/>
                  <a:gd name="T41" fmla="*/ 117 h 409"/>
                  <a:gd name="T42" fmla="*/ 214 w 243"/>
                  <a:gd name="T43" fmla="*/ 78 h 409"/>
                  <a:gd name="T44" fmla="*/ 243 w 243"/>
                  <a:gd name="T45" fmla="*/ 68 h 409"/>
                  <a:gd name="T46" fmla="*/ 234 w 243"/>
                  <a:gd name="T47" fmla="*/ 48 h 409"/>
                  <a:gd name="T48" fmla="*/ 185 w 243"/>
                  <a:gd name="T49" fmla="*/ 29 h 409"/>
                  <a:gd name="T50" fmla="*/ 146 w 243"/>
                  <a:gd name="T51" fmla="*/ 9 h 409"/>
                  <a:gd name="T52" fmla="*/ 136 w 243"/>
                  <a:gd name="T53" fmla="*/ 9 h 409"/>
                  <a:gd name="T54" fmla="*/ 117 w 243"/>
                  <a:gd name="T55" fmla="*/ 0 h 409"/>
                  <a:gd name="T56" fmla="*/ 107 w 243"/>
                  <a:gd name="T57" fmla="*/ 58 h 409"/>
                  <a:gd name="T58" fmla="*/ 107 w 243"/>
                  <a:gd name="T59" fmla="*/ 87 h 409"/>
                  <a:gd name="T60" fmla="*/ 107 w 243"/>
                  <a:gd name="T61" fmla="*/ 136 h 409"/>
                  <a:gd name="T62" fmla="*/ 136 w 243"/>
                  <a:gd name="T63" fmla="*/ 146 h 409"/>
                  <a:gd name="T64" fmla="*/ 156 w 243"/>
                  <a:gd name="T65" fmla="*/ 175 h 409"/>
                  <a:gd name="T66" fmla="*/ 136 w 243"/>
                  <a:gd name="T67" fmla="*/ 166 h 409"/>
                  <a:gd name="T68" fmla="*/ 107 w 243"/>
                  <a:gd name="T69" fmla="*/ 185 h 409"/>
                  <a:gd name="T70" fmla="*/ 97 w 243"/>
                  <a:gd name="T71" fmla="*/ 234 h 409"/>
                  <a:gd name="T72" fmla="*/ 87 w 243"/>
                  <a:gd name="T73" fmla="*/ 253 h 409"/>
                  <a:gd name="T74" fmla="*/ 58 w 243"/>
                  <a:gd name="T75" fmla="*/ 263 h 409"/>
                  <a:gd name="T76" fmla="*/ 29 w 243"/>
                  <a:gd name="T77" fmla="*/ 244 h 409"/>
                  <a:gd name="T78" fmla="*/ 29 w 243"/>
                  <a:gd name="T79" fmla="*/ 283 h 409"/>
                  <a:gd name="T80" fmla="*/ 19 w 243"/>
                  <a:gd name="T81" fmla="*/ 312 h 409"/>
                  <a:gd name="T82" fmla="*/ 0 w 243"/>
                  <a:gd name="T83" fmla="*/ 341 h 409"/>
                  <a:gd name="T84" fmla="*/ 19 w 243"/>
                  <a:gd name="T85" fmla="*/ 370 h 40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43"/>
                  <a:gd name="T130" fmla="*/ 0 h 409"/>
                  <a:gd name="T131" fmla="*/ 243 w 243"/>
                  <a:gd name="T132" fmla="*/ 409 h 40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7" name="Freeform 149"/>
              <p:cNvSpPr>
                <a:spLocks/>
              </p:cNvSpPr>
              <p:nvPr/>
            </p:nvSpPr>
            <p:spPr bwMode="auto">
              <a:xfrm>
                <a:off x="1329" y="2781"/>
                <a:ext cx="237" cy="409"/>
              </a:xfrm>
              <a:custGeom>
                <a:avLst/>
                <a:gdLst/>
                <a:ahLst/>
                <a:cxnLst>
                  <a:cxn ang="0">
                    <a:pos x="39" y="351"/>
                  </a:cxn>
                  <a:cxn ang="0">
                    <a:pos x="48" y="361"/>
                  </a:cxn>
                  <a:cxn ang="0">
                    <a:pos x="68" y="380"/>
                  </a:cxn>
                  <a:cxn ang="0">
                    <a:pos x="87" y="390"/>
                  </a:cxn>
                  <a:cxn ang="0">
                    <a:pos x="117" y="390"/>
                  </a:cxn>
                  <a:cxn ang="0">
                    <a:pos x="136" y="400"/>
                  </a:cxn>
                  <a:cxn ang="0">
                    <a:pos x="146" y="400"/>
                  </a:cxn>
                  <a:cxn ang="0">
                    <a:pos x="185" y="400"/>
                  </a:cxn>
                  <a:cxn ang="0">
                    <a:pos x="195" y="380"/>
                  </a:cxn>
                  <a:cxn ang="0">
                    <a:pos x="165" y="351"/>
                  </a:cxn>
                  <a:cxn ang="0">
                    <a:pos x="175" y="331"/>
                  </a:cxn>
                  <a:cxn ang="0">
                    <a:pos x="185" y="341"/>
                  </a:cxn>
                  <a:cxn ang="0">
                    <a:pos x="204" y="351"/>
                  </a:cxn>
                  <a:cxn ang="0">
                    <a:pos x="224" y="322"/>
                  </a:cxn>
                  <a:cxn ang="0">
                    <a:pos x="234" y="253"/>
                  </a:cxn>
                  <a:cxn ang="0">
                    <a:pos x="234" y="224"/>
                  </a:cxn>
                  <a:cxn ang="0">
                    <a:pos x="214" y="185"/>
                  </a:cxn>
                  <a:cxn ang="0">
                    <a:pos x="195" y="185"/>
                  </a:cxn>
                  <a:cxn ang="0">
                    <a:pos x="195" y="166"/>
                  </a:cxn>
                  <a:cxn ang="0">
                    <a:pos x="214" y="146"/>
                  </a:cxn>
                  <a:cxn ang="0">
                    <a:pos x="224" y="117"/>
                  </a:cxn>
                  <a:cxn ang="0">
                    <a:pos x="214" y="78"/>
                  </a:cxn>
                  <a:cxn ang="0">
                    <a:pos x="243" y="68"/>
                  </a:cxn>
                  <a:cxn ang="0">
                    <a:pos x="234" y="48"/>
                  </a:cxn>
                  <a:cxn ang="0">
                    <a:pos x="185" y="29"/>
                  </a:cxn>
                  <a:cxn ang="0">
                    <a:pos x="146" y="9"/>
                  </a:cxn>
                  <a:cxn ang="0">
                    <a:pos x="136" y="9"/>
                  </a:cxn>
                  <a:cxn ang="0">
                    <a:pos x="117" y="0"/>
                  </a:cxn>
                  <a:cxn ang="0">
                    <a:pos x="107" y="58"/>
                  </a:cxn>
                  <a:cxn ang="0">
                    <a:pos x="107" y="87"/>
                  </a:cxn>
                  <a:cxn ang="0">
                    <a:pos x="107" y="136"/>
                  </a:cxn>
                  <a:cxn ang="0">
                    <a:pos x="136" y="146"/>
                  </a:cxn>
                  <a:cxn ang="0">
                    <a:pos x="156" y="175"/>
                  </a:cxn>
                  <a:cxn ang="0">
                    <a:pos x="136" y="166"/>
                  </a:cxn>
                  <a:cxn ang="0">
                    <a:pos x="107" y="185"/>
                  </a:cxn>
                  <a:cxn ang="0">
                    <a:pos x="97" y="234"/>
                  </a:cxn>
                  <a:cxn ang="0">
                    <a:pos x="87" y="253"/>
                  </a:cxn>
                  <a:cxn ang="0">
                    <a:pos x="58" y="263"/>
                  </a:cxn>
                  <a:cxn ang="0">
                    <a:pos x="29" y="244"/>
                  </a:cxn>
                  <a:cxn ang="0">
                    <a:pos x="29" y="283"/>
                  </a:cxn>
                  <a:cxn ang="0">
                    <a:pos x="19" y="312"/>
                  </a:cxn>
                  <a:cxn ang="0">
                    <a:pos x="0" y="341"/>
                  </a:cxn>
                  <a:cxn ang="0">
                    <a:pos x="19" y="370"/>
                  </a:cxn>
                </a:cxnLst>
                <a:rect l="0" t="0" r="r" b="b"/>
                <a:pathLst>
                  <a:path w="243" h="409">
                    <a:moveTo>
                      <a:pt x="29" y="351"/>
                    </a:moveTo>
                    <a:lnTo>
                      <a:pt x="39" y="351"/>
                    </a:lnTo>
                    <a:lnTo>
                      <a:pt x="39" y="370"/>
                    </a:lnTo>
                    <a:lnTo>
                      <a:pt x="48" y="361"/>
                    </a:lnTo>
                    <a:lnTo>
                      <a:pt x="48" y="380"/>
                    </a:lnTo>
                    <a:lnTo>
                      <a:pt x="68" y="380"/>
                    </a:lnTo>
                    <a:lnTo>
                      <a:pt x="87" y="390"/>
                    </a:lnTo>
                    <a:lnTo>
                      <a:pt x="97" y="390"/>
                    </a:lnTo>
                    <a:lnTo>
                      <a:pt x="117" y="390"/>
                    </a:lnTo>
                    <a:lnTo>
                      <a:pt x="126" y="409"/>
                    </a:lnTo>
                    <a:lnTo>
                      <a:pt x="136" y="400"/>
                    </a:lnTo>
                    <a:lnTo>
                      <a:pt x="136" y="390"/>
                    </a:lnTo>
                    <a:lnTo>
                      <a:pt x="146" y="400"/>
                    </a:lnTo>
                    <a:lnTo>
                      <a:pt x="165" y="400"/>
                    </a:lnTo>
                    <a:lnTo>
                      <a:pt x="185" y="400"/>
                    </a:lnTo>
                    <a:lnTo>
                      <a:pt x="195" y="400"/>
                    </a:lnTo>
                    <a:lnTo>
                      <a:pt x="195" y="380"/>
                    </a:lnTo>
                    <a:lnTo>
                      <a:pt x="185" y="370"/>
                    </a:lnTo>
                    <a:lnTo>
                      <a:pt x="165" y="351"/>
                    </a:lnTo>
                    <a:lnTo>
                      <a:pt x="165" y="341"/>
                    </a:lnTo>
                    <a:lnTo>
                      <a:pt x="175" y="331"/>
                    </a:lnTo>
                    <a:lnTo>
                      <a:pt x="185" y="331"/>
                    </a:lnTo>
                    <a:lnTo>
                      <a:pt x="185" y="341"/>
                    </a:lnTo>
                    <a:lnTo>
                      <a:pt x="195" y="351"/>
                    </a:lnTo>
                    <a:lnTo>
                      <a:pt x="204" y="351"/>
                    </a:lnTo>
                    <a:lnTo>
                      <a:pt x="214" y="341"/>
                    </a:lnTo>
                    <a:lnTo>
                      <a:pt x="224" y="322"/>
                    </a:lnTo>
                    <a:lnTo>
                      <a:pt x="224" y="302"/>
                    </a:lnTo>
                    <a:lnTo>
                      <a:pt x="234" y="253"/>
                    </a:lnTo>
                    <a:lnTo>
                      <a:pt x="243" y="234"/>
                    </a:lnTo>
                    <a:lnTo>
                      <a:pt x="234" y="224"/>
                    </a:lnTo>
                    <a:lnTo>
                      <a:pt x="214" y="205"/>
                    </a:lnTo>
                    <a:lnTo>
                      <a:pt x="214" y="185"/>
                    </a:lnTo>
                    <a:lnTo>
                      <a:pt x="204" y="185"/>
                    </a:lnTo>
                    <a:lnTo>
                      <a:pt x="195" y="185"/>
                    </a:lnTo>
                    <a:lnTo>
                      <a:pt x="195" y="175"/>
                    </a:lnTo>
                    <a:lnTo>
                      <a:pt x="195" y="166"/>
                    </a:lnTo>
                    <a:lnTo>
                      <a:pt x="204" y="156"/>
                    </a:lnTo>
                    <a:lnTo>
                      <a:pt x="214" y="146"/>
                    </a:lnTo>
                    <a:lnTo>
                      <a:pt x="224" y="136"/>
                    </a:lnTo>
                    <a:lnTo>
                      <a:pt x="224" y="117"/>
                    </a:lnTo>
                    <a:lnTo>
                      <a:pt x="214" y="107"/>
                    </a:lnTo>
                    <a:lnTo>
                      <a:pt x="214" y="78"/>
                    </a:lnTo>
                    <a:lnTo>
                      <a:pt x="224" y="78"/>
                    </a:lnTo>
                    <a:lnTo>
                      <a:pt x="243" y="68"/>
                    </a:lnTo>
                    <a:lnTo>
                      <a:pt x="243" y="58"/>
                    </a:lnTo>
                    <a:lnTo>
                      <a:pt x="234" y="48"/>
                    </a:lnTo>
                    <a:lnTo>
                      <a:pt x="204" y="29"/>
                    </a:lnTo>
                    <a:lnTo>
                      <a:pt x="185" y="29"/>
                    </a:lnTo>
                    <a:lnTo>
                      <a:pt x="165" y="9"/>
                    </a:lnTo>
                    <a:lnTo>
                      <a:pt x="146" y="9"/>
                    </a:lnTo>
                    <a:lnTo>
                      <a:pt x="136" y="9"/>
                    </a:lnTo>
                    <a:lnTo>
                      <a:pt x="126" y="0"/>
                    </a:lnTo>
                    <a:lnTo>
                      <a:pt x="117" y="0"/>
                    </a:lnTo>
                    <a:lnTo>
                      <a:pt x="117" y="48"/>
                    </a:lnTo>
                    <a:lnTo>
                      <a:pt x="107" y="58"/>
                    </a:lnTo>
                    <a:lnTo>
                      <a:pt x="117" y="68"/>
                    </a:lnTo>
                    <a:lnTo>
                      <a:pt x="107" y="87"/>
                    </a:lnTo>
                    <a:lnTo>
                      <a:pt x="107" y="107"/>
                    </a:lnTo>
                    <a:lnTo>
                      <a:pt x="107" y="136"/>
                    </a:lnTo>
                    <a:lnTo>
                      <a:pt x="117" y="146"/>
                    </a:lnTo>
                    <a:lnTo>
                      <a:pt x="136" y="146"/>
                    </a:lnTo>
                    <a:lnTo>
                      <a:pt x="156" y="166"/>
                    </a:lnTo>
                    <a:lnTo>
                      <a:pt x="156" y="175"/>
                    </a:lnTo>
                    <a:lnTo>
                      <a:pt x="146" y="175"/>
                    </a:lnTo>
                    <a:lnTo>
                      <a:pt x="136" y="166"/>
                    </a:lnTo>
                    <a:lnTo>
                      <a:pt x="117" y="166"/>
                    </a:lnTo>
                    <a:lnTo>
                      <a:pt x="107" y="185"/>
                    </a:lnTo>
                    <a:lnTo>
                      <a:pt x="97" y="214"/>
                    </a:lnTo>
                    <a:lnTo>
                      <a:pt x="97" y="234"/>
                    </a:lnTo>
                    <a:lnTo>
                      <a:pt x="97" y="244"/>
                    </a:lnTo>
                    <a:lnTo>
                      <a:pt x="87" y="253"/>
                    </a:lnTo>
                    <a:lnTo>
                      <a:pt x="68" y="244"/>
                    </a:lnTo>
                    <a:lnTo>
                      <a:pt x="58" y="263"/>
                    </a:lnTo>
                    <a:lnTo>
                      <a:pt x="48" y="244"/>
                    </a:lnTo>
                    <a:lnTo>
                      <a:pt x="29" y="244"/>
                    </a:lnTo>
                    <a:lnTo>
                      <a:pt x="39" y="263"/>
                    </a:lnTo>
                    <a:lnTo>
                      <a:pt x="29" y="283"/>
                    </a:lnTo>
                    <a:lnTo>
                      <a:pt x="39" y="302"/>
                    </a:lnTo>
                    <a:lnTo>
                      <a:pt x="19" y="312"/>
                    </a:lnTo>
                    <a:lnTo>
                      <a:pt x="0" y="322"/>
                    </a:lnTo>
                    <a:lnTo>
                      <a:pt x="0" y="341"/>
                    </a:lnTo>
                    <a:lnTo>
                      <a:pt x="19" y="351"/>
                    </a:lnTo>
                    <a:lnTo>
                      <a:pt x="19" y="370"/>
                    </a:lnTo>
                    <a:lnTo>
                      <a:pt x="29" y="351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94" name="Freeform 147"/>
            <p:cNvSpPr>
              <a:spLocks/>
            </p:cNvSpPr>
            <p:nvPr/>
          </p:nvSpPr>
          <p:spPr bwMode="auto">
            <a:xfrm>
              <a:off x="1483" y="1150"/>
              <a:ext cx="293" cy="383"/>
            </a:xfrm>
            <a:custGeom>
              <a:avLst/>
              <a:gdLst/>
              <a:ahLst/>
              <a:cxnLst>
                <a:cxn ang="0">
                  <a:pos x="107" y="352"/>
                </a:cxn>
                <a:cxn ang="0">
                  <a:pos x="78" y="371"/>
                </a:cxn>
                <a:cxn ang="0">
                  <a:pos x="48" y="361"/>
                </a:cxn>
                <a:cxn ang="0">
                  <a:pos x="29" y="352"/>
                </a:cxn>
                <a:cxn ang="0">
                  <a:pos x="39" y="322"/>
                </a:cxn>
                <a:cxn ang="0">
                  <a:pos x="19" y="293"/>
                </a:cxn>
                <a:cxn ang="0">
                  <a:pos x="0" y="273"/>
                </a:cxn>
                <a:cxn ang="0">
                  <a:pos x="19" y="254"/>
                </a:cxn>
                <a:cxn ang="0">
                  <a:pos x="9" y="234"/>
                </a:cxn>
                <a:cxn ang="0">
                  <a:pos x="0" y="215"/>
                </a:cxn>
                <a:cxn ang="0">
                  <a:pos x="0" y="195"/>
                </a:cxn>
                <a:cxn ang="0">
                  <a:pos x="0" y="176"/>
                </a:cxn>
                <a:cxn ang="0">
                  <a:pos x="29" y="166"/>
                </a:cxn>
                <a:cxn ang="0">
                  <a:pos x="39" y="147"/>
                </a:cxn>
                <a:cxn ang="0">
                  <a:pos x="58" y="127"/>
                </a:cxn>
                <a:cxn ang="0">
                  <a:pos x="58" y="108"/>
                </a:cxn>
                <a:cxn ang="0">
                  <a:pos x="78" y="98"/>
                </a:cxn>
                <a:cxn ang="0">
                  <a:pos x="107" y="88"/>
                </a:cxn>
                <a:cxn ang="0">
                  <a:pos x="126" y="59"/>
                </a:cxn>
                <a:cxn ang="0">
                  <a:pos x="146" y="49"/>
                </a:cxn>
                <a:cxn ang="0">
                  <a:pos x="185" y="49"/>
                </a:cxn>
                <a:cxn ang="0">
                  <a:pos x="195" y="39"/>
                </a:cxn>
                <a:cxn ang="0">
                  <a:pos x="224" y="30"/>
                </a:cxn>
                <a:cxn ang="0">
                  <a:pos x="253" y="10"/>
                </a:cxn>
                <a:cxn ang="0">
                  <a:pos x="283" y="0"/>
                </a:cxn>
                <a:cxn ang="0">
                  <a:pos x="292" y="10"/>
                </a:cxn>
                <a:cxn ang="0">
                  <a:pos x="292" y="30"/>
                </a:cxn>
                <a:cxn ang="0">
                  <a:pos x="292" y="69"/>
                </a:cxn>
                <a:cxn ang="0">
                  <a:pos x="283" y="98"/>
                </a:cxn>
                <a:cxn ang="0">
                  <a:pos x="283" y="117"/>
                </a:cxn>
                <a:cxn ang="0">
                  <a:pos x="263" y="127"/>
                </a:cxn>
                <a:cxn ang="0">
                  <a:pos x="243" y="127"/>
                </a:cxn>
                <a:cxn ang="0">
                  <a:pos x="253" y="176"/>
                </a:cxn>
                <a:cxn ang="0">
                  <a:pos x="224" y="215"/>
                </a:cxn>
                <a:cxn ang="0">
                  <a:pos x="195" y="215"/>
                </a:cxn>
                <a:cxn ang="0">
                  <a:pos x="185" y="244"/>
                </a:cxn>
                <a:cxn ang="0">
                  <a:pos x="165" y="264"/>
                </a:cxn>
                <a:cxn ang="0">
                  <a:pos x="156" y="283"/>
                </a:cxn>
                <a:cxn ang="0">
                  <a:pos x="136" y="293"/>
                </a:cxn>
                <a:cxn ang="0">
                  <a:pos x="136" y="313"/>
                </a:cxn>
                <a:cxn ang="0">
                  <a:pos x="117" y="332"/>
                </a:cxn>
              </a:cxnLst>
              <a:rect l="0" t="0" r="r" b="b"/>
              <a:pathLst>
                <a:path w="292" h="381">
                  <a:moveTo>
                    <a:pt x="117" y="332"/>
                  </a:moveTo>
                  <a:lnTo>
                    <a:pt x="107" y="352"/>
                  </a:lnTo>
                  <a:lnTo>
                    <a:pt x="97" y="361"/>
                  </a:lnTo>
                  <a:lnTo>
                    <a:pt x="78" y="371"/>
                  </a:lnTo>
                  <a:lnTo>
                    <a:pt x="48" y="381"/>
                  </a:lnTo>
                  <a:lnTo>
                    <a:pt x="48" y="361"/>
                  </a:lnTo>
                  <a:lnTo>
                    <a:pt x="39" y="352"/>
                  </a:lnTo>
                  <a:lnTo>
                    <a:pt x="29" y="352"/>
                  </a:lnTo>
                  <a:lnTo>
                    <a:pt x="29" y="342"/>
                  </a:lnTo>
                  <a:lnTo>
                    <a:pt x="39" y="322"/>
                  </a:lnTo>
                  <a:lnTo>
                    <a:pt x="39" y="303"/>
                  </a:lnTo>
                  <a:lnTo>
                    <a:pt x="19" y="293"/>
                  </a:lnTo>
                  <a:lnTo>
                    <a:pt x="9" y="283"/>
                  </a:lnTo>
                  <a:lnTo>
                    <a:pt x="0" y="273"/>
                  </a:lnTo>
                  <a:lnTo>
                    <a:pt x="9" y="264"/>
                  </a:lnTo>
                  <a:lnTo>
                    <a:pt x="19" y="254"/>
                  </a:lnTo>
                  <a:lnTo>
                    <a:pt x="19" y="244"/>
                  </a:lnTo>
                  <a:lnTo>
                    <a:pt x="9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9" y="195"/>
                  </a:lnTo>
                  <a:lnTo>
                    <a:pt x="0" y="195"/>
                  </a:lnTo>
                  <a:lnTo>
                    <a:pt x="0" y="186"/>
                  </a:lnTo>
                  <a:lnTo>
                    <a:pt x="0" y="176"/>
                  </a:lnTo>
                  <a:lnTo>
                    <a:pt x="9" y="166"/>
                  </a:lnTo>
                  <a:lnTo>
                    <a:pt x="29" y="166"/>
                  </a:lnTo>
                  <a:lnTo>
                    <a:pt x="39" y="156"/>
                  </a:lnTo>
                  <a:lnTo>
                    <a:pt x="39" y="147"/>
                  </a:lnTo>
                  <a:lnTo>
                    <a:pt x="48" y="137"/>
                  </a:lnTo>
                  <a:lnTo>
                    <a:pt x="58" y="127"/>
                  </a:lnTo>
                  <a:lnTo>
                    <a:pt x="58" y="117"/>
                  </a:lnTo>
                  <a:lnTo>
                    <a:pt x="58" y="108"/>
                  </a:lnTo>
                  <a:lnTo>
                    <a:pt x="68" y="98"/>
                  </a:lnTo>
                  <a:lnTo>
                    <a:pt x="78" y="98"/>
                  </a:lnTo>
                  <a:lnTo>
                    <a:pt x="97" y="98"/>
                  </a:lnTo>
                  <a:lnTo>
                    <a:pt x="107" y="88"/>
                  </a:lnTo>
                  <a:lnTo>
                    <a:pt x="117" y="69"/>
                  </a:lnTo>
                  <a:lnTo>
                    <a:pt x="126" y="59"/>
                  </a:lnTo>
                  <a:lnTo>
                    <a:pt x="136" y="49"/>
                  </a:lnTo>
                  <a:lnTo>
                    <a:pt x="146" y="49"/>
                  </a:lnTo>
                  <a:lnTo>
                    <a:pt x="165" y="59"/>
                  </a:lnTo>
                  <a:lnTo>
                    <a:pt x="185" y="49"/>
                  </a:lnTo>
                  <a:lnTo>
                    <a:pt x="195" y="39"/>
                  </a:lnTo>
                  <a:lnTo>
                    <a:pt x="204" y="30"/>
                  </a:lnTo>
                  <a:lnTo>
                    <a:pt x="224" y="30"/>
                  </a:lnTo>
                  <a:lnTo>
                    <a:pt x="234" y="20"/>
                  </a:lnTo>
                  <a:lnTo>
                    <a:pt x="253" y="10"/>
                  </a:lnTo>
                  <a:lnTo>
                    <a:pt x="273" y="10"/>
                  </a:lnTo>
                  <a:lnTo>
                    <a:pt x="283" y="0"/>
                  </a:lnTo>
                  <a:lnTo>
                    <a:pt x="292" y="10"/>
                  </a:lnTo>
                  <a:lnTo>
                    <a:pt x="283" y="30"/>
                  </a:lnTo>
                  <a:lnTo>
                    <a:pt x="292" y="30"/>
                  </a:lnTo>
                  <a:lnTo>
                    <a:pt x="292" y="49"/>
                  </a:lnTo>
                  <a:lnTo>
                    <a:pt x="292" y="69"/>
                  </a:lnTo>
                  <a:lnTo>
                    <a:pt x="283" y="78"/>
                  </a:lnTo>
                  <a:lnTo>
                    <a:pt x="283" y="98"/>
                  </a:lnTo>
                  <a:lnTo>
                    <a:pt x="283" y="108"/>
                  </a:lnTo>
                  <a:lnTo>
                    <a:pt x="283" y="117"/>
                  </a:lnTo>
                  <a:lnTo>
                    <a:pt x="283" y="127"/>
                  </a:lnTo>
                  <a:lnTo>
                    <a:pt x="263" y="127"/>
                  </a:lnTo>
                  <a:lnTo>
                    <a:pt x="263" y="117"/>
                  </a:lnTo>
                  <a:lnTo>
                    <a:pt x="243" y="127"/>
                  </a:lnTo>
                  <a:lnTo>
                    <a:pt x="243" y="166"/>
                  </a:lnTo>
                  <a:lnTo>
                    <a:pt x="253" y="176"/>
                  </a:lnTo>
                  <a:lnTo>
                    <a:pt x="224" y="195"/>
                  </a:lnTo>
                  <a:lnTo>
                    <a:pt x="224" y="215"/>
                  </a:lnTo>
                  <a:lnTo>
                    <a:pt x="195" y="215"/>
                  </a:lnTo>
                  <a:lnTo>
                    <a:pt x="204" y="234"/>
                  </a:lnTo>
                  <a:lnTo>
                    <a:pt x="185" y="244"/>
                  </a:lnTo>
                  <a:lnTo>
                    <a:pt x="165" y="254"/>
                  </a:lnTo>
                  <a:lnTo>
                    <a:pt x="165" y="264"/>
                  </a:lnTo>
                  <a:lnTo>
                    <a:pt x="175" y="283"/>
                  </a:lnTo>
                  <a:lnTo>
                    <a:pt x="156" y="283"/>
                  </a:lnTo>
                  <a:lnTo>
                    <a:pt x="146" y="283"/>
                  </a:lnTo>
                  <a:lnTo>
                    <a:pt x="136" y="293"/>
                  </a:lnTo>
                  <a:lnTo>
                    <a:pt x="136" y="303"/>
                  </a:lnTo>
                  <a:lnTo>
                    <a:pt x="136" y="313"/>
                  </a:lnTo>
                  <a:lnTo>
                    <a:pt x="126" y="322"/>
                  </a:lnTo>
                  <a:lnTo>
                    <a:pt x="117" y="33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5" name="Freeform 146"/>
            <p:cNvSpPr>
              <a:spLocks/>
            </p:cNvSpPr>
            <p:nvPr/>
          </p:nvSpPr>
          <p:spPr bwMode="auto">
            <a:xfrm>
              <a:off x="840" y="2995"/>
              <a:ext cx="174" cy="127"/>
            </a:xfrm>
            <a:custGeom>
              <a:avLst/>
              <a:gdLst/>
              <a:ahLst/>
              <a:cxnLst>
                <a:cxn ang="0">
                  <a:pos x="39" y="98"/>
                </a:cxn>
                <a:cxn ang="0">
                  <a:pos x="39" y="69"/>
                </a:cxn>
                <a:cxn ang="0">
                  <a:pos x="29" y="49"/>
                </a:cxn>
                <a:cxn ang="0">
                  <a:pos x="10" y="39"/>
                </a:cxn>
                <a:cxn ang="0">
                  <a:pos x="10" y="20"/>
                </a:cxn>
                <a:cxn ang="0">
                  <a:pos x="0" y="10"/>
                </a:cxn>
                <a:cxn ang="0">
                  <a:pos x="29" y="0"/>
                </a:cxn>
                <a:cxn ang="0">
                  <a:pos x="49" y="0"/>
                </a:cxn>
                <a:cxn ang="0">
                  <a:pos x="78" y="0"/>
                </a:cxn>
                <a:cxn ang="0">
                  <a:pos x="97" y="10"/>
                </a:cxn>
                <a:cxn ang="0">
                  <a:pos x="107" y="20"/>
                </a:cxn>
                <a:cxn ang="0">
                  <a:pos x="97" y="30"/>
                </a:cxn>
                <a:cxn ang="0">
                  <a:pos x="127" y="39"/>
                </a:cxn>
                <a:cxn ang="0">
                  <a:pos x="127" y="49"/>
                </a:cxn>
                <a:cxn ang="0">
                  <a:pos x="127" y="59"/>
                </a:cxn>
                <a:cxn ang="0">
                  <a:pos x="156" y="49"/>
                </a:cxn>
                <a:cxn ang="0">
                  <a:pos x="156" y="69"/>
                </a:cxn>
                <a:cxn ang="0">
                  <a:pos x="175" y="69"/>
                </a:cxn>
                <a:cxn ang="0">
                  <a:pos x="175" y="88"/>
                </a:cxn>
                <a:cxn ang="0">
                  <a:pos x="175" y="98"/>
                </a:cxn>
                <a:cxn ang="0">
                  <a:pos x="156" y="117"/>
                </a:cxn>
                <a:cxn ang="0">
                  <a:pos x="146" y="117"/>
                </a:cxn>
                <a:cxn ang="0">
                  <a:pos x="127" y="127"/>
                </a:cxn>
                <a:cxn ang="0">
                  <a:pos x="107" y="117"/>
                </a:cxn>
                <a:cxn ang="0">
                  <a:pos x="97" y="117"/>
                </a:cxn>
                <a:cxn ang="0">
                  <a:pos x="78" y="117"/>
                </a:cxn>
                <a:cxn ang="0">
                  <a:pos x="49" y="117"/>
                </a:cxn>
                <a:cxn ang="0">
                  <a:pos x="39" y="117"/>
                </a:cxn>
                <a:cxn ang="0">
                  <a:pos x="39" y="98"/>
                </a:cxn>
              </a:cxnLst>
              <a:rect l="0" t="0" r="r" b="b"/>
              <a:pathLst>
                <a:path w="175" h="127">
                  <a:moveTo>
                    <a:pt x="39" y="98"/>
                  </a:moveTo>
                  <a:lnTo>
                    <a:pt x="39" y="69"/>
                  </a:lnTo>
                  <a:lnTo>
                    <a:pt x="29" y="49"/>
                  </a:lnTo>
                  <a:lnTo>
                    <a:pt x="10" y="39"/>
                  </a:lnTo>
                  <a:lnTo>
                    <a:pt x="10" y="20"/>
                  </a:lnTo>
                  <a:lnTo>
                    <a:pt x="0" y="10"/>
                  </a:lnTo>
                  <a:lnTo>
                    <a:pt x="29" y="0"/>
                  </a:lnTo>
                  <a:lnTo>
                    <a:pt x="49" y="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20"/>
                  </a:lnTo>
                  <a:lnTo>
                    <a:pt x="97" y="30"/>
                  </a:lnTo>
                  <a:lnTo>
                    <a:pt x="127" y="39"/>
                  </a:lnTo>
                  <a:lnTo>
                    <a:pt x="127" y="49"/>
                  </a:lnTo>
                  <a:lnTo>
                    <a:pt x="127" y="59"/>
                  </a:lnTo>
                  <a:lnTo>
                    <a:pt x="156" y="49"/>
                  </a:lnTo>
                  <a:lnTo>
                    <a:pt x="156" y="69"/>
                  </a:lnTo>
                  <a:lnTo>
                    <a:pt x="175" y="69"/>
                  </a:lnTo>
                  <a:lnTo>
                    <a:pt x="175" y="88"/>
                  </a:lnTo>
                  <a:lnTo>
                    <a:pt x="175" y="98"/>
                  </a:lnTo>
                  <a:lnTo>
                    <a:pt x="156" y="117"/>
                  </a:lnTo>
                  <a:lnTo>
                    <a:pt x="146" y="11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97" y="117"/>
                  </a:lnTo>
                  <a:lnTo>
                    <a:pt x="78" y="117"/>
                  </a:lnTo>
                  <a:lnTo>
                    <a:pt x="49" y="117"/>
                  </a:lnTo>
                  <a:lnTo>
                    <a:pt x="39" y="117"/>
                  </a:lnTo>
                  <a:lnTo>
                    <a:pt x="39" y="98"/>
                  </a:lnTo>
                  <a:close/>
                </a:path>
              </a:pathLst>
            </a:custGeom>
            <a:solidFill>
              <a:srgbClr val="70AD47">
                <a:lumMod val="20000"/>
                <a:lumOff val="80000"/>
              </a:srgb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96" name="Group 143"/>
            <p:cNvGrpSpPr>
              <a:grpSpLocks/>
            </p:cNvGrpSpPr>
            <p:nvPr/>
          </p:nvGrpSpPr>
          <p:grpSpPr bwMode="auto">
            <a:xfrm>
              <a:off x="839" y="2995"/>
              <a:ext cx="175" cy="127"/>
              <a:chOff x="839" y="2995"/>
              <a:chExt cx="175" cy="127"/>
            </a:xfrm>
          </p:grpSpPr>
          <p:sp>
            <p:nvSpPr>
              <p:cNvPr id="324" name="Freeform 145"/>
              <p:cNvSpPr>
                <a:spLocks/>
              </p:cNvSpPr>
              <p:nvPr/>
            </p:nvSpPr>
            <p:spPr bwMode="auto">
              <a:xfrm>
                <a:off x="840" y="2995"/>
                <a:ext cx="174" cy="127"/>
              </a:xfrm>
              <a:custGeom>
                <a:avLst/>
                <a:gdLst>
                  <a:gd name="T0" fmla="*/ 39 w 175"/>
                  <a:gd name="T1" fmla="*/ 98 h 127"/>
                  <a:gd name="T2" fmla="*/ 39 w 175"/>
                  <a:gd name="T3" fmla="*/ 69 h 127"/>
                  <a:gd name="T4" fmla="*/ 29 w 175"/>
                  <a:gd name="T5" fmla="*/ 59 h 127"/>
                  <a:gd name="T6" fmla="*/ 10 w 175"/>
                  <a:gd name="T7" fmla="*/ 39 h 127"/>
                  <a:gd name="T8" fmla="*/ 10 w 175"/>
                  <a:gd name="T9" fmla="*/ 20 h 127"/>
                  <a:gd name="T10" fmla="*/ 0 w 175"/>
                  <a:gd name="T11" fmla="*/ 20 h 127"/>
                  <a:gd name="T12" fmla="*/ 29 w 175"/>
                  <a:gd name="T13" fmla="*/ 0 h 127"/>
                  <a:gd name="T14" fmla="*/ 49 w 175"/>
                  <a:gd name="T15" fmla="*/ 0 h 127"/>
                  <a:gd name="T16" fmla="*/ 78 w 175"/>
                  <a:gd name="T17" fmla="*/ 0 h 127"/>
                  <a:gd name="T18" fmla="*/ 97 w 175"/>
                  <a:gd name="T19" fmla="*/ 10 h 127"/>
                  <a:gd name="T20" fmla="*/ 107 w 175"/>
                  <a:gd name="T21" fmla="*/ 20 h 127"/>
                  <a:gd name="T22" fmla="*/ 97 w 175"/>
                  <a:gd name="T23" fmla="*/ 30 h 127"/>
                  <a:gd name="T24" fmla="*/ 127 w 175"/>
                  <a:gd name="T25" fmla="*/ 39 h 127"/>
                  <a:gd name="T26" fmla="*/ 127 w 175"/>
                  <a:gd name="T27" fmla="*/ 49 h 127"/>
                  <a:gd name="T28" fmla="*/ 127 w 175"/>
                  <a:gd name="T29" fmla="*/ 59 h 127"/>
                  <a:gd name="T30" fmla="*/ 156 w 175"/>
                  <a:gd name="T31" fmla="*/ 59 h 127"/>
                  <a:gd name="T32" fmla="*/ 156 w 175"/>
                  <a:gd name="T33" fmla="*/ 69 h 127"/>
                  <a:gd name="T34" fmla="*/ 175 w 175"/>
                  <a:gd name="T35" fmla="*/ 78 h 127"/>
                  <a:gd name="T36" fmla="*/ 175 w 175"/>
                  <a:gd name="T37" fmla="*/ 88 h 127"/>
                  <a:gd name="T38" fmla="*/ 175 w 175"/>
                  <a:gd name="T39" fmla="*/ 98 h 127"/>
                  <a:gd name="T40" fmla="*/ 156 w 175"/>
                  <a:gd name="T41" fmla="*/ 108 h 127"/>
                  <a:gd name="T42" fmla="*/ 146 w 175"/>
                  <a:gd name="T43" fmla="*/ 117 h 127"/>
                  <a:gd name="T44" fmla="*/ 127 w 175"/>
                  <a:gd name="T45" fmla="*/ 127 h 127"/>
                  <a:gd name="T46" fmla="*/ 107 w 175"/>
                  <a:gd name="T47" fmla="*/ 117 h 127"/>
                  <a:gd name="T48" fmla="*/ 97 w 175"/>
                  <a:gd name="T49" fmla="*/ 108 h 127"/>
                  <a:gd name="T50" fmla="*/ 78 w 175"/>
                  <a:gd name="T51" fmla="*/ 117 h 127"/>
                  <a:gd name="T52" fmla="*/ 49 w 175"/>
                  <a:gd name="T53" fmla="*/ 117 h 127"/>
                  <a:gd name="T54" fmla="*/ 39 w 175"/>
                  <a:gd name="T55" fmla="*/ 117 h 127"/>
                  <a:gd name="T56" fmla="*/ 39 w 175"/>
                  <a:gd name="T57" fmla="*/ 98 h 12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5"/>
                  <a:gd name="T88" fmla="*/ 0 h 127"/>
                  <a:gd name="T89" fmla="*/ 175 w 175"/>
                  <a:gd name="T90" fmla="*/ 127 h 12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5" name="Freeform 144"/>
              <p:cNvSpPr>
                <a:spLocks/>
              </p:cNvSpPr>
              <p:nvPr/>
            </p:nvSpPr>
            <p:spPr bwMode="auto">
              <a:xfrm>
                <a:off x="840" y="2995"/>
                <a:ext cx="174" cy="127"/>
              </a:xfrm>
              <a:custGeom>
                <a:avLst/>
                <a:gdLst/>
                <a:ahLst/>
                <a:cxnLst>
                  <a:cxn ang="0">
                    <a:pos x="39" y="98"/>
                  </a:cxn>
                  <a:cxn ang="0">
                    <a:pos x="39" y="69"/>
                  </a:cxn>
                  <a:cxn ang="0">
                    <a:pos x="29" y="59"/>
                  </a:cxn>
                  <a:cxn ang="0">
                    <a:pos x="10" y="39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29" y="0"/>
                  </a:cxn>
                  <a:cxn ang="0">
                    <a:pos x="49" y="0"/>
                  </a:cxn>
                  <a:cxn ang="0">
                    <a:pos x="78" y="0"/>
                  </a:cxn>
                  <a:cxn ang="0">
                    <a:pos x="97" y="10"/>
                  </a:cxn>
                  <a:cxn ang="0">
                    <a:pos x="107" y="20"/>
                  </a:cxn>
                  <a:cxn ang="0">
                    <a:pos x="97" y="30"/>
                  </a:cxn>
                  <a:cxn ang="0">
                    <a:pos x="127" y="39"/>
                  </a:cxn>
                  <a:cxn ang="0">
                    <a:pos x="127" y="49"/>
                  </a:cxn>
                  <a:cxn ang="0">
                    <a:pos x="127" y="59"/>
                  </a:cxn>
                  <a:cxn ang="0">
                    <a:pos x="156" y="59"/>
                  </a:cxn>
                  <a:cxn ang="0">
                    <a:pos x="156" y="69"/>
                  </a:cxn>
                  <a:cxn ang="0">
                    <a:pos x="175" y="78"/>
                  </a:cxn>
                  <a:cxn ang="0">
                    <a:pos x="175" y="88"/>
                  </a:cxn>
                  <a:cxn ang="0">
                    <a:pos x="175" y="98"/>
                  </a:cxn>
                  <a:cxn ang="0">
                    <a:pos x="156" y="108"/>
                  </a:cxn>
                  <a:cxn ang="0">
                    <a:pos x="146" y="117"/>
                  </a:cxn>
                  <a:cxn ang="0">
                    <a:pos x="127" y="127"/>
                  </a:cxn>
                  <a:cxn ang="0">
                    <a:pos x="107" y="117"/>
                  </a:cxn>
                  <a:cxn ang="0">
                    <a:pos x="97" y="108"/>
                  </a:cxn>
                  <a:cxn ang="0">
                    <a:pos x="78" y="117"/>
                  </a:cxn>
                  <a:cxn ang="0">
                    <a:pos x="49" y="117"/>
                  </a:cxn>
                  <a:cxn ang="0">
                    <a:pos x="39" y="117"/>
                  </a:cxn>
                  <a:cxn ang="0">
                    <a:pos x="39" y="98"/>
                  </a:cxn>
                </a:cxnLst>
                <a:rect l="0" t="0" r="r" b="b"/>
                <a:pathLst>
                  <a:path w="175" h="127">
                    <a:moveTo>
                      <a:pt x="39" y="98"/>
                    </a:moveTo>
                    <a:lnTo>
                      <a:pt x="39" y="69"/>
                    </a:lnTo>
                    <a:lnTo>
                      <a:pt x="29" y="59"/>
                    </a:lnTo>
                    <a:lnTo>
                      <a:pt x="10" y="39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29" y="0"/>
                    </a:lnTo>
                    <a:lnTo>
                      <a:pt x="49" y="0"/>
                    </a:lnTo>
                    <a:lnTo>
                      <a:pt x="78" y="0"/>
                    </a:lnTo>
                    <a:lnTo>
                      <a:pt x="97" y="10"/>
                    </a:lnTo>
                    <a:lnTo>
                      <a:pt x="107" y="20"/>
                    </a:lnTo>
                    <a:lnTo>
                      <a:pt x="97" y="30"/>
                    </a:lnTo>
                    <a:lnTo>
                      <a:pt x="127" y="39"/>
                    </a:lnTo>
                    <a:lnTo>
                      <a:pt x="127" y="49"/>
                    </a:lnTo>
                    <a:lnTo>
                      <a:pt x="127" y="59"/>
                    </a:lnTo>
                    <a:lnTo>
                      <a:pt x="156" y="59"/>
                    </a:lnTo>
                    <a:lnTo>
                      <a:pt x="156" y="69"/>
                    </a:lnTo>
                    <a:lnTo>
                      <a:pt x="175" y="78"/>
                    </a:lnTo>
                    <a:lnTo>
                      <a:pt x="175" y="88"/>
                    </a:lnTo>
                    <a:lnTo>
                      <a:pt x="175" y="98"/>
                    </a:lnTo>
                    <a:lnTo>
                      <a:pt x="156" y="108"/>
                    </a:lnTo>
                    <a:lnTo>
                      <a:pt x="146" y="117"/>
                    </a:lnTo>
                    <a:lnTo>
                      <a:pt x="127" y="127"/>
                    </a:lnTo>
                    <a:lnTo>
                      <a:pt x="107" y="117"/>
                    </a:lnTo>
                    <a:lnTo>
                      <a:pt x="97" y="108"/>
                    </a:lnTo>
                    <a:lnTo>
                      <a:pt x="78" y="117"/>
                    </a:lnTo>
                    <a:lnTo>
                      <a:pt x="49" y="117"/>
                    </a:lnTo>
                    <a:lnTo>
                      <a:pt x="39" y="117"/>
                    </a:lnTo>
                    <a:lnTo>
                      <a:pt x="39" y="98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97" name="Freeform 142"/>
            <p:cNvSpPr>
              <a:spLocks/>
            </p:cNvSpPr>
            <p:nvPr/>
          </p:nvSpPr>
          <p:spPr bwMode="auto">
            <a:xfrm>
              <a:off x="879" y="3093"/>
              <a:ext cx="155" cy="106"/>
            </a:xfrm>
            <a:custGeom>
              <a:avLst/>
              <a:gdLst>
                <a:gd name="T0" fmla="*/ 146 w 156"/>
                <a:gd name="T1" fmla="*/ 29 h 107"/>
                <a:gd name="T2" fmla="*/ 146 w 156"/>
                <a:gd name="T3" fmla="*/ 39 h 107"/>
                <a:gd name="T4" fmla="*/ 136 w 156"/>
                <a:gd name="T5" fmla="*/ 39 h 107"/>
                <a:gd name="T6" fmla="*/ 136 w 156"/>
                <a:gd name="T7" fmla="*/ 29 h 107"/>
                <a:gd name="T8" fmla="*/ 127 w 156"/>
                <a:gd name="T9" fmla="*/ 29 h 107"/>
                <a:gd name="T10" fmla="*/ 117 w 156"/>
                <a:gd name="T11" fmla="*/ 29 h 107"/>
                <a:gd name="T12" fmla="*/ 107 w 156"/>
                <a:gd name="T13" fmla="*/ 39 h 107"/>
                <a:gd name="T14" fmla="*/ 117 w 156"/>
                <a:gd name="T15" fmla="*/ 58 h 107"/>
                <a:gd name="T16" fmla="*/ 107 w 156"/>
                <a:gd name="T17" fmla="*/ 58 h 107"/>
                <a:gd name="T18" fmla="*/ 107 w 156"/>
                <a:gd name="T19" fmla="*/ 78 h 107"/>
                <a:gd name="T20" fmla="*/ 97 w 156"/>
                <a:gd name="T21" fmla="*/ 97 h 107"/>
                <a:gd name="T22" fmla="*/ 88 w 156"/>
                <a:gd name="T23" fmla="*/ 107 h 107"/>
                <a:gd name="T24" fmla="*/ 68 w 156"/>
                <a:gd name="T25" fmla="*/ 97 h 107"/>
                <a:gd name="T26" fmla="*/ 49 w 156"/>
                <a:gd name="T27" fmla="*/ 97 h 107"/>
                <a:gd name="T28" fmla="*/ 39 w 156"/>
                <a:gd name="T29" fmla="*/ 88 h 107"/>
                <a:gd name="T30" fmla="*/ 29 w 156"/>
                <a:gd name="T31" fmla="*/ 78 h 107"/>
                <a:gd name="T32" fmla="*/ 19 w 156"/>
                <a:gd name="T33" fmla="*/ 88 h 107"/>
                <a:gd name="T34" fmla="*/ 0 w 156"/>
                <a:gd name="T35" fmla="*/ 78 h 107"/>
                <a:gd name="T36" fmla="*/ 0 w 156"/>
                <a:gd name="T37" fmla="*/ 58 h 107"/>
                <a:gd name="T38" fmla="*/ 10 w 156"/>
                <a:gd name="T39" fmla="*/ 49 h 107"/>
                <a:gd name="T40" fmla="*/ 10 w 156"/>
                <a:gd name="T41" fmla="*/ 29 h 107"/>
                <a:gd name="T42" fmla="*/ 0 w 156"/>
                <a:gd name="T43" fmla="*/ 19 h 107"/>
                <a:gd name="T44" fmla="*/ 19 w 156"/>
                <a:gd name="T45" fmla="*/ 19 h 107"/>
                <a:gd name="T46" fmla="*/ 39 w 156"/>
                <a:gd name="T47" fmla="*/ 19 h 107"/>
                <a:gd name="T48" fmla="*/ 58 w 156"/>
                <a:gd name="T49" fmla="*/ 19 h 107"/>
                <a:gd name="T50" fmla="*/ 68 w 156"/>
                <a:gd name="T51" fmla="*/ 19 h 107"/>
                <a:gd name="T52" fmla="*/ 88 w 156"/>
                <a:gd name="T53" fmla="*/ 29 h 107"/>
                <a:gd name="T54" fmla="*/ 107 w 156"/>
                <a:gd name="T55" fmla="*/ 19 h 107"/>
                <a:gd name="T56" fmla="*/ 117 w 156"/>
                <a:gd name="T57" fmla="*/ 19 h 107"/>
                <a:gd name="T58" fmla="*/ 136 w 156"/>
                <a:gd name="T59" fmla="*/ 0 h 107"/>
                <a:gd name="T60" fmla="*/ 156 w 156"/>
                <a:gd name="T61" fmla="*/ 10 h 107"/>
                <a:gd name="T62" fmla="*/ 146 w 156"/>
                <a:gd name="T63" fmla="*/ 19 h 107"/>
                <a:gd name="T64" fmla="*/ 146 w 156"/>
                <a:gd name="T65" fmla="*/ 29 h 10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6"/>
                <a:gd name="T100" fmla="*/ 0 h 107"/>
                <a:gd name="T101" fmla="*/ 156 w 156"/>
                <a:gd name="T102" fmla="*/ 107 h 10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6" h="107">
                  <a:moveTo>
                    <a:pt x="146" y="29"/>
                  </a:moveTo>
                  <a:lnTo>
                    <a:pt x="146" y="39"/>
                  </a:lnTo>
                  <a:lnTo>
                    <a:pt x="136" y="39"/>
                  </a:lnTo>
                  <a:lnTo>
                    <a:pt x="136" y="29"/>
                  </a:lnTo>
                  <a:lnTo>
                    <a:pt x="127" y="29"/>
                  </a:lnTo>
                  <a:lnTo>
                    <a:pt x="117" y="29"/>
                  </a:lnTo>
                  <a:lnTo>
                    <a:pt x="107" y="39"/>
                  </a:lnTo>
                  <a:lnTo>
                    <a:pt x="117" y="58"/>
                  </a:lnTo>
                  <a:lnTo>
                    <a:pt x="107" y="58"/>
                  </a:lnTo>
                  <a:lnTo>
                    <a:pt x="107" y="78"/>
                  </a:lnTo>
                  <a:lnTo>
                    <a:pt x="97" y="97"/>
                  </a:lnTo>
                  <a:lnTo>
                    <a:pt x="88" y="107"/>
                  </a:lnTo>
                  <a:lnTo>
                    <a:pt x="68" y="97"/>
                  </a:lnTo>
                  <a:lnTo>
                    <a:pt x="49" y="97"/>
                  </a:lnTo>
                  <a:lnTo>
                    <a:pt x="39" y="88"/>
                  </a:lnTo>
                  <a:lnTo>
                    <a:pt x="29" y="78"/>
                  </a:lnTo>
                  <a:lnTo>
                    <a:pt x="19" y="88"/>
                  </a:lnTo>
                  <a:lnTo>
                    <a:pt x="0" y="78"/>
                  </a:lnTo>
                  <a:lnTo>
                    <a:pt x="0" y="58"/>
                  </a:lnTo>
                  <a:lnTo>
                    <a:pt x="10" y="49"/>
                  </a:lnTo>
                  <a:lnTo>
                    <a:pt x="10" y="29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9" y="19"/>
                  </a:lnTo>
                  <a:lnTo>
                    <a:pt x="58" y="19"/>
                  </a:lnTo>
                  <a:lnTo>
                    <a:pt x="68" y="19"/>
                  </a:lnTo>
                  <a:lnTo>
                    <a:pt x="88" y="29"/>
                  </a:lnTo>
                  <a:lnTo>
                    <a:pt x="107" y="19"/>
                  </a:lnTo>
                  <a:lnTo>
                    <a:pt x="117" y="19"/>
                  </a:lnTo>
                  <a:lnTo>
                    <a:pt x="136" y="0"/>
                  </a:lnTo>
                  <a:lnTo>
                    <a:pt x="156" y="10"/>
                  </a:lnTo>
                  <a:lnTo>
                    <a:pt x="146" y="19"/>
                  </a:lnTo>
                  <a:lnTo>
                    <a:pt x="146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198" name="Group 139"/>
            <p:cNvGrpSpPr>
              <a:grpSpLocks/>
            </p:cNvGrpSpPr>
            <p:nvPr/>
          </p:nvGrpSpPr>
          <p:grpSpPr bwMode="auto">
            <a:xfrm>
              <a:off x="878" y="3093"/>
              <a:ext cx="156" cy="107"/>
              <a:chOff x="878" y="3093"/>
              <a:chExt cx="156" cy="107"/>
            </a:xfrm>
          </p:grpSpPr>
          <p:sp>
            <p:nvSpPr>
              <p:cNvPr id="322" name="Freeform 141"/>
              <p:cNvSpPr>
                <a:spLocks/>
              </p:cNvSpPr>
              <p:nvPr/>
            </p:nvSpPr>
            <p:spPr bwMode="auto">
              <a:xfrm>
                <a:off x="879" y="3093"/>
                <a:ext cx="157" cy="106"/>
              </a:xfrm>
              <a:custGeom>
                <a:avLst/>
                <a:gdLst>
                  <a:gd name="T0" fmla="*/ 146 w 156"/>
                  <a:gd name="T1" fmla="*/ 39 h 107"/>
                  <a:gd name="T2" fmla="*/ 136 w 156"/>
                  <a:gd name="T3" fmla="*/ 39 h 107"/>
                  <a:gd name="T4" fmla="*/ 136 w 156"/>
                  <a:gd name="T5" fmla="*/ 39 h 107"/>
                  <a:gd name="T6" fmla="*/ 136 w 156"/>
                  <a:gd name="T7" fmla="*/ 29 h 107"/>
                  <a:gd name="T8" fmla="*/ 127 w 156"/>
                  <a:gd name="T9" fmla="*/ 29 h 107"/>
                  <a:gd name="T10" fmla="*/ 117 w 156"/>
                  <a:gd name="T11" fmla="*/ 39 h 107"/>
                  <a:gd name="T12" fmla="*/ 107 w 156"/>
                  <a:gd name="T13" fmla="*/ 39 h 107"/>
                  <a:gd name="T14" fmla="*/ 117 w 156"/>
                  <a:gd name="T15" fmla="*/ 58 h 107"/>
                  <a:gd name="T16" fmla="*/ 107 w 156"/>
                  <a:gd name="T17" fmla="*/ 58 h 107"/>
                  <a:gd name="T18" fmla="*/ 107 w 156"/>
                  <a:gd name="T19" fmla="*/ 78 h 107"/>
                  <a:gd name="T20" fmla="*/ 97 w 156"/>
                  <a:gd name="T21" fmla="*/ 97 h 107"/>
                  <a:gd name="T22" fmla="*/ 88 w 156"/>
                  <a:gd name="T23" fmla="*/ 107 h 107"/>
                  <a:gd name="T24" fmla="*/ 68 w 156"/>
                  <a:gd name="T25" fmla="*/ 97 h 107"/>
                  <a:gd name="T26" fmla="*/ 49 w 156"/>
                  <a:gd name="T27" fmla="*/ 97 h 107"/>
                  <a:gd name="T28" fmla="*/ 39 w 156"/>
                  <a:gd name="T29" fmla="*/ 88 h 107"/>
                  <a:gd name="T30" fmla="*/ 29 w 156"/>
                  <a:gd name="T31" fmla="*/ 78 h 107"/>
                  <a:gd name="T32" fmla="*/ 19 w 156"/>
                  <a:gd name="T33" fmla="*/ 88 h 107"/>
                  <a:gd name="T34" fmla="*/ 0 w 156"/>
                  <a:gd name="T35" fmla="*/ 78 h 107"/>
                  <a:gd name="T36" fmla="*/ 0 w 156"/>
                  <a:gd name="T37" fmla="*/ 58 h 107"/>
                  <a:gd name="T38" fmla="*/ 10 w 156"/>
                  <a:gd name="T39" fmla="*/ 49 h 107"/>
                  <a:gd name="T40" fmla="*/ 10 w 156"/>
                  <a:gd name="T41" fmla="*/ 29 h 107"/>
                  <a:gd name="T42" fmla="*/ 0 w 156"/>
                  <a:gd name="T43" fmla="*/ 19 h 107"/>
                  <a:gd name="T44" fmla="*/ 19 w 156"/>
                  <a:gd name="T45" fmla="*/ 19 h 107"/>
                  <a:gd name="T46" fmla="*/ 39 w 156"/>
                  <a:gd name="T47" fmla="*/ 19 h 107"/>
                  <a:gd name="T48" fmla="*/ 58 w 156"/>
                  <a:gd name="T49" fmla="*/ 19 h 107"/>
                  <a:gd name="T50" fmla="*/ 68 w 156"/>
                  <a:gd name="T51" fmla="*/ 19 h 107"/>
                  <a:gd name="T52" fmla="*/ 88 w 156"/>
                  <a:gd name="T53" fmla="*/ 29 h 107"/>
                  <a:gd name="T54" fmla="*/ 107 w 156"/>
                  <a:gd name="T55" fmla="*/ 19 h 107"/>
                  <a:gd name="T56" fmla="*/ 117 w 156"/>
                  <a:gd name="T57" fmla="*/ 19 h 107"/>
                  <a:gd name="T58" fmla="*/ 136 w 156"/>
                  <a:gd name="T59" fmla="*/ 0 h 107"/>
                  <a:gd name="T60" fmla="*/ 156 w 156"/>
                  <a:gd name="T61" fmla="*/ 10 h 107"/>
                  <a:gd name="T62" fmla="*/ 146 w 156"/>
                  <a:gd name="T63" fmla="*/ 19 h 107"/>
                  <a:gd name="T64" fmla="*/ 146 w 156"/>
                  <a:gd name="T65" fmla="*/ 39 h 10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56"/>
                  <a:gd name="T100" fmla="*/ 0 h 107"/>
                  <a:gd name="T101" fmla="*/ 156 w 156"/>
                  <a:gd name="T102" fmla="*/ 107 h 10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  <a:lnTo>
                      <a:pt x="146" y="39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3" name="Freeform 140"/>
              <p:cNvSpPr>
                <a:spLocks/>
              </p:cNvSpPr>
              <p:nvPr/>
            </p:nvSpPr>
            <p:spPr bwMode="auto">
              <a:xfrm>
                <a:off x="879" y="3093"/>
                <a:ext cx="157" cy="106"/>
              </a:xfrm>
              <a:custGeom>
                <a:avLst/>
                <a:gdLst/>
                <a:ahLst/>
                <a:cxnLst>
                  <a:cxn ang="0">
                    <a:pos x="146" y="39"/>
                  </a:cxn>
                  <a:cxn ang="0">
                    <a:pos x="136" y="39"/>
                  </a:cxn>
                  <a:cxn ang="0">
                    <a:pos x="136" y="39"/>
                  </a:cxn>
                  <a:cxn ang="0">
                    <a:pos x="136" y="29"/>
                  </a:cxn>
                  <a:cxn ang="0">
                    <a:pos x="127" y="29"/>
                  </a:cxn>
                  <a:cxn ang="0">
                    <a:pos x="117" y="39"/>
                  </a:cxn>
                  <a:cxn ang="0">
                    <a:pos x="107" y="39"/>
                  </a:cxn>
                  <a:cxn ang="0">
                    <a:pos x="117" y="58"/>
                  </a:cxn>
                  <a:cxn ang="0">
                    <a:pos x="107" y="58"/>
                  </a:cxn>
                  <a:cxn ang="0">
                    <a:pos x="107" y="78"/>
                  </a:cxn>
                  <a:cxn ang="0">
                    <a:pos x="97" y="97"/>
                  </a:cxn>
                  <a:cxn ang="0">
                    <a:pos x="88" y="107"/>
                  </a:cxn>
                  <a:cxn ang="0">
                    <a:pos x="68" y="97"/>
                  </a:cxn>
                  <a:cxn ang="0">
                    <a:pos x="49" y="97"/>
                  </a:cxn>
                  <a:cxn ang="0">
                    <a:pos x="39" y="88"/>
                  </a:cxn>
                  <a:cxn ang="0">
                    <a:pos x="29" y="78"/>
                  </a:cxn>
                  <a:cxn ang="0">
                    <a:pos x="19" y="88"/>
                  </a:cxn>
                  <a:cxn ang="0">
                    <a:pos x="0" y="78"/>
                  </a:cxn>
                  <a:cxn ang="0">
                    <a:pos x="0" y="58"/>
                  </a:cxn>
                  <a:cxn ang="0">
                    <a:pos x="10" y="49"/>
                  </a:cxn>
                  <a:cxn ang="0">
                    <a:pos x="10" y="29"/>
                  </a:cxn>
                  <a:cxn ang="0">
                    <a:pos x="0" y="19"/>
                  </a:cxn>
                  <a:cxn ang="0">
                    <a:pos x="19" y="19"/>
                  </a:cxn>
                  <a:cxn ang="0">
                    <a:pos x="39" y="19"/>
                  </a:cxn>
                  <a:cxn ang="0">
                    <a:pos x="58" y="19"/>
                  </a:cxn>
                  <a:cxn ang="0">
                    <a:pos x="68" y="19"/>
                  </a:cxn>
                  <a:cxn ang="0">
                    <a:pos x="88" y="29"/>
                  </a:cxn>
                  <a:cxn ang="0">
                    <a:pos x="107" y="19"/>
                  </a:cxn>
                  <a:cxn ang="0">
                    <a:pos x="117" y="19"/>
                  </a:cxn>
                  <a:cxn ang="0">
                    <a:pos x="136" y="0"/>
                  </a:cxn>
                  <a:cxn ang="0">
                    <a:pos x="156" y="10"/>
                  </a:cxn>
                  <a:cxn ang="0">
                    <a:pos x="146" y="19"/>
                  </a:cxn>
                </a:cxnLst>
                <a:rect l="0" t="0" r="r" b="b"/>
                <a:pathLst>
                  <a:path w="156" h="107">
                    <a:moveTo>
                      <a:pt x="146" y="39"/>
                    </a:moveTo>
                    <a:lnTo>
                      <a:pt x="136" y="39"/>
                    </a:lnTo>
                    <a:lnTo>
                      <a:pt x="136" y="29"/>
                    </a:lnTo>
                    <a:lnTo>
                      <a:pt x="127" y="29"/>
                    </a:lnTo>
                    <a:lnTo>
                      <a:pt x="117" y="39"/>
                    </a:lnTo>
                    <a:lnTo>
                      <a:pt x="107" y="39"/>
                    </a:lnTo>
                    <a:lnTo>
                      <a:pt x="117" y="58"/>
                    </a:lnTo>
                    <a:lnTo>
                      <a:pt x="107" y="58"/>
                    </a:lnTo>
                    <a:lnTo>
                      <a:pt x="107" y="78"/>
                    </a:lnTo>
                    <a:lnTo>
                      <a:pt x="97" y="97"/>
                    </a:lnTo>
                    <a:lnTo>
                      <a:pt x="88" y="107"/>
                    </a:lnTo>
                    <a:lnTo>
                      <a:pt x="68" y="97"/>
                    </a:lnTo>
                    <a:lnTo>
                      <a:pt x="49" y="97"/>
                    </a:lnTo>
                    <a:lnTo>
                      <a:pt x="39" y="88"/>
                    </a:lnTo>
                    <a:lnTo>
                      <a:pt x="29" y="78"/>
                    </a:lnTo>
                    <a:lnTo>
                      <a:pt x="19" y="88"/>
                    </a:lnTo>
                    <a:lnTo>
                      <a:pt x="0" y="78"/>
                    </a:lnTo>
                    <a:lnTo>
                      <a:pt x="0" y="58"/>
                    </a:lnTo>
                    <a:lnTo>
                      <a:pt x="10" y="49"/>
                    </a:lnTo>
                    <a:lnTo>
                      <a:pt x="10" y="29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9" y="19"/>
                    </a:lnTo>
                    <a:lnTo>
                      <a:pt x="58" y="19"/>
                    </a:lnTo>
                    <a:lnTo>
                      <a:pt x="68" y="19"/>
                    </a:lnTo>
                    <a:lnTo>
                      <a:pt x="88" y="29"/>
                    </a:lnTo>
                    <a:lnTo>
                      <a:pt x="107" y="19"/>
                    </a:lnTo>
                    <a:lnTo>
                      <a:pt x="117" y="19"/>
                    </a:lnTo>
                    <a:lnTo>
                      <a:pt x="136" y="0"/>
                    </a:lnTo>
                    <a:lnTo>
                      <a:pt x="156" y="10"/>
                    </a:lnTo>
                    <a:lnTo>
                      <a:pt x="146" y="19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99" name="Freeform 138"/>
            <p:cNvSpPr>
              <a:spLocks/>
            </p:cNvSpPr>
            <p:nvPr/>
          </p:nvSpPr>
          <p:spPr bwMode="auto">
            <a:xfrm>
              <a:off x="937" y="3122"/>
              <a:ext cx="97" cy="118"/>
            </a:xfrm>
            <a:custGeom>
              <a:avLst/>
              <a:gdLst>
                <a:gd name="T0" fmla="*/ 30 w 98"/>
                <a:gd name="T1" fmla="*/ 117 h 117"/>
                <a:gd name="T2" fmla="*/ 59 w 98"/>
                <a:gd name="T3" fmla="*/ 107 h 117"/>
                <a:gd name="T4" fmla="*/ 78 w 98"/>
                <a:gd name="T5" fmla="*/ 78 h 117"/>
                <a:gd name="T6" fmla="*/ 98 w 98"/>
                <a:gd name="T7" fmla="*/ 49 h 117"/>
                <a:gd name="T8" fmla="*/ 98 w 98"/>
                <a:gd name="T9" fmla="*/ 20 h 117"/>
                <a:gd name="T10" fmla="*/ 88 w 98"/>
                <a:gd name="T11" fmla="*/ 0 h 117"/>
                <a:gd name="T12" fmla="*/ 88 w 98"/>
                <a:gd name="T13" fmla="*/ 10 h 117"/>
                <a:gd name="T14" fmla="*/ 78 w 98"/>
                <a:gd name="T15" fmla="*/ 10 h 117"/>
                <a:gd name="T16" fmla="*/ 78 w 98"/>
                <a:gd name="T17" fmla="*/ 0 h 117"/>
                <a:gd name="T18" fmla="*/ 69 w 98"/>
                <a:gd name="T19" fmla="*/ 0 h 117"/>
                <a:gd name="T20" fmla="*/ 59 w 98"/>
                <a:gd name="T21" fmla="*/ 0 h 117"/>
                <a:gd name="T22" fmla="*/ 49 w 98"/>
                <a:gd name="T23" fmla="*/ 10 h 117"/>
                <a:gd name="T24" fmla="*/ 59 w 98"/>
                <a:gd name="T25" fmla="*/ 20 h 117"/>
                <a:gd name="T26" fmla="*/ 49 w 98"/>
                <a:gd name="T27" fmla="*/ 29 h 117"/>
                <a:gd name="T28" fmla="*/ 49 w 98"/>
                <a:gd name="T29" fmla="*/ 49 h 117"/>
                <a:gd name="T30" fmla="*/ 39 w 98"/>
                <a:gd name="T31" fmla="*/ 68 h 117"/>
                <a:gd name="T32" fmla="*/ 30 w 98"/>
                <a:gd name="T33" fmla="*/ 78 h 117"/>
                <a:gd name="T34" fmla="*/ 10 w 98"/>
                <a:gd name="T35" fmla="*/ 68 h 117"/>
                <a:gd name="T36" fmla="*/ 0 w 98"/>
                <a:gd name="T37" fmla="*/ 78 h 117"/>
                <a:gd name="T38" fmla="*/ 10 w 98"/>
                <a:gd name="T39" fmla="*/ 88 h 117"/>
                <a:gd name="T40" fmla="*/ 30 w 98"/>
                <a:gd name="T41" fmla="*/ 107 h 117"/>
                <a:gd name="T42" fmla="*/ 30 w 98"/>
                <a:gd name="T43" fmla="*/ 117 h 1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8"/>
                <a:gd name="T67" fmla="*/ 0 h 117"/>
                <a:gd name="T68" fmla="*/ 98 w 98"/>
                <a:gd name="T69" fmla="*/ 117 h 1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8" h="117">
                  <a:moveTo>
                    <a:pt x="30" y="117"/>
                  </a:moveTo>
                  <a:lnTo>
                    <a:pt x="59" y="107"/>
                  </a:lnTo>
                  <a:lnTo>
                    <a:pt x="78" y="78"/>
                  </a:lnTo>
                  <a:lnTo>
                    <a:pt x="98" y="49"/>
                  </a:lnTo>
                  <a:lnTo>
                    <a:pt x="98" y="20"/>
                  </a:lnTo>
                  <a:lnTo>
                    <a:pt x="88" y="0"/>
                  </a:lnTo>
                  <a:lnTo>
                    <a:pt x="88" y="10"/>
                  </a:lnTo>
                  <a:lnTo>
                    <a:pt x="78" y="10"/>
                  </a:lnTo>
                  <a:lnTo>
                    <a:pt x="78" y="0"/>
                  </a:lnTo>
                  <a:lnTo>
                    <a:pt x="69" y="0"/>
                  </a:lnTo>
                  <a:lnTo>
                    <a:pt x="59" y="0"/>
                  </a:lnTo>
                  <a:lnTo>
                    <a:pt x="49" y="10"/>
                  </a:lnTo>
                  <a:lnTo>
                    <a:pt x="59" y="20"/>
                  </a:lnTo>
                  <a:lnTo>
                    <a:pt x="49" y="29"/>
                  </a:lnTo>
                  <a:lnTo>
                    <a:pt x="49" y="49"/>
                  </a:lnTo>
                  <a:lnTo>
                    <a:pt x="39" y="68"/>
                  </a:lnTo>
                  <a:lnTo>
                    <a:pt x="30" y="7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10" y="88"/>
                  </a:lnTo>
                  <a:lnTo>
                    <a:pt x="30" y="107"/>
                  </a:lnTo>
                  <a:lnTo>
                    <a:pt x="30" y="11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00" name="Group 135"/>
            <p:cNvGrpSpPr>
              <a:grpSpLocks/>
            </p:cNvGrpSpPr>
            <p:nvPr/>
          </p:nvGrpSpPr>
          <p:grpSpPr bwMode="auto">
            <a:xfrm>
              <a:off x="936" y="3122"/>
              <a:ext cx="98" cy="117"/>
              <a:chOff x="936" y="3122"/>
              <a:chExt cx="98" cy="117"/>
            </a:xfrm>
          </p:grpSpPr>
          <p:sp>
            <p:nvSpPr>
              <p:cNvPr id="320" name="Freeform 137"/>
              <p:cNvSpPr>
                <a:spLocks/>
              </p:cNvSpPr>
              <p:nvPr/>
            </p:nvSpPr>
            <p:spPr bwMode="auto">
              <a:xfrm>
                <a:off x="937" y="3122"/>
                <a:ext cx="99" cy="118"/>
              </a:xfrm>
              <a:custGeom>
                <a:avLst/>
                <a:gdLst>
                  <a:gd name="T0" fmla="*/ 30 w 98"/>
                  <a:gd name="T1" fmla="*/ 117 h 117"/>
                  <a:gd name="T2" fmla="*/ 59 w 98"/>
                  <a:gd name="T3" fmla="*/ 107 h 117"/>
                  <a:gd name="T4" fmla="*/ 78 w 98"/>
                  <a:gd name="T5" fmla="*/ 78 h 117"/>
                  <a:gd name="T6" fmla="*/ 98 w 98"/>
                  <a:gd name="T7" fmla="*/ 49 h 117"/>
                  <a:gd name="T8" fmla="*/ 98 w 98"/>
                  <a:gd name="T9" fmla="*/ 20 h 117"/>
                  <a:gd name="T10" fmla="*/ 88 w 98"/>
                  <a:gd name="T11" fmla="*/ 0 h 117"/>
                  <a:gd name="T12" fmla="*/ 88 w 98"/>
                  <a:gd name="T13" fmla="*/ 10 h 117"/>
                  <a:gd name="T14" fmla="*/ 78 w 98"/>
                  <a:gd name="T15" fmla="*/ 10 h 117"/>
                  <a:gd name="T16" fmla="*/ 78 w 98"/>
                  <a:gd name="T17" fmla="*/ 0 h 117"/>
                  <a:gd name="T18" fmla="*/ 69 w 98"/>
                  <a:gd name="T19" fmla="*/ 0 h 117"/>
                  <a:gd name="T20" fmla="*/ 59 w 98"/>
                  <a:gd name="T21" fmla="*/ 0 h 117"/>
                  <a:gd name="T22" fmla="*/ 49 w 98"/>
                  <a:gd name="T23" fmla="*/ 10 h 117"/>
                  <a:gd name="T24" fmla="*/ 59 w 98"/>
                  <a:gd name="T25" fmla="*/ 20 h 117"/>
                  <a:gd name="T26" fmla="*/ 49 w 98"/>
                  <a:gd name="T27" fmla="*/ 29 h 117"/>
                  <a:gd name="T28" fmla="*/ 49 w 98"/>
                  <a:gd name="T29" fmla="*/ 49 h 117"/>
                  <a:gd name="T30" fmla="*/ 49 w 98"/>
                  <a:gd name="T31" fmla="*/ 68 h 117"/>
                  <a:gd name="T32" fmla="*/ 30 w 98"/>
                  <a:gd name="T33" fmla="*/ 78 h 117"/>
                  <a:gd name="T34" fmla="*/ 10 w 98"/>
                  <a:gd name="T35" fmla="*/ 68 h 117"/>
                  <a:gd name="T36" fmla="*/ 0 w 98"/>
                  <a:gd name="T37" fmla="*/ 78 h 117"/>
                  <a:gd name="T38" fmla="*/ 10 w 98"/>
                  <a:gd name="T39" fmla="*/ 88 h 117"/>
                  <a:gd name="T40" fmla="*/ 30 w 98"/>
                  <a:gd name="T41" fmla="*/ 98 h 117"/>
                  <a:gd name="T42" fmla="*/ 30 w 98"/>
                  <a:gd name="T43" fmla="*/ 117 h 11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8"/>
                  <a:gd name="T67" fmla="*/ 0 h 117"/>
                  <a:gd name="T68" fmla="*/ 98 w 98"/>
                  <a:gd name="T69" fmla="*/ 117 h 117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  <a:close/>
                  </a:path>
                </a:pathLst>
              </a:custGeom>
              <a:solidFill>
                <a:srgbClr val="E4481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1" name="Freeform 136"/>
              <p:cNvSpPr>
                <a:spLocks/>
              </p:cNvSpPr>
              <p:nvPr/>
            </p:nvSpPr>
            <p:spPr bwMode="auto">
              <a:xfrm>
                <a:off x="937" y="3122"/>
                <a:ext cx="99" cy="118"/>
              </a:xfrm>
              <a:custGeom>
                <a:avLst/>
                <a:gdLst/>
                <a:ahLst/>
                <a:cxnLst>
                  <a:cxn ang="0">
                    <a:pos x="30" y="117"/>
                  </a:cxn>
                  <a:cxn ang="0">
                    <a:pos x="59" y="107"/>
                  </a:cxn>
                  <a:cxn ang="0">
                    <a:pos x="78" y="78"/>
                  </a:cxn>
                  <a:cxn ang="0">
                    <a:pos x="98" y="49"/>
                  </a:cxn>
                  <a:cxn ang="0">
                    <a:pos x="98" y="20"/>
                  </a:cxn>
                  <a:cxn ang="0">
                    <a:pos x="88" y="0"/>
                  </a:cxn>
                  <a:cxn ang="0">
                    <a:pos x="88" y="10"/>
                  </a:cxn>
                  <a:cxn ang="0">
                    <a:pos x="78" y="10"/>
                  </a:cxn>
                  <a:cxn ang="0">
                    <a:pos x="78" y="0"/>
                  </a:cxn>
                  <a:cxn ang="0">
                    <a:pos x="69" y="0"/>
                  </a:cxn>
                  <a:cxn ang="0">
                    <a:pos x="59" y="0"/>
                  </a:cxn>
                  <a:cxn ang="0">
                    <a:pos x="49" y="10"/>
                  </a:cxn>
                  <a:cxn ang="0">
                    <a:pos x="59" y="20"/>
                  </a:cxn>
                  <a:cxn ang="0">
                    <a:pos x="49" y="29"/>
                  </a:cxn>
                  <a:cxn ang="0">
                    <a:pos x="49" y="49"/>
                  </a:cxn>
                  <a:cxn ang="0">
                    <a:pos x="49" y="68"/>
                  </a:cxn>
                  <a:cxn ang="0">
                    <a:pos x="30" y="78"/>
                  </a:cxn>
                  <a:cxn ang="0">
                    <a:pos x="10" y="68"/>
                  </a:cxn>
                  <a:cxn ang="0">
                    <a:pos x="0" y="78"/>
                  </a:cxn>
                  <a:cxn ang="0">
                    <a:pos x="10" y="88"/>
                  </a:cxn>
                  <a:cxn ang="0">
                    <a:pos x="30" y="98"/>
                  </a:cxn>
                  <a:cxn ang="0">
                    <a:pos x="30" y="117"/>
                  </a:cxn>
                </a:cxnLst>
                <a:rect l="0" t="0" r="r" b="b"/>
                <a:pathLst>
                  <a:path w="98" h="117">
                    <a:moveTo>
                      <a:pt x="30" y="117"/>
                    </a:moveTo>
                    <a:lnTo>
                      <a:pt x="59" y="107"/>
                    </a:lnTo>
                    <a:lnTo>
                      <a:pt x="78" y="78"/>
                    </a:lnTo>
                    <a:lnTo>
                      <a:pt x="98" y="49"/>
                    </a:lnTo>
                    <a:lnTo>
                      <a:pt x="98" y="20"/>
                    </a:lnTo>
                    <a:lnTo>
                      <a:pt x="88" y="0"/>
                    </a:lnTo>
                    <a:lnTo>
                      <a:pt x="88" y="10"/>
                    </a:lnTo>
                    <a:lnTo>
                      <a:pt x="78" y="10"/>
                    </a:lnTo>
                    <a:lnTo>
                      <a:pt x="78" y="0"/>
                    </a:lnTo>
                    <a:lnTo>
                      <a:pt x="69" y="0"/>
                    </a:lnTo>
                    <a:lnTo>
                      <a:pt x="59" y="0"/>
                    </a:lnTo>
                    <a:lnTo>
                      <a:pt x="49" y="10"/>
                    </a:lnTo>
                    <a:lnTo>
                      <a:pt x="59" y="20"/>
                    </a:lnTo>
                    <a:lnTo>
                      <a:pt x="49" y="29"/>
                    </a:lnTo>
                    <a:lnTo>
                      <a:pt x="49" y="49"/>
                    </a:lnTo>
                    <a:lnTo>
                      <a:pt x="49" y="68"/>
                    </a:lnTo>
                    <a:lnTo>
                      <a:pt x="30" y="78"/>
                    </a:lnTo>
                    <a:lnTo>
                      <a:pt x="10" y="68"/>
                    </a:lnTo>
                    <a:lnTo>
                      <a:pt x="0" y="78"/>
                    </a:lnTo>
                    <a:lnTo>
                      <a:pt x="10" y="88"/>
                    </a:lnTo>
                    <a:lnTo>
                      <a:pt x="30" y="98"/>
                    </a:lnTo>
                    <a:lnTo>
                      <a:pt x="30" y="117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01" name="Freeform 134"/>
            <p:cNvSpPr>
              <a:spLocks/>
            </p:cNvSpPr>
            <p:nvPr/>
          </p:nvSpPr>
          <p:spPr bwMode="auto">
            <a:xfrm>
              <a:off x="966" y="3122"/>
              <a:ext cx="174" cy="179"/>
            </a:xfrm>
            <a:custGeom>
              <a:avLst/>
              <a:gdLst>
                <a:gd name="T0" fmla="*/ 68 w 175"/>
                <a:gd name="T1" fmla="*/ 20 h 176"/>
                <a:gd name="T2" fmla="*/ 68 w 175"/>
                <a:gd name="T3" fmla="*/ 49 h 176"/>
                <a:gd name="T4" fmla="*/ 48 w 175"/>
                <a:gd name="T5" fmla="*/ 78 h 176"/>
                <a:gd name="T6" fmla="*/ 29 w 175"/>
                <a:gd name="T7" fmla="*/ 107 h 176"/>
                <a:gd name="T8" fmla="*/ 0 w 175"/>
                <a:gd name="T9" fmla="*/ 117 h 176"/>
                <a:gd name="T10" fmla="*/ 0 w 175"/>
                <a:gd name="T11" fmla="*/ 137 h 176"/>
                <a:gd name="T12" fmla="*/ 19 w 175"/>
                <a:gd name="T13" fmla="*/ 156 h 176"/>
                <a:gd name="T14" fmla="*/ 39 w 175"/>
                <a:gd name="T15" fmla="*/ 166 h 176"/>
                <a:gd name="T16" fmla="*/ 58 w 175"/>
                <a:gd name="T17" fmla="*/ 156 h 176"/>
                <a:gd name="T18" fmla="*/ 68 w 175"/>
                <a:gd name="T19" fmla="*/ 147 h 176"/>
                <a:gd name="T20" fmla="*/ 68 w 175"/>
                <a:gd name="T21" fmla="*/ 156 h 176"/>
                <a:gd name="T22" fmla="*/ 78 w 175"/>
                <a:gd name="T23" fmla="*/ 176 h 176"/>
                <a:gd name="T24" fmla="*/ 87 w 175"/>
                <a:gd name="T25" fmla="*/ 176 h 176"/>
                <a:gd name="T26" fmla="*/ 97 w 175"/>
                <a:gd name="T27" fmla="*/ 166 h 176"/>
                <a:gd name="T28" fmla="*/ 117 w 175"/>
                <a:gd name="T29" fmla="*/ 156 h 176"/>
                <a:gd name="T30" fmla="*/ 107 w 175"/>
                <a:gd name="T31" fmla="*/ 137 h 176"/>
                <a:gd name="T32" fmla="*/ 117 w 175"/>
                <a:gd name="T33" fmla="*/ 127 h 176"/>
                <a:gd name="T34" fmla="*/ 117 w 175"/>
                <a:gd name="T35" fmla="*/ 117 h 176"/>
                <a:gd name="T36" fmla="*/ 126 w 175"/>
                <a:gd name="T37" fmla="*/ 127 h 176"/>
                <a:gd name="T38" fmla="*/ 156 w 175"/>
                <a:gd name="T39" fmla="*/ 117 h 176"/>
                <a:gd name="T40" fmla="*/ 165 w 175"/>
                <a:gd name="T41" fmla="*/ 117 h 176"/>
                <a:gd name="T42" fmla="*/ 175 w 175"/>
                <a:gd name="T43" fmla="*/ 107 h 176"/>
                <a:gd name="T44" fmla="*/ 175 w 175"/>
                <a:gd name="T45" fmla="*/ 88 h 176"/>
                <a:gd name="T46" fmla="*/ 165 w 175"/>
                <a:gd name="T47" fmla="*/ 88 h 176"/>
                <a:gd name="T48" fmla="*/ 146 w 175"/>
                <a:gd name="T49" fmla="*/ 88 h 176"/>
                <a:gd name="T50" fmla="*/ 136 w 175"/>
                <a:gd name="T51" fmla="*/ 78 h 176"/>
                <a:gd name="T52" fmla="*/ 146 w 175"/>
                <a:gd name="T53" fmla="*/ 59 h 176"/>
                <a:gd name="T54" fmla="*/ 146 w 175"/>
                <a:gd name="T55" fmla="*/ 49 h 176"/>
                <a:gd name="T56" fmla="*/ 126 w 175"/>
                <a:gd name="T57" fmla="*/ 49 h 176"/>
                <a:gd name="T58" fmla="*/ 126 w 175"/>
                <a:gd name="T59" fmla="*/ 39 h 176"/>
                <a:gd name="T60" fmla="*/ 126 w 175"/>
                <a:gd name="T61" fmla="*/ 29 h 176"/>
                <a:gd name="T62" fmla="*/ 107 w 175"/>
                <a:gd name="T63" fmla="*/ 39 h 176"/>
                <a:gd name="T64" fmla="*/ 97 w 175"/>
                <a:gd name="T65" fmla="*/ 29 h 176"/>
                <a:gd name="T66" fmla="*/ 97 w 175"/>
                <a:gd name="T67" fmla="*/ 10 h 176"/>
                <a:gd name="T68" fmla="*/ 97 w 175"/>
                <a:gd name="T69" fmla="*/ 0 h 176"/>
                <a:gd name="T70" fmla="*/ 68 w 175"/>
                <a:gd name="T71" fmla="*/ 20 h 17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5"/>
                <a:gd name="T109" fmla="*/ 0 h 176"/>
                <a:gd name="T110" fmla="*/ 175 w 175"/>
                <a:gd name="T111" fmla="*/ 176 h 17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5" h="176">
                  <a:moveTo>
                    <a:pt x="68" y="20"/>
                  </a:moveTo>
                  <a:lnTo>
                    <a:pt x="68" y="49"/>
                  </a:lnTo>
                  <a:lnTo>
                    <a:pt x="48" y="78"/>
                  </a:lnTo>
                  <a:lnTo>
                    <a:pt x="29" y="107"/>
                  </a:lnTo>
                  <a:lnTo>
                    <a:pt x="0" y="117"/>
                  </a:lnTo>
                  <a:lnTo>
                    <a:pt x="0" y="137"/>
                  </a:lnTo>
                  <a:lnTo>
                    <a:pt x="19" y="156"/>
                  </a:lnTo>
                  <a:lnTo>
                    <a:pt x="39" y="166"/>
                  </a:lnTo>
                  <a:lnTo>
                    <a:pt x="58" y="156"/>
                  </a:lnTo>
                  <a:lnTo>
                    <a:pt x="68" y="147"/>
                  </a:lnTo>
                  <a:lnTo>
                    <a:pt x="68" y="156"/>
                  </a:lnTo>
                  <a:lnTo>
                    <a:pt x="78" y="176"/>
                  </a:lnTo>
                  <a:lnTo>
                    <a:pt x="87" y="176"/>
                  </a:lnTo>
                  <a:lnTo>
                    <a:pt x="97" y="166"/>
                  </a:lnTo>
                  <a:lnTo>
                    <a:pt x="117" y="156"/>
                  </a:lnTo>
                  <a:lnTo>
                    <a:pt x="107" y="137"/>
                  </a:lnTo>
                  <a:lnTo>
                    <a:pt x="117" y="127"/>
                  </a:lnTo>
                  <a:lnTo>
                    <a:pt x="117" y="117"/>
                  </a:lnTo>
                  <a:lnTo>
                    <a:pt x="126" y="127"/>
                  </a:lnTo>
                  <a:lnTo>
                    <a:pt x="156" y="117"/>
                  </a:lnTo>
                  <a:lnTo>
                    <a:pt x="165" y="117"/>
                  </a:lnTo>
                  <a:lnTo>
                    <a:pt x="175" y="107"/>
                  </a:lnTo>
                  <a:lnTo>
                    <a:pt x="175" y="88"/>
                  </a:lnTo>
                  <a:lnTo>
                    <a:pt x="165" y="88"/>
                  </a:lnTo>
                  <a:lnTo>
                    <a:pt x="146" y="88"/>
                  </a:lnTo>
                  <a:lnTo>
                    <a:pt x="136" y="78"/>
                  </a:lnTo>
                  <a:lnTo>
                    <a:pt x="146" y="59"/>
                  </a:lnTo>
                  <a:lnTo>
                    <a:pt x="146" y="49"/>
                  </a:lnTo>
                  <a:lnTo>
                    <a:pt x="126" y="49"/>
                  </a:lnTo>
                  <a:lnTo>
                    <a:pt x="126" y="39"/>
                  </a:lnTo>
                  <a:lnTo>
                    <a:pt x="126" y="29"/>
                  </a:lnTo>
                  <a:lnTo>
                    <a:pt x="107" y="39"/>
                  </a:lnTo>
                  <a:lnTo>
                    <a:pt x="97" y="29"/>
                  </a:lnTo>
                  <a:lnTo>
                    <a:pt x="97" y="10"/>
                  </a:lnTo>
                  <a:lnTo>
                    <a:pt x="97" y="0"/>
                  </a:lnTo>
                  <a:lnTo>
                    <a:pt x="68" y="2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02" name="Group 131"/>
            <p:cNvGrpSpPr>
              <a:grpSpLocks/>
            </p:cNvGrpSpPr>
            <p:nvPr/>
          </p:nvGrpSpPr>
          <p:grpSpPr bwMode="auto">
            <a:xfrm>
              <a:off x="966" y="3122"/>
              <a:ext cx="175" cy="176"/>
              <a:chOff x="966" y="3122"/>
              <a:chExt cx="175" cy="176"/>
            </a:xfrm>
          </p:grpSpPr>
          <p:sp>
            <p:nvSpPr>
              <p:cNvPr id="318" name="Freeform 133"/>
              <p:cNvSpPr>
                <a:spLocks/>
              </p:cNvSpPr>
              <p:nvPr/>
            </p:nvSpPr>
            <p:spPr bwMode="auto">
              <a:xfrm>
                <a:off x="966" y="3122"/>
                <a:ext cx="172" cy="176"/>
              </a:xfrm>
              <a:custGeom>
                <a:avLst/>
                <a:gdLst>
                  <a:gd name="T0" fmla="*/ 68 w 175"/>
                  <a:gd name="T1" fmla="*/ 20 h 176"/>
                  <a:gd name="T2" fmla="*/ 68 w 175"/>
                  <a:gd name="T3" fmla="*/ 49 h 176"/>
                  <a:gd name="T4" fmla="*/ 48 w 175"/>
                  <a:gd name="T5" fmla="*/ 78 h 176"/>
                  <a:gd name="T6" fmla="*/ 29 w 175"/>
                  <a:gd name="T7" fmla="*/ 107 h 176"/>
                  <a:gd name="T8" fmla="*/ 0 w 175"/>
                  <a:gd name="T9" fmla="*/ 117 h 176"/>
                  <a:gd name="T10" fmla="*/ 0 w 175"/>
                  <a:gd name="T11" fmla="*/ 137 h 176"/>
                  <a:gd name="T12" fmla="*/ 19 w 175"/>
                  <a:gd name="T13" fmla="*/ 156 h 176"/>
                  <a:gd name="T14" fmla="*/ 39 w 175"/>
                  <a:gd name="T15" fmla="*/ 156 h 176"/>
                  <a:gd name="T16" fmla="*/ 58 w 175"/>
                  <a:gd name="T17" fmla="*/ 156 h 176"/>
                  <a:gd name="T18" fmla="*/ 68 w 175"/>
                  <a:gd name="T19" fmla="*/ 147 h 176"/>
                  <a:gd name="T20" fmla="*/ 68 w 175"/>
                  <a:gd name="T21" fmla="*/ 156 h 176"/>
                  <a:gd name="T22" fmla="*/ 78 w 175"/>
                  <a:gd name="T23" fmla="*/ 176 h 176"/>
                  <a:gd name="T24" fmla="*/ 87 w 175"/>
                  <a:gd name="T25" fmla="*/ 176 h 176"/>
                  <a:gd name="T26" fmla="*/ 97 w 175"/>
                  <a:gd name="T27" fmla="*/ 156 h 176"/>
                  <a:gd name="T28" fmla="*/ 117 w 175"/>
                  <a:gd name="T29" fmla="*/ 156 h 176"/>
                  <a:gd name="T30" fmla="*/ 107 w 175"/>
                  <a:gd name="T31" fmla="*/ 137 h 176"/>
                  <a:gd name="T32" fmla="*/ 117 w 175"/>
                  <a:gd name="T33" fmla="*/ 127 h 176"/>
                  <a:gd name="T34" fmla="*/ 117 w 175"/>
                  <a:gd name="T35" fmla="*/ 117 h 176"/>
                  <a:gd name="T36" fmla="*/ 126 w 175"/>
                  <a:gd name="T37" fmla="*/ 117 h 176"/>
                  <a:gd name="T38" fmla="*/ 156 w 175"/>
                  <a:gd name="T39" fmla="*/ 117 h 176"/>
                  <a:gd name="T40" fmla="*/ 165 w 175"/>
                  <a:gd name="T41" fmla="*/ 117 h 176"/>
                  <a:gd name="T42" fmla="*/ 175 w 175"/>
                  <a:gd name="T43" fmla="*/ 107 h 176"/>
                  <a:gd name="T44" fmla="*/ 175 w 175"/>
                  <a:gd name="T45" fmla="*/ 88 h 176"/>
                  <a:gd name="T46" fmla="*/ 165 w 175"/>
                  <a:gd name="T47" fmla="*/ 78 h 176"/>
                  <a:gd name="T48" fmla="*/ 146 w 175"/>
                  <a:gd name="T49" fmla="*/ 78 h 176"/>
                  <a:gd name="T50" fmla="*/ 136 w 175"/>
                  <a:gd name="T51" fmla="*/ 78 h 176"/>
                  <a:gd name="T52" fmla="*/ 146 w 175"/>
                  <a:gd name="T53" fmla="*/ 68 h 176"/>
                  <a:gd name="T54" fmla="*/ 146 w 175"/>
                  <a:gd name="T55" fmla="*/ 49 h 176"/>
                  <a:gd name="T56" fmla="*/ 126 w 175"/>
                  <a:gd name="T57" fmla="*/ 49 h 176"/>
                  <a:gd name="T58" fmla="*/ 126 w 175"/>
                  <a:gd name="T59" fmla="*/ 39 h 176"/>
                  <a:gd name="T60" fmla="*/ 126 w 175"/>
                  <a:gd name="T61" fmla="*/ 29 h 176"/>
                  <a:gd name="T62" fmla="*/ 107 w 175"/>
                  <a:gd name="T63" fmla="*/ 39 h 176"/>
                  <a:gd name="T64" fmla="*/ 87 w 175"/>
                  <a:gd name="T65" fmla="*/ 29 h 176"/>
                  <a:gd name="T66" fmla="*/ 97 w 175"/>
                  <a:gd name="T67" fmla="*/ 10 h 176"/>
                  <a:gd name="T68" fmla="*/ 87 w 175"/>
                  <a:gd name="T69" fmla="*/ 0 h 176"/>
                  <a:gd name="T70" fmla="*/ 68 w 175"/>
                  <a:gd name="T71" fmla="*/ 20 h 17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75"/>
                  <a:gd name="T109" fmla="*/ 0 h 176"/>
                  <a:gd name="T110" fmla="*/ 175 w 175"/>
                  <a:gd name="T111" fmla="*/ 176 h 17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  <a:lnTo>
                      <a:pt x="68" y="20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9" name="Freeform 132"/>
              <p:cNvSpPr>
                <a:spLocks/>
              </p:cNvSpPr>
              <p:nvPr/>
            </p:nvSpPr>
            <p:spPr bwMode="auto">
              <a:xfrm>
                <a:off x="966" y="3122"/>
                <a:ext cx="172" cy="176"/>
              </a:xfrm>
              <a:custGeom>
                <a:avLst/>
                <a:gdLst/>
                <a:ahLst/>
                <a:cxnLst>
                  <a:cxn ang="0">
                    <a:pos x="68" y="20"/>
                  </a:cxn>
                  <a:cxn ang="0">
                    <a:pos x="68" y="49"/>
                  </a:cxn>
                  <a:cxn ang="0">
                    <a:pos x="48" y="78"/>
                  </a:cxn>
                  <a:cxn ang="0">
                    <a:pos x="29" y="107"/>
                  </a:cxn>
                  <a:cxn ang="0">
                    <a:pos x="0" y="117"/>
                  </a:cxn>
                  <a:cxn ang="0">
                    <a:pos x="0" y="137"/>
                  </a:cxn>
                  <a:cxn ang="0">
                    <a:pos x="19" y="156"/>
                  </a:cxn>
                  <a:cxn ang="0">
                    <a:pos x="39" y="156"/>
                  </a:cxn>
                  <a:cxn ang="0">
                    <a:pos x="58" y="156"/>
                  </a:cxn>
                  <a:cxn ang="0">
                    <a:pos x="68" y="147"/>
                  </a:cxn>
                  <a:cxn ang="0">
                    <a:pos x="68" y="156"/>
                  </a:cxn>
                  <a:cxn ang="0">
                    <a:pos x="78" y="176"/>
                  </a:cxn>
                  <a:cxn ang="0">
                    <a:pos x="87" y="176"/>
                  </a:cxn>
                  <a:cxn ang="0">
                    <a:pos x="97" y="156"/>
                  </a:cxn>
                  <a:cxn ang="0">
                    <a:pos x="117" y="156"/>
                  </a:cxn>
                  <a:cxn ang="0">
                    <a:pos x="107" y="137"/>
                  </a:cxn>
                  <a:cxn ang="0">
                    <a:pos x="117" y="127"/>
                  </a:cxn>
                  <a:cxn ang="0">
                    <a:pos x="117" y="117"/>
                  </a:cxn>
                  <a:cxn ang="0">
                    <a:pos x="126" y="117"/>
                  </a:cxn>
                  <a:cxn ang="0">
                    <a:pos x="156" y="117"/>
                  </a:cxn>
                  <a:cxn ang="0">
                    <a:pos x="165" y="117"/>
                  </a:cxn>
                  <a:cxn ang="0">
                    <a:pos x="175" y="107"/>
                  </a:cxn>
                  <a:cxn ang="0">
                    <a:pos x="175" y="88"/>
                  </a:cxn>
                  <a:cxn ang="0">
                    <a:pos x="165" y="78"/>
                  </a:cxn>
                  <a:cxn ang="0">
                    <a:pos x="146" y="78"/>
                  </a:cxn>
                  <a:cxn ang="0">
                    <a:pos x="136" y="78"/>
                  </a:cxn>
                  <a:cxn ang="0">
                    <a:pos x="146" y="68"/>
                  </a:cxn>
                  <a:cxn ang="0">
                    <a:pos x="146" y="49"/>
                  </a:cxn>
                  <a:cxn ang="0">
                    <a:pos x="126" y="49"/>
                  </a:cxn>
                  <a:cxn ang="0">
                    <a:pos x="126" y="39"/>
                  </a:cxn>
                  <a:cxn ang="0">
                    <a:pos x="126" y="29"/>
                  </a:cxn>
                  <a:cxn ang="0">
                    <a:pos x="107" y="39"/>
                  </a:cxn>
                  <a:cxn ang="0">
                    <a:pos x="87" y="29"/>
                  </a:cxn>
                  <a:cxn ang="0">
                    <a:pos x="97" y="10"/>
                  </a:cxn>
                  <a:cxn ang="0">
                    <a:pos x="87" y="0"/>
                  </a:cxn>
                </a:cxnLst>
                <a:rect l="0" t="0" r="r" b="b"/>
                <a:pathLst>
                  <a:path w="175" h="176">
                    <a:moveTo>
                      <a:pt x="68" y="20"/>
                    </a:moveTo>
                    <a:lnTo>
                      <a:pt x="68" y="49"/>
                    </a:lnTo>
                    <a:lnTo>
                      <a:pt x="48" y="78"/>
                    </a:lnTo>
                    <a:lnTo>
                      <a:pt x="29" y="107"/>
                    </a:lnTo>
                    <a:lnTo>
                      <a:pt x="0" y="117"/>
                    </a:lnTo>
                    <a:lnTo>
                      <a:pt x="0" y="137"/>
                    </a:lnTo>
                    <a:lnTo>
                      <a:pt x="19" y="156"/>
                    </a:lnTo>
                    <a:lnTo>
                      <a:pt x="39" y="156"/>
                    </a:lnTo>
                    <a:lnTo>
                      <a:pt x="58" y="156"/>
                    </a:lnTo>
                    <a:lnTo>
                      <a:pt x="68" y="147"/>
                    </a:lnTo>
                    <a:lnTo>
                      <a:pt x="68" y="156"/>
                    </a:lnTo>
                    <a:lnTo>
                      <a:pt x="78" y="176"/>
                    </a:lnTo>
                    <a:lnTo>
                      <a:pt x="87" y="176"/>
                    </a:lnTo>
                    <a:lnTo>
                      <a:pt x="97" y="156"/>
                    </a:lnTo>
                    <a:lnTo>
                      <a:pt x="117" y="156"/>
                    </a:lnTo>
                    <a:lnTo>
                      <a:pt x="107" y="13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26" y="117"/>
                    </a:lnTo>
                    <a:lnTo>
                      <a:pt x="156" y="117"/>
                    </a:lnTo>
                    <a:lnTo>
                      <a:pt x="165" y="117"/>
                    </a:lnTo>
                    <a:lnTo>
                      <a:pt x="175" y="107"/>
                    </a:lnTo>
                    <a:lnTo>
                      <a:pt x="175" y="88"/>
                    </a:lnTo>
                    <a:lnTo>
                      <a:pt x="165" y="78"/>
                    </a:lnTo>
                    <a:lnTo>
                      <a:pt x="146" y="78"/>
                    </a:lnTo>
                    <a:lnTo>
                      <a:pt x="136" y="78"/>
                    </a:lnTo>
                    <a:lnTo>
                      <a:pt x="146" y="68"/>
                    </a:lnTo>
                    <a:lnTo>
                      <a:pt x="146" y="49"/>
                    </a:lnTo>
                    <a:lnTo>
                      <a:pt x="126" y="49"/>
                    </a:lnTo>
                    <a:lnTo>
                      <a:pt x="126" y="39"/>
                    </a:lnTo>
                    <a:lnTo>
                      <a:pt x="126" y="29"/>
                    </a:lnTo>
                    <a:lnTo>
                      <a:pt x="107" y="39"/>
                    </a:lnTo>
                    <a:lnTo>
                      <a:pt x="87" y="29"/>
                    </a:lnTo>
                    <a:lnTo>
                      <a:pt x="97" y="10"/>
                    </a:lnTo>
                    <a:lnTo>
                      <a:pt x="87" y="0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03" name="Freeform 130"/>
            <p:cNvSpPr>
              <a:spLocks/>
            </p:cNvSpPr>
            <p:nvPr/>
          </p:nvSpPr>
          <p:spPr bwMode="auto">
            <a:xfrm>
              <a:off x="959" y="3072"/>
              <a:ext cx="300" cy="440"/>
            </a:xfrm>
            <a:custGeom>
              <a:avLst/>
              <a:gdLst>
                <a:gd name="T0" fmla="*/ 97 w 302"/>
                <a:gd name="T1" fmla="*/ 225 h 439"/>
                <a:gd name="T2" fmla="*/ 127 w 302"/>
                <a:gd name="T3" fmla="*/ 205 h 439"/>
                <a:gd name="T4" fmla="*/ 127 w 302"/>
                <a:gd name="T5" fmla="*/ 176 h 439"/>
                <a:gd name="T6" fmla="*/ 146 w 302"/>
                <a:gd name="T7" fmla="*/ 176 h 439"/>
                <a:gd name="T8" fmla="*/ 175 w 302"/>
                <a:gd name="T9" fmla="*/ 166 h 439"/>
                <a:gd name="T10" fmla="*/ 185 w 302"/>
                <a:gd name="T11" fmla="*/ 137 h 439"/>
                <a:gd name="T12" fmla="*/ 156 w 302"/>
                <a:gd name="T13" fmla="*/ 137 h 439"/>
                <a:gd name="T14" fmla="*/ 156 w 302"/>
                <a:gd name="T15" fmla="*/ 117 h 439"/>
                <a:gd name="T16" fmla="*/ 146 w 302"/>
                <a:gd name="T17" fmla="*/ 98 h 439"/>
                <a:gd name="T18" fmla="*/ 156 w 302"/>
                <a:gd name="T19" fmla="*/ 59 h 439"/>
                <a:gd name="T20" fmla="*/ 127 w 302"/>
                <a:gd name="T21" fmla="*/ 39 h 439"/>
                <a:gd name="T22" fmla="*/ 156 w 302"/>
                <a:gd name="T23" fmla="*/ 49 h 439"/>
                <a:gd name="T24" fmla="*/ 166 w 302"/>
                <a:gd name="T25" fmla="*/ 20 h 439"/>
                <a:gd name="T26" fmla="*/ 175 w 302"/>
                <a:gd name="T27" fmla="*/ 10 h 439"/>
                <a:gd name="T28" fmla="*/ 214 w 302"/>
                <a:gd name="T29" fmla="*/ 20 h 439"/>
                <a:gd name="T30" fmla="*/ 234 w 302"/>
                <a:gd name="T31" fmla="*/ 0 h 439"/>
                <a:gd name="T32" fmla="*/ 283 w 302"/>
                <a:gd name="T33" fmla="*/ 78 h 439"/>
                <a:gd name="T34" fmla="*/ 302 w 302"/>
                <a:gd name="T35" fmla="*/ 78 h 439"/>
                <a:gd name="T36" fmla="*/ 293 w 302"/>
                <a:gd name="T37" fmla="*/ 98 h 439"/>
                <a:gd name="T38" fmla="*/ 273 w 302"/>
                <a:gd name="T39" fmla="*/ 108 h 439"/>
                <a:gd name="T40" fmla="*/ 254 w 302"/>
                <a:gd name="T41" fmla="*/ 117 h 439"/>
                <a:gd name="T42" fmla="*/ 263 w 302"/>
                <a:gd name="T43" fmla="*/ 137 h 439"/>
                <a:gd name="T44" fmla="*/ 254 w 302"/>
                <a:gd name="T45" fmla="*/ 156 h 439"/>
                <a:gd name="T46" fmla="*/ 254 w 302"/>
                <a:gd name="T47" fmla="*/ 176 h 439"/>
                <a:gd name="T48" fmla="*/ 244 w 302"/>
                <a:gd name="T49" fmla="*/ 215 h 439"/>
                <a:gd name="T50" fmla="*/ 224 w 302"/>
                <a:gd name="T51" fmla="*/ 225 h 439"/>
                <a:gd name="T52" fmla="*/ 224 w 302"/>
                <a:gd name="T53" fmla="*/ 235 h 439"/>
                <a:gd name="T54" fmla="*/ 254 w 302"/>
                <a:gd name="T55" fmla="*/ 215 h 439"/>
                <a:gd name="T56" fmla="*/ 244 w 302"/>
                <a:gd name="T57" fmla="*/ 235 h 439"/>
                <a:gd name="T58" fmla="*/ 214 w 302"/>
                <a:gd name="T59" fmla="*/ 244 h 439"/>
                <a:gd name="T60" fmla="*/ 205 w 302"/>
                <a:gd name="T61" fmla="*/ 254 h 439"/>
                <a:gd name="T62" fmla="*/ 205 w 302"/>
                <a:gd name="T63" fmla="*/ 274 h 439"/>
                <a:gd name="T64" fmla="*/ 185 w 302"/>
                <a:gd name="T65" fmla="*/ 274 h 439"/>
                <a:gd name="T66" fmla="*/ 175 w 302"/>
                <a:gd name="T67" fmla="*/ 303 h 439"/>
                <a:gd name="T68" fmla="*/ 166 w 302"/>
                <a:gd name="T69" fmla="*/ 322 h 439"/>
                <a:gd name="T70" fmla="*/ 166 w 302"/>
                <a:gd name="T71" fmla="*/ 361 h 439"/>
                <a:gd name="T72" fmla="*/ 156 w 302"/>
                <a:gd name="T73" fmla="*/ 410 h 439"/>
                <a:gd name="T74" fmla="*/ 136 w 302"/>
                <a:gd name="T75" fmla="*/ 439 h 439"/>
                <a:gd name="T76" fmla="*/ 88 w 302"/>
                <a:gd name="T77" fmla="*/ 439 h 439"/>
                <a:gd name="T78" fmla="*/ 58 w 302"/>
                <a:gd name="T79" fmla="*/ 439 h 439"/>
                <a:gd name="T80" fmla="*/ 29 w 302"/>
                <a:gd name="T81" fmla="*/ 420 h 439"/>
                <a:gd name="T82" fmla="*/ 29 w 302"/>
                <a:gd name="T83" fmla="*/ 391 h 439"/>
                <a:gd name="T84" fmla="*/ 29 w 302"/>
                <a:gd name="T85" fmla="*/ 371 h 439"/>
                <a:gd name="T86" fmla="*/ 29 w 302"/>
                <a:gd name="T87" fmla="*/ 332 h 439"/>
                <a:gd name="T88" fmla="*/ 19 w 302"/>
                <a:gd name="T89" fmla="*/ 313 h 439"/>
                <a:gd name="T90" fmla="*/ 10 w 302"/>
                <a:gd name="T91" fmla="*/ 274 h 439"/>
                <a:gd name="T92" fmla="*/ 0 w 302"/>
                <a:gd name="T93" fmla="*/ 235 h 439"/>
                <a:gd name="T94" fmla="*/ 19 w 302"/>
                <a:gd name="T95" fmla="*/ 215 h 439"/>
                <a:gd name="T96" fmla="*/ 49 w 302"/>
                <a:gd name="T97" fmla="*/ 215 h 439"/>
                <a:gd name="T98" fmla="*/ 78 w 302"/>
                <a:gd name="T99" fmla="*/ 196 h 439"/>
                <a:gd name="T100" fmla="*/ 88 w 302"/>
                <a:gd name="T101" fmla="*/ 225 h 43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2"/>
                <a:gd name="T154" fmla="*/ 0 h 439"/>
                <a:gd name="T155" fmla="*/ 302 w 302"/>
                <a:gd name="T156" fmla="*/ 439 h 43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2" h="439">
                  <a:moveTo>
                    <a:pt x="88" y="225"/>
                  </a:moveTo>
                  <a:lnTo>
                    <a:pt x="97" y="225"/>
                  </a:lnTo>
                  <a:lnTo>
                    <a:pt x="107" y="215"/>
                  </a:lnTo>
                  <a:lnTo>
                    <a:pt x="127" y="205"/>
                  </a:lnTo>
                  <a:lnTo>
                    <a:pt x="117" y="186"/>
                  </a:lnTo>
                  <a:lnTo>
                    <a:pt x="127" y="176"/>
                  </a:lnTo>
                  <a:lnTo>
                    <a:pt x="127" y="166"/>
                  </a:lnTo>
                  <a:lnTo>
                    <a:pt x="146" y="176"/>
                  </a:lnTo>
                  <a:lnTo>
                    <a:pt x="166" y="166"/>
                  </a:lnTo>
                  <a:lnTo>
                    <a:pt x="175" y="166"/>
                  </a:lnTo>
                  <a:lnTo>
                    <a:pt x="185" y="156"/>
                  </a:lnTo>
                  <a:lnTo>
                    <a:pt x="185" y="137"/>
                  </a:lnTo>
                  <a:lnTo>
                    <a:pt x="175" y="137"/>
                  </a:lnTo>
                  <a:lnTo>
                    <a:pt x="156" y="137"/>
                  </a:lnTo>
                  <a:lnTo>
                    <a:pt x="156" y="127"/>
                  </a:lnTo>
                  <a:lnTo>
                    <a:pt x="156" y="117"/>
                  </a:lnTo>
                  <a:lnTo>
                    <a:pt x="156" y="98"/>
                  </a:lnTo>
                  <a:lnTo>
                    <a:pt x="146" y="98"/>
                  </a:lnTo>
                  <a:lnTo>
                    <a:pt x="146" y="88"/>
                  </a:lnTo>
                  <a:lnTo>
                    <a:pt x="156" y="59"/>
                  </a:lnTo>
                  <a:lnTo>
                    <a:pt x="136" y="59"/>
                  </a:lnTo>
                  <a:lnTo>
                    <a:pt x="127" y="39"/>
                  </a:lnTo>
                  <a:lnTo>
                    <a:pt x="146" y="39"/>
                  </a:lnTo>
                  <a:lnTo>
                    <a:pt x="156" y="49"/>
                  </a:lnTo>
                  <a:lnTo>
                    <a:pt x="166" y="30"/>
                  </a:lnTo>
                  <a:lnTo>
                    <a:pt x="166" y="20"/>
                  </a:lnTo>
                  <a:lnTo>
                    <a:pt x="166" y="10"/>
                  </a:lnTo>
                  <a:lnTo>
                    <a:pt x="175" y="10"/>
                  </a:lnTo>
                  <a:lnTo>
                    <a:pt x="195" y="20"/>
                  </a:lnTo>
                  <a:lnTo>
                    <a:pt x="214" y="20"/>
                  </a:lnTo>
                  <a:lnTo>
                    <a:pt x="224" y="20"/>
                  </a:lnTo>
                  <a:lnTo>
                    <a:pt x="234" y="0"/>
                  </a:lnTo>
                  <a:lnTo>
                    <a:pt x="254" y="30"/>
                  </a:lnTo>
                  <a:lnTo>
                    <a:pt x="283" y="78"/>
                  </a:lnTo>
                  <a:lnTo>
                    <a:pt x="293" y="69"/>
                  </a:lnTo>
                  <a:lnTo>
                    <a:pt x="302" y="78"/>
                  </a:lnTo>
                  <a:lnTo>
                    <a:pt x="293" y="88"/>
                  </a:lnTo>
                  <a:lnTo>
                    <a:pt x="293" y="98"/>
                  </a:lnTo>
                  <a:lnTo>
                    <a:pt x="293" y="108"/>
                  </a:lnTo>
                  <a:lnTo>
                    <a:pt x="273" y="108"/>
                  </a:lnTo>
                  <a:lnTo>
                    <a:pt x="263" y="108"/>
                  </a:lnTo>
                  <a:lnTo>
                    <a:pt x="254" y="117"/>
                  </a:lnTo>
                  <a:lnTo>
                    <a:pt x="254" y="127"/>
                  </a:lnTo>
                  <a:lnTo>
                    <a:pt x="263" y="137"/>
                  </a:lnTo>
                  <a:lnTo>
                    <a:pt x="254" y="147"/>
                  </a:lnTo>
                  <a:lnTo>
                    <a:pt x="254" y="156"/>
                  </a:lnTo>
                  <a:lnTo>
                    <a:pt x="263" y="166"/>
                  </a:lnTo>
                  <a:lnTo>
                    <a:pt x="254" y="176"/>
                  </a:lnTo>
                  <a:lnTo>
                    <a:pt x="254" y="196"/>
                  </a:lnTo>
                  <a:lnTo>
                    <a:pt x="244" y="215"/>
                  </a:lnTo>
                  <a:lnTo>
                    <a:pt x="244" y="225"/>
                  </a:lnTo>
                  <a:lnTo>
                    <a:pt x="224" y="225"/>
                  </a:lnTo>
                  <a:lnTo>
                    <a:pt x="214" y="235"/>
                  </a:lnTo>
                  <a:lnTo>
                    <a:pt x="224" y="235"/>
                  </a:lnTo>
                  <a:lnTo>
                    <a:pt x="244" y="215"/>
                  </a:lnTo>
                  <a:lnTo>
                    <a:pt x="254" y="215"/>
                  </a:lnTo>
                  <a:lnTo>
                    <a:pt x="263" y="215"/>
                  </a:lnTo>
                  <a:lnTo>
                    <a:pt x="244" y="235"/>
                  </a:lnTo>
                  <a:lnTo>
                    <a:pt x="224" y="244"/>
                  </a:lnTo>
                  <a:lnTo>
                    <a:pt x="214" y="244"/>
                  </a:lnTo>
                  <a:lnTo>
                    <a:pt x="205" y="254"/>
                  </a:lnTo>
                  <a:lnTo>
                    <a:pt x="214" y="264"/>
                  </a:lnTo>
                  <a:lnTo>
                    <a:pt x="205" y="274"/>
                  </a:lnTo>
                  <a:lnTo>
                    <a:pt x="205" y="264"/>
                  </a:lnTo>
                  <a:lnTo>
                    <a:pt x="185" y="274"/>
                  </a:lnTo>
                  <a:lnTo>
                    <a:pt x="175" y="283"/>
                  </a:lnTo>
                  <a:lnTo>
                    <a:pt x="175" y="303"/>
                  </a:lnTo>
                  <a:lnTo>
                    <a:pt x="175" y="313"/>
                  </a:lnTo>
                  <a:lnTo>
                    <a:pt x="166" y="322"/>
                  </a:lnTo>
                  <a:lnTo>
                    <a:pt x="166" y="342"/>
                  </a:lnTo>
                  <a:lnTo>
                    <a:pt x="166" y="361"/>
                  </a:lnTo>
                  <a:lnTo>
                    <a:pt x="156" y="391"/>
                  </a:lnTo>
                  <a:lnTo>
                    <a:pt x="156" y="410"/>
                  </a:lnTo>
                  <a:lnTo>
                    <a:pt x="146" y="430"/>
                  </a:lnTo>
                  <a:lnTo>
                    <a:pt x="136" y="439"/>
                  </a:lnTo>
                  <a:lnTo>
                    <a:pt x="117" y="439"/>
                  </a:lnTo>
                  <a:lnTo>
                    <a:pt x="88" y="439"/>
                  </a:lnTo>
                  <a:lnTo>
                    <a:pt x="78" y="439"/>
                  </a:lnTo>
                  <a:lnTo>
                    <a:pt x="58" y="439"/>
                  </a:lnTo>
                  <a:lnTo>
                    <a:pt x="39" y="430"/>
                  </a:lnTo>
                  <a:lnTo>
                    <a:pt x="29" y="420"/>
                  </a:lnTo>
                  <a:lnTo>
                    <a:pt x="19" y="410"/>
                  </a:lnTo>
                  <a:lnTo>
                    <a:pt x="29" y="391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29" y="352"/>
                  </a:lnTo>
                  <a:lnTo>
                    <a:pt x="29" y="332"/>
                  </a:lnTo>
                  <a:lnTo>
                    <a:pt x="29" y="322"/>
                  </a:lnTo>
                  <a:lnTo>
                    <a:pt x="19" y="313"/>
                  </a:lnTo>
                  <a:lnTo>
                    <a:pt x="10" y="293"/>
                  </a:lnTo>
                  <a:lnTo>
                    <a:pt x="10" y="274"/>
                  </a:lnTo>
                  <a:lnTo>
                    <a:pt x="0" y="244"/>
                  </a:lnTo>
                  <a:lnTo>
                    <a:pt x="0" y="235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29" y="205"/>
                  </a:lnTo>
                  <a:lnTo>
                    <a:pt x="49" y="215"/>
                  </a:lnTo>
                  <a:lnTo>
                    <a:pt x="68" y="205"/>
                  </a:lnTo>
                  <a:lnTo>
                    <a:pt x="78" y="196"/>
                  </a:lnTo>
                  <a:lnTo>
                    <a:pt x="78" y="205"/>
                  </a:lnTo>
                  <a:lnTo>
                    <a:pt x="88" y="225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04" name="Group 127"/>
            <p:cNvGrpSpPr>
              <a:grpSpLocks/>
            </p:cNvGrpSpPr>
            <p:nvPr/>
          </p:nvGrpSpPr>
          <p:grpSpPr bwMode="auto">
            <a:xfrm>
              <a:off x="956" y="3073"/>
              <a:ext cx="302" cy="439"/>
              <a:chOff x="956" y="3073"/>
              <a:chExt cx="302" cy="439"/>
            </a:xfrm>
          </p:grpSpPr>
          <p:sp>
            <p:nvSpPr>
              <p:cNvPr id="316" name="Freeform 129"/>
              <p:cNvSpPr>
                <a:spLocks/>
              </p:cNvSpPr>
              <p:nvPr/>
            </p:nvSpPr>
            <p:spPr bwMode="auto">
              <a:xfrm>
                <a:off x="956" y="3072"/>
                <a:ext cx="302" cy="440"/>
              </a:xfrm>
              <a:custGeom>
                <a:avLst/>
                <a:gdLst>
                  <a:gd name="T0" fmla="*/ 97 w 302"/>
                  <a:gd name="T1" fmla="*/ 225 h 439"/>
                  <a:gd name="T2" fmla="*/ 127 w 302"/>
                  <a:gd name="T3" fmla="*/ 205 h 439"/>
                  <a:gd name="T4" fmla="*/ 127 w 302"/>
                  <a:gd name="T5" fmla="*/ 176 h 439"/>
                  <a:gd name="T6" fmla="*/ 146 w 302"/>
                  <a:gd name="T7" fmla="*/ 176 h 439"/>
                  <a:gd name="T8" fmla="*/ 175 w 302"/>
                  <a:gd name="T9" fmla="*/ 166 h 439"/>
                  <a:gd name="T10" fmla="*/ 185 w 302"/>
                  <a:gd name="T11" fmla="*/ 137 h 439"/>
                  <a:gd name="T12" fmla="*/ 156 w 302"/>
                  <a:gd name="T13" fmla="*/ 137 h 439"/>
                  <a:gd name="T14" fmla="*/ 156 w 302"/>
                  <a:gd name="T15" fmla="*/ 117 h 439"/>
                  <a:gd name="T16" fmla="*/ 146 w 302"/>
                  <a:gd name="T17" fmla="*/ 98 h 439"/>
                  <a:gd name="T18" fmla="*/ 156 w 302"/>
                  <a:gd name="T19" fmla="*/ 59 h 439"/>
                  <a:gd name="T20" fmla="*/ 127 w 302"/>
                  <a:gd name="T21" fmla="*/ 39 h 439"/>
                  <a:gd name="T22" fmla="*/ 156 w 302"/>
                  <a:gd name="T23" fmla="*/ 49 h 439"/>
                  <a:gd name="T24" fmla="*/ 166 w 302"/>
                  <a:gd name="T25" fmla="*/ 20 h 439"/>
                  <a:gd name="T26" fmla="*/ 175 w 302"/>
                  <a:gd name="T27" fmla="*/ 10 h 439"/>
                  <a:gd name="T28" fmla="*/ 214 w 302"/>
                  <a:gd name="T29" fmla="*/ 20 h 439"/>
                  <a:gd name="T30" fmla="*/ 234 w 302"/>
                  <a:gd name="T31" fmla="*/ 0 h 439"/>
                  <a:gd name="T32" fmla="*/ 283 w 302"/>
                  <a:gd name="T33" fmla="*/ 78 h 439"/>
                  <a:gd name="T34" fmla="*/ 302 w 302"/>
                  <a:gd name="T35" fmla="*/ 78 h 439"/>
                  <a:gd name="T36" fmla="*/ 293 w 302"/>
                  <a:gd name="T37" fmla="*/ 98 h 439"/>
                  <a:gd name="T38" fmla="*/ 273 w 302"/>
                  <a:gd name="T39" fmla="*/ 108 h 439"/>
                  <a:gd name="T40" fmla="*/ 254 w 302"/>
                  <a:gd name="T41" fmla="*/ 117 h 439"/>
                  <a:gd name="T42" fmla="*/ 263 w 302"/>
                  <a:gd name="T43" fmla="*/ 137 h 439"/>
                  <a:gd name="T44" fmla="*/ 254 w 302"/>
                  <a:gd name="T45" fmla="*/ 156 h 439"/>
                  <a:gd name="T46" fmla="*/ 254 w 302"/>
                  <a:gd name="T47" fmla="*/ 176 h 439"/>
                  <a:gd name="T48" fmla="*/ 244 w 302"/>
                  <a:gd name="T49" fmla="*/ 215 h 439"/>
                  <a:gd name="T50" fmla="*/ 224 w 302"/>
                  <a:gd name="T51" fmla="*/ 225 h 439"/>
                  <a:gd name="T52" fmla="*/ 224 w 302"/>
                  <a:gd name="T53" fmla="*/ 235 h 439"/>
                  <a:gd name="T54" fmla="*/ 254 w 302"/>
                  <a:gd name="T55" fmla="*/ 215 h 439"/>
                  <a:gd name="T56" fmla="*/ 244 w 302"/>
                  <a:gd name="T57" fmla="*/ 235 h 439"/>
                  <a:gd name="T58" fmla="*/ 214 w 302"/>
                  <a:gd name="T59" fmla="*/ 244 h 439"/>
                  <a:gd name="T60" fmla="*/ 205 w 302"/>
                  <a:gd name="T61" fmla="*/ 254 h 439"/>
                  <a:gd name="T62" fmla="*/ 205 w 302"/>
                  <a:gd name="T63" fmla="*/ 274 h 439"/>
                  <a:gd name="T64" fmla="*/ 185 w 302"/>
                  <a:gd name="T65" fmla="*/ 274 h 439"/>
                  <a:gd name="T66" fmla="*/ 175 w 302"/>
                  <a:gd name="T67" fmla="*/ 303 h 439"/>
                  <a:gd name="T68" fmla="*/ 166 w 302"/>
                  <a:gd name="T69" fmla="*/ 322 h 439"/>
                  <a:gd name="T70" fmla="*/ 166 w 302"/>
                  <a:gd name="T71" fmla="*/ 361 h 439"/>
                  <a:gd name="T72" fmla="*/ 156 w 302"/>
                  <a:gd name="T73" fmla="*/ 410 h 439"/>
                  <a:gd name="T74" fmla="*/ 136 w 302"/>
                  <a:gd name="T75" fmla="*/ 439 h 439"/>
                  <a:gd name="T76" fmla="*/ 88 w 302"/>
                  <a:gd name="T77" fmla="*/ 439 h 439"/>
                  <a:gd name="T78" fmla="*/ 58 w 302"/>
                  <a:gd name="T79" fmla="*/ 439 h 439"/>
                  <a:gd name="T80" fmla="*/ 29 w 302"/>
                  <a:gd name="T81" fmla="*/ 420 h 439"/>
                  <a:gd name="T82" fmla="*/ 29 w 302"/>
                  <a:gd name="T83" fmla="*/ 391 h 439"/>
                  <a:gd name="T84" fmla="*/ 29 w 302"/>
                  <a:gd name="T85" fmla="*/ 371 h 439"/>
                  <a:gd name="T86" fmla="*/ 29 w 302"/>
                  <a:gd name="T87" fmla="*/ 332 h 439"/>
                  <a:gd name="T88" fmla="*/ 19 w 302"/>
                  <a:gd name="T89" fmla="*/ 313 h 439"/>
                  <a:gd name="T90" fmla="*/ 10 w 302"/>
                  <a:gd name="T91" fmla="*/ 274 h 439"/>
                  <a:gd name="T92" fmla="*/ 0 w 302"/>
                  <a:gd name="T93" fmla="*/ 235 h 439"/>
                  <a:gd name="T94" fmla="*/ 19 w 302"/>
                  <a:gd name="T95" fmla="*/ 215 h 439"/>
                  <a:gd name="T96" fmla="*/ 49 w 302"/>
                  <a:gd name="T97" fmla="*/ 215 h 439"/>
                  <a:gd name="T98" fmla="*/ 78 w 302"/>
                  <a:gd name="T99" fmla="*/ 196 h 439"/>
                  <a:gd name="T100" fmla="*/ 88 w 302"/>
                  <a:gd name="T101" fmla="*/ 225 h 43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02"/>
                  <a:gd name="T154" fmla="*/ 0 h 439"/>
                  <a:gd name="T155" fmla="*/ 302 w 302"/>
                  <a:gd name="T156" fmla="*/ 439 h 43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  <a:lnTo>
                      <a:pt x="88" y="225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7" name="Freeform 128"/>
              <p:cNvSpPr>
                <a:spLocks/>
              </p:cNvSpPr>
              <p:nvPr/>
            </p:nvSpPr>
            <p:spPr bwMode="auto">
              <a:xfrm>
                <a:off x="956" y="3072"/>
                <a:ext cx="302" cy="440"/>
              </a:xfrm>
              <a:custGeom>
                <a:avLst/>
                <a:gdLst/>
                <a:ahLst/>
                <a:cxnLst>
                  <a:cxn ang="0">
                    <a:pos x="97" y="225"/>
                  </a:cxn>
                  <a:cxn ang="0">
                    <a:pos x="127" y="205"/>
                  </a:cxn>
                  <a:cxn ang="0">
                    <a:pos x="127" y="176"/>
                  </a:cxn>
                  <a:cxn ang="0">
                    <a:pos x="146" y="176"/>
                  </a:cxn>
                  <a:cxn ang="0">
                    <a:pos x="175" y="166"/>
                  </a:cxn>
                  <a:cxn ang="0">
                    <a:pos x="185" y="137"/>
                  </a:cxn>
                  <a:cxn ang="0">
                    <a:pos x="156" y="137"/>
                  </a:cxn>
                  <a:cxn ang="0">
                    <a:pos x="156" y="117"/>
                  </a:cxn>
                  <a:cxn ang="0">
                    <a:pos x="146" y="98"/>
                  </a:cxn>
                  <a:cxn ang="0">
                    <a:pos x="156" y="59"/>
                  </a:cxn>
                  <a:cxn ang="0">
                    <a:pos x="127" y="39"/>
                  </a:cxn>
                  <a:cxn ang="0">
                    <a:pos x="156" y="49"/>
                  </a:cxn>
                  <a:cxn ang="0">
                    <a:pos x="166" y="20"/>
                  </a:cxn>
                  <a:cxn ang="0">
                    <a:pos x="175" y="10"/>
                  </a:cxn>
                  <a:cxn ang="0">
                    <a:pos x="214" y="20"/>
                  </a:cxn>
                  <a:cxn ang="0">
                    <a:pos x="234" y="0"/>
                  </a:cxn>
                  <a:cxn ang="0">
                    <a:pos x="283" y="78"/>
                  </a:cxn>
                  <a:cxn ang="0">
                    <a:pos x="302" y="78"/>
                  </a:cxn>
                  <a:cxn ang="0">
                    <a:pos x="293" y="98"/>
                  </a:cxn>
                  <a:cxn ang="0">
                    <a:pos x="273" y="108"/>
                  </a:cxn>
                  <a:cxn ang="0">
                    <a:pos x="254" y="117"/>
                  </a:cxn>
                  <a:cxn ang="0">
                    <a:pos x="263" y="137"/>
                  </a:cxn>
                  <a:cxn ang="0">
                    <a:pos x="254" y="156"/>
                  </a:cxn>
                  <a:cxn ang="0">
                    <a:pos x="254" y="176"/>
                  </a:cxn>
                  <a:cxn ang="0">
                    <a:pos x="244" y="215"/>
                  </a:cxn>
                  <a:cxn ang="0">
                    <a:pos x="224" y="225"/>
                  </a:cxn>
                  <a:cxn ang="0">
                    <a:pos x="224" y="235"/>
                  </a:cxn>
                  <a:cxn ang="0">
                    <a:pos x="254" y="215"/>
                  </a:cxn>
                  <a:cxn ang="0">
                    <a:pos x="244" y="235"/>
                  </a:cxn>
                  <a:cxn ang="0">
                    <a:pos x="214" y="244"/>
                  </a:cxn>
                  <a:cxn ang="0">
                    <a:pos x="205" y="254"/>
                  </a:cxn>
                  <a:cxn ang="0">
                    <a:pos x="205" y="274"/>
                  </a:cxn>
                  <a:cxn ang="0">
                    <a:pos x="185" y="274"/>
                  </a:cxn>
                  <a:cxn ang="0">
                    <a:pos x="175" y="303"/>
                  </a:cxn>
                  <a:cxn ang="0">
                    <a:pos x="166" y="322"/>
                  </a:cxn>
                  <a:cxn ang="0">
                    <a:pos x="166" y="361"/>
                  </a:cxn>
                  <a:cxn ang="0">
                    <a:pos x="156" y="410"/>
                  </a:cxn>
                  <a:cxn ang="0">
                    <a:pos x="136" y="439"/>
                  </a:cxn>
                  <a:cxn ang="0">
                    <a:pos x="88" y="439"/>
                  </a:cxn>
                  <a:cxn ang="0">
                    <a:pos x="58" y="439"/>
                  </a:cxn>
                  <a:cxn ang="0">
                    <a:pos x="29" y="420"/>
                  </a:cxn>
                  <a:cxn ang="0">
                    <a:pos x="29" y="391"/>
                  </a:cxn>
                  <a:cxn ang="0">
                    <a:pos x="29" y="371"/>
                  </a:cxn>
                  <a:cxn ang="0">
                    <a:pos x="29" y="332"/>
                  </a:cxn>
                  <a:cxn ang="0">
                    <a:pos x="19" y="313"/>
                  </a:cxn>
                  <a:cxn ang="0">
                    <a:pos x="10" y="274"/>
                  </a:cxn>
                  <a:cxn ang="0">
                    <a:pos x="0" y="235"/>
                  </a:cxn>
                  <a:cxn ang="0">
                    <a:pos x="19" y="215"/>
                  </a:cxn>
                  <a:cxn ang="0">
                    <a:pos x="49" y="215"/>
                  </a:cxn>
                  <a:cxn ang="0">
                    <a:pos x="78" y="196"/>
                  </a:cxn>
                </a:cxnLst>
                <a:rect l="0" t="0" r="r" b="b"/>
                <a:pathLst>
                  <a:path w="302" h="439">
                    <a:moveTo>
                      <a:pt x="88" y="225"/>
                    </a:moveTo>
                    <a:lnTo>
                      <a:pt x="97" y="225"/>
                    </a:lnTo>
                    <a:lnTo>
                      <a:pt x="107" y="215"/>
                    </a:lnTo>
                    <a:lnTo>
                      <a:pt x="127" y="205"/>
                    </a:lnTo>
                    <a:lnTo>
                      <a:pt x="117" y="186"/>
                    </a:lnTo>
                    <a:lnTo>
                      <a:pt x="127" y="176"/>
                    </a:lnTo>
                    <a:lnTo>
                      <a:pt x="127" y="166"/>
                    </a:lnTo>
                    <a:lnTo>
                      <a:pt x="146" y="176"/>
                    </a:lnTo>
                    <a:lnTo>
                      <a:pt x="166" y="166"/>
                    </a:lnTo>
                    <a:lnTo>
                      <a:pt x="175" y="166"/>
                    </a:lnTo>
                    <a:lnTo>
                      <a:pt x="185" y="156"/>
                    </a:lnTo>
                    <a:lnTo>
                      <a:pt x="185" y="137"/>
                    </a:lnTo>
                    <a:lnTo>
                      <a:pt x="175" y="137"/>
                    </a:lnTo>
                    <a:lnTo>
                      <a:pt x="156" y="137"/>
                    </a:lnTo>
                    <a:lnTo>
                      <a:pt x="156" y="127"/>
                    </a:lnTo>
                    <a:lnTo>
                      <a:pt x="156" y="117"/>
                    </a:lnTo>
                    <a:lnTo>
                      <a:pt x="156" y="98"/>
                    </a:lnTo>
                    <a:lnTo>
                      <a:pt x="146" y="98"/>
                    </a:lnTo>
                    <a:lnTo>
                      <a:pt x="146" y="88"/>
                    </a:lnTo>
                    <a:lnTo>
                      <a:pt x="156" y="59"/>
                    </a:lnTo>
                    <a:lnTo>
                      <a:pt x="136" y="59"/>
                    </a:lnTo>
                    <a:lnTo>
                      <a:pt x="127" y="39"/>
                    </a:lnTo>
                    <a:lnTo>
                      <a:pt x="146" y="39"/>
                    </a:lnTo>
                    <a:lnTo>
                      <a:pt x="156" y="49"/>
                    </a:lnTo>
                    <a:lnTo>
                      <a:pt x="166" y="30"/>
                    </a:lnTo>
                    <a:lnTo>
                      <a:pt x="166" y="20"/>
                    </a:lnTo>
                    <a:lnTo>
                      <a:pt x="166" y="10"/>
                    </a:lnTo>
                    <a:lnTo>
                      <a:pt x="175" y="10"/>
                    </a:lnTo>
                    <a:lnTo>
                      <a:pt x="195" y="20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0"/>
                    </a:lnTo>
                    <a:lnTo>
                      <a:pt x="254" y="30"/>
                    </a:lnTo>
                    <a:lnTo>
                      <a:pt x="283" y="78"/>
                    </a:lnTo>
                    <a:lnTo>
                      <a:pt x="293" y="69"/>
                    </a:lnTo>
                    <a:lnTo>
                      <a:pt x="302" y="78"/>
                    </a:lnTo>
                    <a:lnTo>
                      <a:pt x="293" y="88"/>
                    </a:lnTo>
                    <a:lnTo>
                      <a:pt x="293" y="98"/>
                    </a:lnTo>
                    <a:lnTo>
                      <a:pt x="293" y="108"/>
                    </a:lnTo>
                    <a:lnTo>
                      <a:pt x="273" y="108"/>
                    </a:lnTo>
                    <a:lnTo>
                      <a:pt x="263" y="108"/>
                    </a:lnTo>
                    <a:lnTo>
                      <a:pt x="254" y="117"/>
                    </a:lnTo>
                    <a:lnTo>
                      <a:pt x="254" y="127"/>
                    </a:lnTo>
                    <a:lnTo>
                      <a:pt x="263" y="137"/>
                    </a:lnTo>
                    <a:lnTo>
                      <a:pt x="254" y="147"/>
                    </a:lnTo>
                    <a:lnTo>
                      <a:pt x="254" y="156"/>
                    </a:lnTo>
                    <a:lnTo>
                      <a:pt x="263" y="166"/>
                    </a:lnTo>
                    <a:lnTo>
                      <a:pt x="254" y="176"/>
                    </a:lnTo>
                    <a:lnTo>
                      <a:pt x="254" y="196"/>
                    </a:lnTo>
                    <a:lnTo>
                      <a:pt x="244" y="215"/>
                    </a:lnTo>
                    <a:lnTo>
                      <a:pt x="244" y="225"/>
                    </a:lnTo>
                    <a:lnTo>
                      <a:pt x="224" y="225"/>
                    </a:lnTo>
                    <a:lnTo>
                      <a:pt x="214" y="235"/>
                    </a:lnTo>
                    <a:lnTo>
                      <a:pt x="224" y="235"/>
                    </a:lnTo>
                    <a:lnTo>
                      <a:pt x="244" y="215"/>
                    </a:lnTo>
                    <a:lnTo>
                      <a:pt x="254" y="215"/>
                    </a:lnTo>
                    <a:lnTo>
                      <a:pt x="263" y="215"/>
                    </a:lnTo>
                    <a:lnTo>
                      <a:pt x="244" y="235"/>
                    </a:lnTo>
                    <a:lnTo>
                      <a:pt x="224" y="244"/>
                    </a:lnTo>
                    <a:lnTo>
                      <a:pt x="214" y="244"/>
                    </a:lnTo>
                    <a:lnTo>
                      <a:pt x="205" y="254"/>
                    </a:lnTo>
                    <a:lnTo>
                      <a:pt x="214" y="264"/>
                    </a:lnTo>
                    <a:lnTo>
                      <a:pt x="205" y="274"/>
                    </a:lnTo>
                    <a:lnTo>
                      <a:pt x="205" y="264"/>
                    </a:lnTo>
                    <a:lnTo>
                      <a:pt x="185" y="274"/>
                    </a:lnTo>
                    <a:lnTo>
                      <a:pt x="175" y="283"/>
                    </a:lnTo>
                    <a:lnTo>
                      <a:pt x="175" y="303"/>
                    </a:lnTo>
                    <a:lnTo>
                      <a:pt x="175" y="313"/>
                    </a:lnTo>
                    <a:lnTo>
                      <a:pt x="166" y="322"/>
                    </a:lnTo>
                    <a:lnTo>
                      <a:pt x="166" y="342"/>
                    </a:lnTo>
                    <a:lnTo>
                      <a:pt x="166" y="361"/>
                    </a:lnTo>
                    <a:lnTo>
                      <a:pt x="156" y="391"/>
                    </a:lnTo>
                    <a:lnTo>
                      <a:pt x="156" y="410"/>
                    </a:lnTo>
                    <a:lnTo>
                      <a:pt x="146" y="430"/>
                    </a:lnTo>
                    <a:lnTo>
                      <a:pt x="136" y="439"/>
                    </a:lnTo>
                    <a:lnTo>
                      <a:pt x="107" y="439"/>
                    </a:lnTo>
                    <a:lnTo>
                      <a:pt x="88" y="439"/>
                    </a:lnTo>
                    <a:lnTo>
                      <a:pt x="78" y="439"/>
                    </a:lnTo>
                    <a:lnTo>
                      <a:pt x="58" y="439"/>
                    </a:lnTo>
                    <a:lnTo>
                      <a:pt x="39" y="430"/>
                    </a:lnTo>
                    <a:lnTo>
                      <a:pt x="29" y="420"/>
                    </a:lnTo>
                    <a:lnTo>
                      <a:pt x="19" y="410"/>
                    </a:lnTo>
                    <a:lnTo>
                      <a:pt x="29" y="391"/>
                    </a:lnTo>
                    <a:lnTo>
                      <a:pt x="29" y="381"/>
                    </a:lnTo>
                    <a:lnTo>
                      <a:pt x="29" y="371"/>
                    </a:lnTo>
                    <a:lnTo>
                      <a:pt x="29" y="352"/>
                    </a:lnTo>
                    <a:lnTo>
                      <a:pt x="29" y="332"/>
                    </a:lnTo>
                    <a:lnTo>
                      <a:pt x="29" y="322"/>
                    </a:lnTo>
                    <a:lnTo>
                      <a:pt x="19" y="313"/>
                    </a:lnTo>
                    <a:lnTo>
                      <a:pt x="10" y="293"/>
                    </a:lnTo>
                    <a:lnTo>
                      <a:pt x="10" y="274"/>
                    </a:lnTo>
                    <a:lnTo>
                      <a:pt x="0" y="244"/>
                    </a:lnTo>
                    <a:lnTo>
                      <a:pt x="0" y="235"/>
                    </a:lnTo>
                    <a:lnTo>
                      <a:pt x="10" y="225"/>
                    </a:lnTo>
                    <a:lnTo>
                      <a:pt x="19" y="215"/>
                    </a:lnTo>
                    <a:lnTo>
                      <a:pt x="29" y="205"/>
                    </a:lnTo>
                    <a:lnTo>
                      <a:pt x="49" y="215"/>
                    </a:lnTo>
                    <a:lnTo>
                      <a:pt x="68" y="205"/>
                    </a:lnTo>
                    <a:lnTo>
                      <a:pt x="78" y="196"/>
                    </a:lnTo>
                    <a:lnTo>
                      <a:pt x="78" y="205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05" name="Freeform 126"/>
            <p:cNvSpPr>
              <a:spLocks/>
            </p:cNvSpPr>
            <p:nvPr/>
          </p:nvSpPr>
          <p:spPr bwMode="auto">
            <a:xfrm>
              <a:off x="3171" y="2691"/>
              <a:ext cx="692" cy="529"/>
            </a:xfrm>
            <a:custGeom>
              <a:avLst/>
              <a:gdLst/>
              <a:ahLst/>
              <a:cxnLst>
                <a:cxn ang="0">
                  <a:pos x="263" y="517"/>
                </a:cxn>
                <a:cxn ang="0">
                  <a:pos x="283" y="497"/>
                </a:cxn>
                <a:cxn ang="0">
                  <a:pos x="293" y="468"/>
                </a:cxn>
                <a:cxn ang="0">
                  <a:pos x="312" y="449"/>
                </a:cxn>
                <a:cxn ang="0">
                  <a:pos x="322" y="449"/>
                </a:cxn>
                <a:cxn ang="0">
                  <a:pos x="332" y="429"/>
                </a:cxn>
                <a:cxn ang="0">
                  <a:pos x="342" y="429"/>
                </a:cxn>
                <a:cxn ang="0">
                  <a:pos x="342" y="410"/>
                </a:cxn>
                <a:cxn ang="0">
                  <a:pos x="361" y="400"/>
                </a:cxn>
                <a:cxn ang="0">
                  <a:pos x="361" y="390"/>
                </a:cxn>
                <a:cxn ang="0">
                  <a:pos x="400" y="390"/>
                </a:cxn>
                <a:cxn ang="0">
                  <a:pos x="410" y="371"/>
                </a:cxn>
                <a:cxn ang="0">
                  <a:pos x="390" y="312"/>
                </a:cxn>
                <a:cxn ang="0">
                  <a:pos x="351" y="293"/>
                </a:cxn>
                <a:cxn ang="0">
                  <a:pos x="381" y="293"/>
                </a:cxn>
                <a:cxn ang="0">
                  <a:pos x="390" y="283"/>
                </a:cxn>
                <a:cxn ang="0">
                  <a:pos x="390" y="234"/>
                </a:cxn>
                <a:cxn ang="0">
                  <a:pos x="439" y="185"/>
                </a:cxn>
                <a:cxn ang="0">
                  <a:pos x="449" y="215"/>
                </a:cxn>
                <a:cxn ang="0">
                  <a:pos x="449" y="244"/>
                </a:cxn>
                <a:cxn ang="0">
                  <a:pos x="468" y="254"/>
                </a:cxn>
                <a:cxn ang="0">
                  <a:pos x="507" y="293"/>
                </a:cxn>
                <a:cxn ang="0">
                  <a:pos x="546" y="293"/>
                </a:cxn>
                <a:cxn ang="0">
                  <a:pos x="595" y="302"/>
                </a:cxn>
                <a:cxn ang="0">
                  <a:pos x="624" y="312"/>
                </a:cxn>
                <a:cxn ang="0">
                  <a:pos x="654" y="293"/>
                </a:cxn>
                <a:cxn ang="0">
                  <a:pos x="683" y="283"/>
                </a:cxn>
                <a:cxn ang="0">
                  <a:pos x="663" y="263"/>
                </a:cxn>
                <a:cxn ang="0">
                  <a:pos x="624" y="234"/>
                </a:cxn>
                <a:cxn ang="0">
                  <a:pos x="585" y="205"/>
                </a:cxn>
                <a:cxn ang="0">
                  <a:pos x="585" y="175"/>
                </a:cxn>
                <a:cxn ang="0">
                  <a:pos x="566" y="166"/>
                </a:cxn>
                <a:cxn ang="0">
                  <a:pos x="566" y="136"/>
                </a:cxn>
                <a:cxn ang="0">
                  <a:pos x="537" y="68"/>
                </a:cxn>
                <a:cxn ang="0">
                  <a:pos x="498" y="39"/>
                </a:cxn>
                <a:cxn ang="0">
                  <a:pos x="468" y="19"/>
                </a:cxn>
                <a:cxn ang="0">
                  <a:pos x="449" y="0"/>
                </a:cxn>
                <a:cxn ang="0">
                  <a:pos x="420" y="0"/>
                </a:cxn>
                <a:cxn ang="0">
                  <a:pos x="410" y="19"/>
                </a:cxn>
                <a:cxn ang="0">
                  <a:pos x="361" y="29"/>
                </a:cxn>
                <a:cxn ang="0">
                  <a:pos x="332" y="49"/>
                </a:cxn>
                <a:cxn ang="0">
                  <a:pos x="303" y="49"/>
                </a:cxn>
                <a:cxn ang="0">
                  <a:pos x="263" y="39"/>
                </a:cxn>
                <a:cxn ang="0">
                  <a:pos x="234" y="39"/>
                </a:cxn>
                <a:cxn ang="0">
                  <a:pos x="215" y="68"/>
                </a:cxn>
                <a:cxn ang="0">
                  <a:pos x="176" y="58"/>
                </a:cxn>
                <a:cxn ang="0">
                  <a:pos x="166" y="117"/>
                </a:cxn>
                <a:cxn ang="0">
                  <a:pos x="107" y="117"/>
                </a:cxn>
                <a:cxn ang="0">
                  <a:pos x="49" y="146"/>
                </a:cxn>
                <a:cxn ang="0">
                  <a:pos x="49" y="185"/>
                </a:cxn>
                <a:cxn ang="0">
                  <a:pos x="0" y="224"/>
                </a:cxn>
                <a:cxn ang="0">
                  <a:pos x="10" y="263"/>
                </a:cxn>
                <a:cxn ang="0">
                  <a:pos x="29" y="312"/>
                </a:cxn>
                <a:cxn ang="0">
                  <a:pos x="78" y="341"/>
                </a:cxn>
                <a:cxn ang="0">
                  <a:pos x="88" y="380"/>
                </a:cxn>
                <a:cxn ang="0">
                  <a:pos x="127" y="410"/>
                </a:cxn>
                <a:cxn ang="0">
                  <a:pos x="146" y="419"/>
                </a:cxn>
                <a:cxn ang="0">
                  <a:pos x="166" y="468"/>
                </a:cxn>
                <a:cxn ang="0">
                  <a:pos x="195" y="468"/>
                </a:cxn>
                <a:cxn ang="0">
                  <a:pos x="205" y="478"/>
                </a:cxn>
                <a:cxn ang="0">
                  <a:pos x="234" y="517"/>
                </a:cxn>
                <a:cxn ang="0">
                  <a:pos x="254" y="517"/>
                </a:cxn>
              </a:cxnLst>
              <a:rect l="0" t="0" r="r" b="b"/>
              <a:pathLst>
                <a:path w="693" h="527">
                  <a:moveTo>
                    <a:pt x="263" y="517"/>
                  </a:moveTo>
                  <a:lnTo>
                    <a:pt x="263" y="517"/>
                  </a:lnTo>
                  <a:lnTo>
                    <a:pt x="263" y="497"/>
                  </a:lnTo>
                  <a:lnTo>
                    <a:pt x="283" y="497"/>
                  </a:lnTo>
                  <a:lnTo>
                    <a:pt x="293" y="488"/>
                  </a:lnTo>
                  <a:lnTo>
                    <a:pt x="293" y="468"/>
                  </a:lnTo>
                  <a:lnTo>
                    <a:pt x="293" y="458"/>
                  </a:lnTo>
                  <a:lnTo>
                    <a:pt x="312" y="449"/>
                  </a:lnTo>
                  <a:lnTo>
                    <a:pt x="322" y="449"/>
                  </a:lnTo>
                  <a:lnTo>
                    <a:pt x="322" y="429"/>
                  </a:lnTo>
                  <a:lnTo>
                    <a:pt x="332" y="429"/>
                  </a:lnTo>
                  <a:lnTo>
                    <a:pt x="342" y="429"/>
                  </a:lnTo>
                  <a:lnTo>
                    <a:pt x="332" y="419"/>
                  </a:lnTo>
                  <a:lnTo>
                    <a:pt x="342" y="410"/>
                  </a:lnTo>
                  <a:lnTo>
                    <a:pt x="361" y="410"/>
                  </a:lnTo>
                  <a:lnTo>
                    <a:pt x="361" y="400"/>
                  </a:lnTo>
                  <a:lnTo>
                    <a:pt x="361" y="390"/>
                  </a:lnTo>
                  <a:lnTo>
                    <a:pt x="381" y="410"/>
                  </a:lnTo>
                  <a:lnTo>
                    <a:pt x="400" y="390"/>
                  </a:lnTo>
                  <a:lnTo>
                    <a:pt x="410" y="380"/>
                  </a:lnTo>
                  <a:lnTo>
                    <a:pt x="410" y="371"/>
                  </a:lnTo>
                  <a:lnTo>
                    <a:pt x="400" y="332"/>
                  </a:lnTo>
                  <a:lnTo>
                    <a:pt x="390" y="312"/>
                  </a:lnTo>
                  <a:lnTo>
                    <a:pt x="361" y="312"/>
                  </a:lnTo>
                  <a:lnTo>
                    <a:pt x="351" y="293"/>
                  </a:lnTo>
                  <a:lnTo>
                    <a:pt x="361" y="293"/>
                  </a:lnTo>
                  <a:lnTo>
                    <a:pt x="381" y="293"/>
                  </a:lnTo>
                  <a:lnTo>
                    <a:pt x="390" y="293"/>
                  </a:lnTo>
                  <a:lnTo>
                    <a:pt x="390" y="283"/>
                  </a:lnTo>
                  <a:lnTo>
                    <a:pt x="390" y="254"/>
                  </a:lnTo>
                  <a:lnTo>
                    <a:pt x="390" y="234"/>
                  </a:lnTo>
                  <a:lnTo>
                    <a:pt x="420" y="205"/>
                  </a:lnTo>
                  <a:lnTo>
                    <a:pt x="439" y="185"/>
                  </a:lnTo>
                  <a:lnTo>
                    <a:pt x="449" y="195"/>
                  </a:lnTo>
                  <a:lnTo>
                    <a:pt x="449" y="215"/>
                  </a:lnTo>
                  <a:lnTo>
                    <a:pt x="449" y="234"/>
                  </a:lnTo>
                  <a:lnTo>
                    <a:pt x="449" y="244"/>
                  </a:lnTo>
                  <a:lnTo>
                    <a:pt x="449" y="254"/>
                  </a:lnTo>
                  <a:lnTo>
                    <a:pt x="468" y="254"/>
                  </a:lnTo>
                  <a:lnTo>
                    <a:pt x="488" y="263"/>
                  </a:lnTo>
                  <a:lnTo>
                    <a:pt x="507" y="293"/>
                  </a:lnTo>
                  <a:lnTo>
                    <a:pt x="527" y="293"/>
                  </a:lnTo>
                  <a:lnTo>
                    <a:pt x="546" y="293"/>
                  </a:lnTo>
                  <a:lnTo>
                    <a:pt x="566" y="283"/>
                  </a:lnTo>
                  <a:lnTo>
                    <a:pt x="595" y="302"/>
                  </a:lnTo>
                  <a:lnTo>
                    <a:pt x="605" y="312"/>
                  </a:lnTo>
                  <a:lnTo>
                    <a:pt x="624" y="312"/>
                  </a:lnTo>
                  <a:lnTo>
                    <a:pt x="644" y="302"/>
                  </a:lnTo>
                  <a:lnTo>
                    <a:pt x="654" y="293"/>
                  </a:lnTo>
                  <a:lnTo>
                    <a:pt x="663" y="283"/>
                  </a:lnTo>
                  <a:lnTo>
                    <a:pt x="683" y="283"/>
                  </a:lnTo>
                  <a:lnTo>
                    <a:pt x="693" y="273"/>
                  </a:lnTo>
                  <a:lnTo>
                    <a:pt x="663" y="263"/>
                  </a:lnTo>
                  <a:lnTo>
                    <a:pt x="654" y="254"/>
                  </a:lnTo>
                  <a:lnTo>
                    <a:pt x="624" y="234"/>
                  </a:lnTo>
                  <a:lnTo>
                    <a:pt x="605" y="224"/>
                  </a:lnTo>
                  <a:lnTo>
                    <a:pt x="585" y="205"/>
                  </a:lnTo>
                  <a:lnTo>
                    <a:pt x="576" y="185"/>
                  </a:lnTo>
                  <a:lnTo>
                    <a:pt x="585" y="175"/>
                  </a:lnTo>
                  <a:lnTo>
                    <a:pt x="585" y="166"/>
                  </a:lnTo>
                  <a:lnTo>
                    <a:pt x="566" y="166"/>
                  </a:lnTo>
                  <a:lnTo>
                    <a:pt x="566" y="156"/>
                  </a:lnTo>
                  <a:lnTo>
                    <a:pt x="566" y="136"/>
                  </a:lnTo>
                  <a:lnTo>
                    <a:pt x="566" y="107"/>
                  </a:lnTo>
                  <a:lnTo>
                    <a:pt x="537" y="68"/>
                  </a:lnTo>
                  <a:lnTo>
                    <a:pt x="517" y="49"/>
                  </a:lnTo>
                  <a:lnTo>
                    <a:pt x="498" y="39"/>
                  </a:lnTo>
                  <a:lnTo>
                    <a:pt x="478" y="29"/>
                  </a:lnTo>
                  <a:lnTo>
                    <a:pt x="468" y="19"/>
                  </a:lnTo>
                  <a:lnTo>
                    <a:pt x="449" y="19"/>
                  </a:lnTo>
                  <a:lnTo>
                    <a:pt x="449" y="0"/>
                  </a:lnTo>
                  <a:lnTo>
                    <a:pt x="429" y="0"/>
                  </a:lnTo>
                  <a:lnTo>
                    <a:pt x="420" y="0"/>
                  </a:lnTo>
                  <a:lnTo>
                    <a:pt x="420" y="10"/>
                  </a:lnTo>
                  <a:lnTo>
                    <a:pt x="410" y="19"/>
                  </a:lnTo>
                  <a:lnTo>
                    <a:pt x="381" y="29"/>
                  </a:lnTo>
                  <a:lnTo>
                    <a:pt x="361" y="29"/>
                  </a:lnTo>
                  <a:lnTo>
                    <a:pt x="361" y="49"/>
                  </a:lnTo>
                  <a:lnTo>
                    <a:pt x="332" y="49"/>
                  </a:lnTo>
                  <a:lnTo>
                    <a:pt x="322" y="39"/>
                  </a:lnTo>
                  <a:lnTo>
                    <a:pt x="303" y="49"/>
                  </a:lnTo>
                  <a:lnTo>
                    <a:pt x="283" y="49"/>
                  </a:lnTo>
                  <a:lnTo>
                    <a:pt x="263" y="39"/>
                  </a:lnTo>
                  <a:lnTo>
                    <a:pt x="254" y="39"/>
                  </a:lnTo>
                  <a:lnTo>
                    <a:pt x="234" y="39"/>
                  </a:lnTo>
                  <a:lnTo>
                    <a:pt x="234" y="68"/>
                  </a:lnTo>
                  <a:lnTo>
                    <a:pt x="215" y="68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66" y="88"/>
                  </a:lnTo>
                  <a:lnTo>
                    <a:pt x="166" y="117"/>
                  </a:lnTo>
                  <a:lnTo>
                    <a:pt x="127" y="117"/>
                  </a:lnTo>
                  <a:lnTo>
                    <a:pt x="107" y="117"/>
                  </a:lnTo>
                  <a:lnTo>
                    <a:pt x="59" y="117"/>
                  </a:lnTo>
                  <a:lnTo>
                    <a:pt x="49" y="146"/>
                  </a:lnTo>
                  <a:lnTo>
                    <a:pt x="49" y="166"/>
                  </a:lnTo>
                  <a:lnTo>
                    <a:pt x="49" y="185"/>
                  </a:lnTo>
                  <a:lnTo>
                    <a:pt x="20" y="205"/>
                  </a:lnTo>
                  <a:lnTo>
                    <a:pt x="0" y="224"/>
                  </a:lnTo>
                  <a:lnTo>
                    <a:pt x="0" y="244"/>
                  </a:lnTo>
                  <a:lnTo>
                    <a:pt x="10" y="263"/>
                  </a:lnTo>
                  <a:lnTo>
                    <a:pt x="20" y="283"/>
                  </a:lnTo>
                  <a:lnTo>
                    <a:pt x="29" y="312"/>
                  </a:lnTo>
                  <a:lnTo>
                    <a:pt x="49" y="332"/>
                  </a:lnTo>
                  <a:lnTo>
                    <a:pt x="78" y="341"/>
                  </a:lnTo>
                  <a:lnTo>
                    <a:pt x="88" y="361"/>
                  </a:lnTo>
                  <a:lnTo>
                    <a:pt x="88" y="380"/>
                  </a:lnTo>
                  <a:lnTo>
                    <a:pt x="107" y="390"/>
                  </a:lnTo>
                  <a:lnTo>
                    <a:pt x="127" y="410"/>
                  </a:lnTo>
                  <a:lnTo>
                    <a:pt x="146" y="400"/>
                  </a:lnTo>
                  <a:lnTo>
                    <a:pt x="146" y="419"/>
                  </a:lnTo>
                  <a:lnTo>
                    <a:pt x="156" y="429"/>
                  </a:lnTo>
                  <a:lnTo>
                    <a:pt x="166" y="468"/>
                  </a:lnTo>
                  <a:lnTo>
                    <a:pt x="185" y="468"/>
                  </a:lnTo>
                  <a:lnTo>
                    <a:pt x="195" y="468"/>
                  </a:lnTo>
                  <a:lnTo>
                    <a:pt x="195" y="478"/>
                  </a:lnTo>
                  <a:lnTo>
                    <a:pt x="205" y="478"/>
                  </a:lnTo>
                  <a:lnTo>
                    <a:pt x="215" y="497"/>
                  </a:lnTo>
                  <a:lnTo>
                    <a:pt x="234" y="517"/>
                  </a:lnTo>
                  <a:lnTo>
                    <a:pt x="244" y="527"/>
                  </a:lnTo>
                  <a:lnTo>
                    <a:pt x="254" y="517"/>
                  </a:lnTo>
                  <a:lnTo>
                    <a:pt x="263" y="51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Freeform 125"/>
            <p:cNvSpPr>
              <a:spLocks/>
            </p:cNvSpPr>
            <p:nvPr/>
          </p:nvSpPr>
          <p:spPr bwMode="auto">
            <a:xfrm>
              <a:off x="3413" y="2877"/>
              <a:ext cx="447" cy="618"/>
            </a:xfrm>
            <a:custGeom>
              <a:avLst/>
              <a:gdLst>
                <a:gd name="T0" fmla="*/ 166 w 449"/>
                <a:gd name="T1" fmla="*/ 195 h 615"/>
                <a:gd name="T2" fmla="*/ 146 w 449"/>
                <a:gd name="T3" fmla="*/ 127 h 615"/>
                <a:gd name="T4" fmla="*/ 117 w 449"/>
                <a:gd name="T5" fmla="*/ 108 h 615"/>
                <a:gd name="T6" fmla="*/ 146 w 449"/>
                <a:gd name="T7" fmla="*/ 98 h 615"/>
                <a:gd name="T8" fmla="*/ 176 w 449"/>
                <a:gd name="T9" fmla="*/ 20 h 615"/>
                <a:gd name="T10" fmla="*/ 205 w 449"/>
                <a:gd name="T11" fmla="*/ 30 h 615"/>
                <a:gd name="T12" fmla="*/ 205 w 449"/>
                <a:gd name="T13" fmla="*/ 69 h 615"/>
                <a:gd name="T14" fmla="*/ 262 w 449"/>
                <a:gd name="T15" fmla="*/ 108 h 615"/>
                <a:gd name="T16" fmla="*/ 311 w 449"/>
                <a:gd name="T17" fmla="*/ 98 h 615"/>
                <a:gd name="T18" fmla="*/ 369 w 449"/>
                <a:gd name="T19" fmla="*/ 127 h 615"/>
                <a:gd name="T20" fmla="*/ 408 w 449"/>
                <a:gd name="T21" fmla="*/ 98 h 615"/>
                <a:gd name="T22" fmla="*/ 438 w 449"/>
                <a:gd name="T23" fmla="*/ 108 h 615"/>
                <a:gd name="T24" fmla="*/ 408 w 449"/>
                <a:gd name="T25" fmla="*/ 127 h 615"/>
                <a:gd name="T26" fmla="*/ 408 w 449"/>
                <a:gd name="T27" fmla="*/ 147 h 615"/>
                <a:gd name="T28" fmla="*/ 438 w 449"/>
                <a:gd name="T29" fmla="*/ 186 h 615"/>
                <a:gd name="T30" fmla="*/ 408 w 449"/>
                <a:gd name="T31" fmla="*/ 225 h 615"/>
                <a:gd name="T32" fmla="*/ 418 w 449"/>
                <a:gd name="T33" fmla="*/ 293 h 615"/>
                <a:gd name="T34" fmla="*/ 399 w 449"/>
                <a:gd name="T35" fmla="*/ 332 h 615"/>
                <a:gd name="T36" fmla="*/ 399 w 449"/>
                <a:gd name="T37" fmla="*/ 371 h 615"/>
                <a:gd name="T38" fmla="*/ 379 w 449"/>
                <a:gd name="T39" fmla="*/ 381 h 615"/>
                <a:gd name="T40" fmla="*/ 330 w 449"/>
                <a:gd name="T41" fmla="*/ 381 h 615"/>
                <a:gd name="T42" fmla="*/ 311 w 449"/>
                <a:gd name="T43" fmla="*/ 410 h 615"/>
                <a:gd name="T44" fmla="*/ 291 w 449"/>
                <a:gd name="T45" fmla="*/ 430 h 615"/>
                <a:gd name="T46" fmla="*/ 291 w 449"/>
                <a:gd name="T47" fmla="*/ 488 h 615"/>
                <a:gd name="T48" fmla="*/ 311 w 449"/>
                <a:gd name="T49" fmla="*/ 527 h 615"/>
                <a:gd name="T50" fmla="*/ 282 w 449"/>
                <a:gd name="T51" fmla="*/ 547 h 615"/>
                <a:gd name="T52" fmla="*/ 272 w 449"/>
                <a:gd name="T53" fmla="*/ 586 h 615"/>
                <a:gd name="T54" fmla="*/ 243 w 449"/>
                <a:gd name="T55" fmla="*/ 605 h 615"/>
                <a:gd name="T56" fmla="*/ 195 w 449"/>
                <a:gd name="T57" fmla="*/ 605 h 615"/>
                <a:gd name="T58" fmla="*/ 166 w 449"/>
                <a:gd name="T59" fmla="*/ 615 h 615"/>
                <a:gd name="T60" fmla="*/ 137 w 449"/>
                <a:gd name="T61" fmla="*/ 595 h 615"/>
                <a:gd name="T62" fmla="*/ 107 w 449"/>
                <a:gd name="T63" fmla="*/ 595 h 615"/>
                <a:gd name="T64" fmla="*/ 127 w 449"/>
                <a:gd name="T65" fmla="*/ 556 h 615"/>
                <a:gd name="T66" fmla="*/ 156 w 449"/>
                <a:gd name="T67" fmla="*/ 547 h 615"/>
                <a:gd name="T68" fmla="*/ 127 w 449"/>
                <a:gd name="T69" fmla="*/ 547 h 615"/>
                <a:gd name="T70" fmla="*/ 107 w 449"/>
                <a:gd name="T71" fmla="*/ 517 h 615"/>
                <a:gd name="T72" fmla="*/ 88 w 449"/>
                <a:gd name="T73" fmla="*/ 527 h 615"/>
                <a:gd name="T74" fmla="*/ 78 w 449"/>
                <a:gd name="T75" fmla="*/ 508 h 615"/>
                <a:gd name="T76" fmla="*/ 78 w 449"/>
                <a:gd name="T77" fmla="*/ 478 h 615"/>
                <a:gd name="T78" fmla="*/ 68 w 449"/>
                <a:gd name="T79" fmla="*/ 488 h 615"/>
                <a:gd name="T80" fmla="*/ 49 w 449"/>
                <a:gd name="T81" fmla="*/ 478 h 615"/>
                <a:gd name="T82" fmla="*/ 19 w 449"/>
                <a:gd name="T83" fmla="*/ 478 h 615"/>
                <a:gd name="T84" fmla="*/ 0 w 449"/>
                <a:gd name="T85" fmla="*/ 469 h 615"/>
                <a:gd name="T86" fmla="*/ 19 w 449"/>
                <a:gd name="T87" fmla="*/ 430 h 615"/>
                <a:gd name="T88" fmla="*/ 29 w 449"/>
                <a:gd name="T89" fmla="*/ 400 h 615"/>
                <a:gd name="T90" fmla="*/ 39 w 449"/>
                <a:gd name="T91" fmla="*/ 351 h 615"/>
                <a:gd name="T92" fmla="*/ 29 w 449"/>
                <a:gd name="T93" fmla="*/ 312 h 615"/>
                <a:gd name="T94" fmla="*/ 49 w 449"/>
                <a:gd name="T95" fmla="*/ 293 h 615"/>
                <a:gd name="T96" fmla="*/ 78 w 449"/>
                <a:gd name="T97" fmla="*/ 273 h 615"/>
                <a:gd name="T98" fmla="*/ 88 w 449"/>
                <a:gd name="T99" fmla="*/ 254 h 615"/>
                <a:gd name="T100" fmla="*/ 98 w 449"/>
                <a:gd name="T101" fmla="*/ 234 h 615"/>
                <a:gd name="T102" fmla="*/ 117 w 449"/>
                <a:gd name="T103" fmla="*/ 215 h 615"/>
                <a:gd name="T104" fmla="*/ 137 w 449"/>
                <a:gd name="T105" fmla="*/ 225 h 6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49"/>
                <a:gd name="T160" fmla="*/ 0 h 615"/>
                <a:gd name="T161" fmla="*/ 449 w 449"/>
                <a:gd name="T162" fmla="*/ 615 h 61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49" h="615">
                  <a:moveTo>
                    <a:pt x="137" y="225"/>
                  </a:moveTo>
                  <a:lnTo>
                    <a:pt x="156" y="215"/>
                  </a:lnTo>
                  <a:lnTo>
                    <a:pt x="166" y="195"/>
                  </a:lnTo>
                  <a:lnTo>
                    <a:pt x="166" y="186"/>
                  </a:lnTo>
                  <a:lnTo>
                    <a:pt x="156" y="156"/>
                  </a:lnTo>
                  <a:lnTo>
                    <a:pt x="146" y="127"/>
                  </a:lnTo>
                  <a:lnTo>
                    <a:pt x="127" y="127"/>
                  </a:lnTo>
                  <a:lnTo>
                    <a:pt x="107" y="117"/>
                  </a:lnTo>
                  <a:lnTo>
                    <a:pt x="117" y="108"/>
                  </a:lnTo>
                  <a:lnTo>
                    <a:pt x="137" y="108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46" y="69"/>
                  </a:lnTo>
                  <a:lnTo>
                    <a:pt x="146" y="59"/>
                  </a:lnTo>
                  <a:lnTo>
                    <a:pt x="176" y="20"/>
                  </a:lnTo>
                  <a:lnTo>
                    <a:pt x="195" y="0"/>
                  </a:lnTo>
                  <a:lnTo>
                    <a:pt x="205" y="20"/>
                  </a:lnTo>
                  <a:lnTo>
                    <a:pt x="205" y="30"/>
                  </a:lnTo>
                  <a:lnTo>
                    <a:pt x="205" y="49"/>
                  </a:lnTo>
                  <a:lnTo>
                    <a:pt x="205" y="59"/>
                  </a:lnTo>
                  <a:lnTo>
                    <a:pt x="205" y="69"/>
                  </a:lnTo>
                  <a:lnTo>
                    <a:pt x="224" y="69"/>
                  </a:lnTo>
                  <a:lnTo>
                    <a:pt x="244" y="78"/>
                  </a:lnTo>
                  <a:lnTo>
                    <a:pt x="273" y="108"/>
                  </a:lnTo>
                  <a:lnTo>
                    <a:pt x="283" y="117"/>
                  </a:lnTo>
                  <a:lnTo>
                    <a:pt x="302" y="108"/>
                  </a:lnTo>
                  <a:lnTo>
                    <a:pt x="322" y="98"/>
                  </a:lnTo>
                  <a:lnTo>
                    <a:pt x="351" y="117"/>
                  </a:lnTo>
                  <a:lnTo>
                    <a:pt x="361" y="127"/>
                  </a:lnTo>
                  <a:lnTo>
                    <a:pt x="380" y="127"/>
                  </a:lnTo>
                  <a:lnTo>
                    <a:pt x="400" y="117"/>
                  </a:lnTo>
                  <a:lnTo>
                    <a:pt x="410" y="117"/>
                  </a:lnTo>
                  <a:lnTo>
                    <a:pt x="419" y="98"/>
                  </a:lnTo>
                  <a:lnTo>
                    <a:pt x="439" y="98"/>
                  </a:lnTo>
                  <a:lnTo>
                    <a:pt x="449" y="88"/>
                  </a:lnTo>
                  <a:lnTo>
                    <a:pt x="449" y="108"/>
                  </a:lnTo>
                  <a:lnTo>
                    <a:pt x="439" y="117"/>
                  </a:lnTo>
                  <a:lnTo>
                    <a:pt x="429" y="117"/>
                  </a:lnTo>
                  <a:lnTo>
                    <a:pt x="419" y="127"/>
                  </a:lnTo>
                  <a:lnTo>
                    <a:pt x="429" y="137"/>
                  </a:lnTo>
                  <a:lnTo>
                    <a:pt x="429" y="147"/>
                  </a:lnTo>
                  <a:lnTo>
                    <a:pt x="419" y="147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49" y="186"/>
                  </a:lnTo>
                  <a:lnTo>
                    <a:pt x="429" y="195"/>
                  </a:lnTo>
                  <a:lnTo>
                    <a:pt x="429" y="215"/>
                  </a:lnTo>
                  <a:lnTo>
                    <a:pt x="419" y="225"/>
                  </a:lnTo>
                  <a:lnTo>
                    <a:pt x="429" y="244"/>
                  </a:lnTo>
                  <a:lnTo>
                    <a:pt x="429" y="254"/>
                  </a:lnTo>
                  <a:lnTo>
                    <a:pt x="429" y="293"/>
                  </a:lnTo>
                  <a:lnTo>
                    <a:pt x="429" y="312"/>
                  </a:lnTo>
                  <a:lnTo>
                    <a:pt x="429" y="332"/>
                  </a:lnTo>
                  <a:lnTo>
                    <a:pt x="410" y="332"/>
                  </a:lnTo>
                  <a:lnTo>
                    <a:pt x="400" y="332"/>
                  </a:lnTo>
                  <a:lnTo>
                    <a:pt x="390" y="351"/>
                  </a:lnTo>
                  <a:lnTo>
                    <a:pt x="410" y="371"/>
                  </a:lnTo>
                  <a:lnTo>
                    <a:pt x="410" y="381"/>
                  </a:lnTo>
                  <a:lnTo>
                    <a:pt x="400" y="381"/>
                  </a:lnTo>
                  <a:lnTo>
                    <a:pt x="390" y="381"/>
                  </a:lnTo>
                  <a:lnTo>
                    <a:pt x="380" y="371"/>
                  </a:lnTo>
                  <a:lnTo>
                    <a:pt x="371" y="381"/>
                  </a:lnTo>
                  <a:lnTo>
                    <a:pt x="341" y="381"/>
                  </a:lnTo>
                  <a:lnTo>
                    <a:pt x="332" y="391"/>
                  </a:lnTo>
                  <a:lnTo>
                    <a:pt x="332" y="410"/>
                  </a:lnTo>
                  <a:lnTo>
                    <a:pt x="322" y="410"/>
                  </a:lnTo>
                  <a:lnTo>
                    <a:pt x="312" y="410"/>
                  </a:lnTo>
                  <a:lnTo>
                    <a:pt x="312" y="430"/>
                  </a:lnTo>
                  <a:lnTo>
                    <a:pt x="302" y="430"/>
                  </a:lnTo>
                  <a:lnTo>
                    <a:pt x="293" y="449"/>
                  </a:lnTo>
                  <a:lnTo>
                    <a:pt x="293" y="469"/>
                  </a:lnTo>
                  <a:lnTo>
                    <a:pt x="302" y="488"/>
                  </a:lnTo>
                  <a:lnTo>
                    <a:pt x="312" y="498"/>
                  </a:lnTo>
                  <a:lnTo>
                    <a:pt x="322" y="517"/>
                  </a:lnTo>
                  <a:lnTo>
                    <a:pt x="322" y="527"/>
                  </a:lnTo>
                  <a:lnTo>
                    <a:pt x="312" y="527"/>
                  </a:lnTo>
                  <a:lnTo>
                    <a:pt x="302" y="527"/>
                  </a:lnTo>
                  <a:lnTo>
                    <a:pt x="293" y="547"/>
                  </a:lnTo>
                  <a:lnTo>
                    <a:pt x="293" y="566"/>
                  </a:lnTo>
                  <a:lnTo>
                    <a:pt x="283" y="576"/>
                  </a:lnTo>
                  <a:lnTo>
                    <a:pt x="283" y="586"/>
                  </a:lnTo>
                  <a:lnTo>
                    <a:pt x="273" y="586"/>
                  </a:lnTo>
                  <a:lnTo>
                    <a:pt x="273" y="595"/>
                  </a:lnTo>
                  <a:lnTo>
                    <a:pt x="254" y="605"/>
                  </a:lnTo>
                  <a:lnTo>
                    <a:pt x="244" y="605"/>
                  </a:lnTo>
                  <a:lnTo>
                    <a:pt x="215" y="605"/>
                  </a:lnTo>
                  <a:lnTo>
                    <a:pt x="195" y="605"/>
                  </a:lnTo>
                  <a:lnTo>
                    <a:pt x="185" y="605"/>
                  </a:lnTo>
                  <a:lnTo>
                    <a:pt x="185" y="615"/>
                  </a:lnTo>
                  <a:lnTo>
                    <a:pt x="166" y="615"/>
                  </a:lnTo>
                  <a:lnTo>
                    <a:pt x="166" y="605"/>
                  </a:lnTo>
                  <a:lnTo>
                    <a:pt x="156" y="605"/>
                  </a:lnTo>
                  <a:lnTo>
                    <a:pt x="137" y="595"/>
                  </a:lnTo>
                  <a:lnTo>
                    <a:pt x="127" y="595"/>
                  </a:lnTo>
                  <a:lnTo>
                    <a:pt x="117" y="595"/>
                  </a:lnTo>
                  <a:lnTo>
                    <a:pt x="107" y="595"/>
                  </a:lnTo>
                  <a:lnTo>
                    <a:pt x="107" y="576"/>
                  </a:lnTo>
                  <a:lnTo>
                    <a:pt x="107" y="566"/>
                  </a:lnTo>
                  <a:lnTo>
                    <a:pt x="127" y="556"/>
                  </a:lnTo>
                  <a:lnTo>
                    <a:pt x="137" y="556"/>
                  </a:lnTo>
                  <a:lnTo>
                    <a:pt x="156" y="556"/>
                  </a:lnTo>
                  <a:lnTo>
                    <a:pt x="156" y="547"/>
                  </a:lnTo>
                  <a:lnTo>
                    <a:pt x="146" y="547"/>
                  </a:lnTo>
                  <a:lnTo>
                    <a:pt x="137" y="547"/>
                  </a:lnTo>
                  <a:lnTo>
                    <a:pt x="127" y="547"/>
                  </a:lnTo>
                  <a:lnTo>
                    <a:pt x="117" y="537"/>
                  </a:lnTo>
                  <a:lnTo>
                    <a:pt x="107" y="527"/>
                  </a:lnTo>
                  <a:lnTo>
                    <a:pt x="107" y="517"/>
                  </a:lnTo>
                  <a:lnTo>
                    <a:pt x="98" y="508"/>
                  </a:lnTo>
                  <a:lnTo>
                    <a:pt x="88" y="517"/>
                  </a:lnTo>
                  <a:lnTo>
                    <a:pt x="88" y="527"/>
                  </a:lnTo>
                  <a:lnTo>
                    <a:pt x="78" y="517"/>
                  </a:lnTo>
                  <a:lnTo>
                    <a:pt x="68" y="517"/>
                  </a:lnTo>
                  <a:lnTo>
                    <a:pt x="78" y="508"/>
                  </a:lnTo>
                  <a:lnTo>
                    <a:pt x="78" y="498"/>
                  </a:lnTo>
                  <a:lnTo>
                    <a:pt x="78" y="488"/>
                  </a:lnTo>
                  <a:lnTo>
                    <a:pt x="78" y="478"/>
                  </a:lnTo>
                  <a:lnTo>
                    <a:pt x="68" y="478"/>
                  </a:lnTo>
                  <a:lnTo>
                    <a:pt x="68" y="488"/>
                  </a:lnTo>
                  <a:lnTo>
                    <a:pt x="59" y="488"/>
                  </a:lnTo>
                  <a:lnTo>
                    <a:pt x="49" y="478"/>
                  </a:lnTo>
                  <a:lnTo>
                    <a:pt x="39" y="478"/>
                  </a:lnTo>
                  <a:lnTo>
                    <a:pt x="29" y="488"/>
                  </a:lnTo>
                  <a:lnTo>
                    <a:pt x="19" y="478"/>
                  </a:lnTo>
                  <a:lnTo>
                    <a:pt x="19" y="469"/>
                  </a:lnTo>
                  <a:lnTo>
                    <a:pt x="10" y="469"/>
                  </a:lnTo>
                  <a:lnTo>
                    <a:pt x="0" y="469"/>
                  </a:lnTo>
                  <a:lnTo>
                    <a:pt x="0" y="459"/>
                  </a:lnTo>
                  <a:lnTo>
                    <a:pt x="10" y="439"/>
                  </a:lnTo>
                  <a:lnTo>
                    <a:pt x="19" y="430"/>
                  </a:lnTo>
                  <a:lnTo>
                    <a:pt x="19" y="420"/>
                  </a:lnTo>
                  <a:lnTo>
                    <a:pt x="39" y="410"/>
                  </a:lnTo>
                  <a:lnTo>
                    <a:pt x="29" y="400"/>
                  </a:lnTo>
                  <a:lnTo>
                    <a:pt x="29" y="381"/>
                  </a:lnTo>
                  <a:lnTo>
                    <a:pt x="29" y="371"/>
                  </a:lnTo>
                  <a:lnTo>
                    <a:pt x="39" y="351"/>
                  </a:lnTo>
                  <a:lnTo>
                    <a:pt x="39" y="332"/>
                  </a:lnTo>
                  <a:lnTo>
                    <a:pt x="19" y="332"/>
                  </a:lnTo>
                  <a:lnTo>
                    <a:pt x="29" y="312"/>
                  </a:lnTo>
                  <a:lnTo>
                    <a:pt x="39" y="312"/>
                  </a:lnTo>
                  <a:lnTo>
                    <a:pt x="49" y="303"/>
                  </a:lnTo>
                  <a:lnTo>
                    <a:pt x="49" y="293"/>
                  </a:lnTo>
                  <a:lnTo>
                    <a:pt x="49" y="273"/>
                  </a:lnTo>
                  <a:lnTo>
                    <a:pt x="68" y="273"/>
                  </a:lnTo>
                  <a:lnTo>
                    <a:pt x="78" y="273"/>
                  </a:lnTo>
                  <a:lnTo>
                    <a:pt x="78" y="264"/>
                  </a:lnTo>
                  <a:lnTo>
                    <a:pt x="78" y="254"/>
                  </a:lnTo>
                  <a:lnTo>
                    <a:pt x="88" y="254"/>
                  </a:lnTo>
                  <a:lnTo>
                    <a:pt x="98" y="254"/>
                  </a:lnTo>
                  <a:lnTo>
                    <a:pt x="98" y="244"/>
                  </a:lnTo>
                  <a:lnTo>
                    <a:pt x="98" y="234"/>
                  </a:lnTo>
                  <a:lnTo>
                    <a:pt x="117" y="225"/>
                  </a:lnTo>
                  <a:lnTo>
                    <a:pt x="117" y="215"/>
                  </a:lnTo>
                  <a:lnTo>
                    <a:pt x="127" y="205"/>
                  </a:lnTo>
                  <a:lnTo>
                    <a:pt x="137" y="225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Freeform 124"/>
            <p:cNvSpPr>
              <a:spLocks/>
            </p:cNvSpPr>
            <p:nvPr/>
          </p:nvSpPr>
          <p:spPr bwMode="auto">
            <a:xfrm>
              <a:off x="3834" y="2771"/>
              <a:ext cx="849" cy="675"/>
            </a:xfrm>
            <a:custGeom>
              <a:avLst/>
              <a:gdLst>
                <a:gd name="T0" fmla="*/ 565 w 849"/>
                <a:gd name="T1" fmla="*/ 666 h 673"/>
                <a:gd name="T2" fmla="*/ 604 w 849"/>
                <a:gd name="T3" fmla="*/ 646 h 673"/>
                <a:gd name="T4" fmla="*/ 653 w 849"/>
                <a:gd name="T5" fmla="*/ 656 h 673"/>
                <a:gd name="T6" fmla="*/ 701 w 849"/>
                <a:gd name="T7" fmla="*/ 656 h 673"/>
                <a:gd name="T8" fmla="*/ 750 w 849"/>
                <a:gd name="T9" fmla="*/ 637 h 673"/>
                <a:gd name="T10" fmla="*/ 770 w 849"/>
                <a:gd name="T11" fmla="*/ 627 h 673"/>
                <a:gd name="T12" fmla="*/ 770 w 849"/>
                <a:gd name="T13" fmla="*/ 598 h 673"/>
                <a:gd name="T14" fmla="*/ 789 w 849"/>
                <a:gd name="T15" fmla="*/ 588 h 673"/>
                <a:gd name="T16" fmla="*/ 809 w 849"/>
                <a:gd name="T17" fmla="*/ 568 h 673"/>
                <a:gd name="T18" fmla="*/ 828 w 849"/>
                <a:gd name="T19" fmla="*/ 513 h 673"/>
                <a:gd name="T20" fmla="*/ 780 w 849"/>
                <a:gd name="T21" fmla="*/ 469 h 673"/>
                <a:gd name="T22" fmla="*/ 760 w 849"/>
                <a:gd name="T23" fmla="*/ 421 h 673"/>
                <a:gd name="T24" fmla="*/ 819 w 849"/>
                <a:gd name="T25" fmla="*/ 391 h 673"/>
                <a:gd name="T26" fmla="*/ 809 w 849"/>
                <a:gd name="T27" fmla="*/ 352 h 673"/>
                <a:gd name="T28" fmla="*/ 780 w 849"/>
                <a:gd name="T29" fmla="*/ 352 h 673"/>
                <a:gd name="T30" fmla="*/ 740 w 849"/>
                <a:gd name="T31" fmla="*/ 284 h 673"/>
                <a:gd name="T32" fmla="*/ 721 w 849"/>
                <a:gd name="T33" fmla="*/ 255 h 673"/>
                <a:gd name="T34" fmla="*/ 643 w 849"/>
                <a:gd name="T35" fmla="*/ 255 h 673"/>
                <a:gd name="T36" fmla="*/ 604 w 849"/>
                <a:gd name="T37" fmla="*/ 216 h 673"/>
                <a:gd name="T38" fmla="*/ 623 w 849"/>
                <a:gd name="T39" fmla="*/ 166 h 673"/>
                <a:gd name="T40" fmla="*/ 623 w 849"/>
                <a:gd name="T41" fmla="*/ 127 h 673"/>
                <a:gd name="T42" fmla="*/ 584 w 849"/>
                <a:gd name="T43" fmla="*/ 107 h 673"/>
                <a:gd name="T44" fmla="*/ 536 w 849"/>
                <a:gd name="T45" fmla="*/ 97 h 673"/>
                <a:gd name="T46" fmla="*/ 506 w 849"/>
                <a:gd name="T47" fmla="*/ 117 h 673"/>
                <a:gd name="T48" fmla="*/ 458 w 849"/>
                <a:gd name="T49" fmla="*/ 107 h 673"/>
                <a:gd name="T50" fmla="*/ 424 w 849"/>
                <a:gd name="T51" fmla="*/ 88 h 673"/>
                <a:gd name="T52" fmla="*/ 410 w 849"/>
                <a:gd name="T53" fmla="*/ 68 h 673"/>
                <a:gd name="T54" fmla="*/ 371 w 849"/>
                <a:gd name="T55" fmla="*/ 68 h 673"/>
                <a:gd name="T56" fmla="*/ 293 w 849"/>
                <a:gd name="T57" fmla="*/ 29 h 673"/>
                <a:gd name="T58" fmla="*/ 264 w 849"/>
                <a:gd name="T59" fmla="*/ 10 h 673"/>
                <a:gd name="T60" fmla="*/ 235 w 849"/>
                <a:gd name="T61" fmla="*/ 0 h 673"/>
                <a:gd name="T62" fmla="*/ 205 w 849"/>
                <a:gd name="T63" fmla="*/ 29 h 673"/>
                <a:gd name="T64" fmla="*/ 176 w 849"/>
                <a:gd name="T65" fmla="*/ 68 h 673"/>
                <a:gd name="T66" fmla="*/ 156 w 849"/>
                <a:gd name="T67" fmla="*/ 117 h 673"/>
                <a:gd name="T68" fmla="*/ 108 w 849"/>
                <a:gd name="T69" fmla="*/ 137 h 673"/>
                <a:gd name="T70" fmla="*/ 78 w 849"/>
                <a:gd name="T71" fmla="*/ 187 h 673"/>
                <a:gd name="T72" fmla="*/ 30 w 849"/>
                <a:gd name="T73" fmla="*/ 226 h 673"/>
                <a:gd name="T74" fmla="*/ 10 w 849"/>
                <a:gd name="T75" fmla="*/ 245 h 673"/>
                <a:gd name="T76" fmla="*/ 0 w 849"/>
                <a:gd name="T77" fmla="*/ 265 h 673"/>
                <a:gd name="T78" fmla="*/ 30 w 849"/>
                <a:gd name="T79" fmla="*/ 304 h 673"/>
                <a:gd name="T80" fmla="*/ 10 w 849"/>
                <a:gd name="T81" fmla="*/ 343 h 673"/>
                <a:gd name="T82" fmla="*/ 30 w 849"/>
                <a:gd name="T83" fmla="*/ 382 h 673"/>
                <a:gd name="T84" fmla="*/ 88 w 849"/>
                <a:gd name="T85" fmla="*/ 411 h 673"/>
                <a:gd name="T86" fmla="*/ 156 w 849"/>
                <a:gd name="T87" fmla="*/ 440 h 673"/>
                <a:gd name="T88" fmla="*/ 215 w 849"/>
                <a:gd name="T89" fmla="*/ 489 h 673"/>
                <a:gd name="T90" fmla="*/ 254 w 849"/>
                <a:gd name="T91" fmla="*/ 549 h 673"/>
                <a:gd name="T92" fmla="*/ 313 w 849"/>
                <a:gd name="T93" fmla="*/ 549 h 673"/>
                <a:gd name="T94" fmla="*/ 332 w 849"/>
                <a:gd name="T95" fmla="*/ 598 h 673"/>
                <a:gd name="T96" fmla="*/ 381 w 849"/>
                <a:gd name="T97" fmla="*/ 607 h 673"/>
                <a:gd name="T98" fmla="*/ 410 w 849"/>
                <a:gd name="T99" fmla="*/ 598 h 673"/>
                <a:gd name="T100" fmla="*/ 420 w 849"/>
                <a:gd name="T101" fmla="*/ 627 h 673"/>
                <a:gd name="T102" fmla="*/ 420 w 849"/>
                <a:gd name="T103" fmla="*/ 676 h 673"/>
                <a:gd name="T104" fmla="*/ 424 w 849"/>
                <a:gd name="T105" fmla="*/ 695 h 673"/>
                <a:gd name="T106" fmla="*/ 448 w 849"/>
                <a:gd name="T107" fmla="*/ 676 h 673"/>
                <a:gd name="T108" fmla="*/ 497 w 849"/>
                <a:gd name="T109" fmla="*/ 676 h 67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49"/>
                <a:gd name="T166" fmla="*/ 0 h 673"/>
                <a:gd name="T167" fmla="*/ 849 w 849"/>
                <a:gd name="T168" fmla="*/ 673 h 67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49" h="673">
                  <a:moveTo>
                    <a:pt x="537" y="644"/>
                  </a:moveTo>
                  <a:lnTo>
                    <a:pt x="566" y="654"/>
                  </a:lnTo>
                  <a:lnTo>
                    <a:pt x="576" y="644"/>
                  </a:lnTo>
                  <a:lnTo>
                    <a:pt x="576" y="634"/>
                  </a:lnTo>
                  <a:lnTo>
                    <a:pt x="595" y="624"/>
                  </a:lnTo>
                  <a:lnTo>
                    <a:pt x="615" y="624"/>
                  </a:lnTo>
                  <a:lnTo>
                    <a:pt x="634" y="624"/>
                  </a:lnTo>
                  <a:lnTo>
                    <a:pt x="664" y="634"/>
                  </a:lnTo>
                  <a:lnTo>
                    <a:pt x="683" y="634"/>
                  </a:lnTo>
                  <a:lnTo>
                    <a:pt x="703" y="624"/>
                  </a:lnTo>
                  <a:lnTo>
                    <a:pt x="712" y="634"/>
                  </a:lnTo>
                  <a:lnTo>
                    <a:pt x="732" y="624"/>
                  </a:lnTo>
                  <a:lnTo>
                    <a:pt x="751" y="624"/>
                  </a:lnTo>
                  <a:lnTo>
                    <a:pt x="761" y="615"/>
                  </a:lnTo>
                  <a:lnTo>
                    <a:pt x="771" y="624"/>
                  </a:lnTo>
                  <a:lnTo>
                    <a:pt x="781" y="634"/>
                  </a:lnTo>
                  <a:lnTo>
                    <a:pt x="781" y="605"/>
                  </a:lnTo>
                  <a:lnTo>
                    <a:pt x="791" y="585"/>
                  </a:lnTo>
                  <a:lnTo>
                    <a:pt x="781" y="576"/>
                  </a:lnTo>
                  <a:lnTo>
                    <a:pt x="791" y="566"/>
                  </a:lnTo>
                  <a:lnTo>
                    <a:pt x="800" y="576"/>
                  </a:lnTo>
                  <a:lnTo>
                    <a:pt x="800" y="566"/>
                  </a:lnTo>
                  <a:lnTo>
                    <a:pt x="810" y="546"/>
                  </a:lnTo>
                  <a:lnTo>
                    <a:pt x="820" y="546"/>
                  </a:lnTo>
                  <a:lnTo>
                    <a:pt x="830" y="537"/>
                  </a:lnTo>
                  <a:lnTo>
                    <a:pt x="849" y="517"/>
                  </a:lnTo>
                  <a:lnTo>
                    <a:pt x="839" y="498"/>
                  </a:lnTo>
                  <a:lnTo>
                    <a:pt x="820" y="478"/>
                  </a:lnTo>
                  <a:lnTo>
                    <a:pt x="810" y="468"/>
                  </a:lnTo>
                  <a:lnTo>
                    <a:pt x="791" y="458"/>
                  </a:lnTo>
                  <a:lnTo>
                    <a:pt x="781" y="458"/>
                  </a:lnTo>
                  <a:lnTo>
                    <a:pt x="771" y="449"/>
                  </a:lnTo>
                  <a:lnTo>
                    <a:pt x="771" y="410"/>
                  </a:lnTo>
                  <a:lnTo>
                    <a:pt x="791" y="400"/>
                  </a:lnTo>
                  <a:lnTo>
                    <a:pt x="810" y="390"/>
                  </a:lnTo>
                  <a:lnTo>
                    <a:pt x="830" y="380"/>
                  </a:lnTo>
                  <a:lnTo>
                    <a:pt x="830" y="371"/>
                  </a:lnTo>
                  <a:lnTo>
                    <a:pt x="820" y="351"/>
                  </a:lnTo>
                  <a:lnTo>
                    <a:pt x="820" y="341"/>
                  </a:lnTo>
                  <a:lnTo>
                    <a:pt x="810" y="332"/>
                  </a:lnTo>
                  <a:lnTo>
                    <a:pt x="800" y="341"/>
                  </a:lnTo>
                  <a:lnTo>
                    <a:pt x="791" y="341"/>
                  </a:lnTo>
                  <a:lnTo>
                    <a:pt x="781" y="293"/>
                  </a:lnTo>
                  <a:lnTo>
                    <a:pt x="761" y="273"/>
                  </a:lnTo>
                  <a:lnTo>
                    <a:pt x="751" y="273"/>
                  </a:lnTo>
                  <a:lnTo>
                    <a:pt x="751" y="263"/>
                  </a:lnTo>
                  <a:lnTo>
                    <a:pt x="751" y="254"/>
                  </a:lnTo>
                  <a:lnTo>
                    <a:pt x="732" y="244"/>
                  </a:lnTo>
                  <a:lnTo>
                    <a:pt x="703" y="244"/>
                  </a:lnTo>
                  <a:lnTo>
                    <a:pt x="673" y="234"/>
                  </a:lnTo>
                  <a:lnTo>
                    <a:pt x="654" y="244"/>
                  </a:lnTo>
                  <a:lnTo>
                    <a:pt x="644" y="244"/>
                  </a:lnTo>
                  <a:lnTo>
                    <a:pt x="615" y="224"/>
                  </a:lnTo>
                  <a:lnTo>
                    <a:pt x="615" y="205"/>
                  </a:lnTo>
                  <a:lnTo>
                    <a:pt x="634" y="195"/>
                  </a:lnTo>
                  <a:lnTo>
                    <a:pt x="634" y="185"/>
                  </a:lnTo>
                  <a:lnTo>
                    <a:pt x="634" y="166"/>
                  </a:lnTo>
                  <a:lnTo>
                    <a:pt x="634" y="146"/>
                  </a:lnTo>
                  <a:lnTo>
                    <a:pt x="625" y="137"/>
                  </a:lnTo>
                  <a:lnTo>
                    <a:pt x="634" y="127"/>
                  </a:lnTo>
                  <a:lnTo>
                    <a:pt x="615" y="117"/>
                  </a:lnTo>
                  <a:lnTo>
                    <a:pt x="595" y="107"/>
                  </a:lnTo>
                  <a:lnTo>
                    <a:pt x="586" y="97"/>
                  </a:lnTo>
                  <a:lnTo>
                    <a:pt x="566" y="88"/>
                  </a:lnTo>
                  <a:lnTo>
                    <a:pt x="547" y="97"/>
                  </a:lnTo>
                  <a:lnTo>
                    <a:pt x="527" y="97"/>
                  </a:lnTo>
                  <a:lnTo>
                    <a:pt x="517" y="107"/>
                  </a:lnTo>
                  <a:lnTo>
                    <a:pt x="517" y="117"/>
                  </a:lnTo>
                  <a:lnTo>
                    <a:pt x="498" y="117"/>
                  </a:lnTo>
                  <a:lnTo>
                    <a:pt x="478" y="117"/>
                  </a:lnTo>
                  <a:lnTo>
                    <a:pt x="469" y="107"/>
                  </a:lnTo>
                  <a:lnTo>
                    <a:pt x="459" y="97"/>
                  </a:lnTo>
                  <a:lnTo>
                    <a:pt x="439" y="97"/>
                  </a:lnTo>
                  <a:lnTo>
                    <a:pt x="430" y="88"/>
                  </a:lnTo>
                  <a:lnTo>
                    <a:pt x="430" y="68"/>
                  </a:lnTo>
                  <a:lnTo>
                    <a:pt x="420" y="68"/>
                  </a:lnTo>
                  <a:lnTo>
                    <a:pt x="410" y="68"/>
                  </a:lnTo>
                  <a:lnTo>
                    <a:pt x="391" y="78"/>
                  </a:lnTo>
                  <a:lnTo>
                    <a:pt x="381" y="68"/>
                  </a:lnTo>
                  <a:lnTo>
                    <a:pt x="371" y="68"/>
                  </a:lnTo>
                  <a:lnTo>
                    <a:pt x="332" y="58"/>
                  </a:lnTo>
                  <a:lnTo>
                    <a:pt x="322" y="29"/>
                  </a:lnTo>
                  <a:lnTo>
                    <a:pt x="293" y="29"/>
                  </a:lnTo>
                  <a:lnTo>
                    <a:pt x="274" y="19"/>
                  </a:lnTo>
                  <a:lnTo>
                    <a:pt x="274" y="29"/>
                  </a:lnTo>
                  <a:lnTo>
                    <a:pt x="264" y="10"/>
                  </a:lnTo>
                  <a:lnTo>
                    <a:pt x="254" y="10"/>
                  </a:lnTo>
                  <a:lnTo>
                    <a:pt x="235" y="10"/>
                  </a:lnTo>
                  <a:lnTo>
                    <a:pt x="235" y="0"/>
                  </a:lnTo>
                  <a:lnTo>
                    <a:pt x="215" y="10"/>
                  </a:lnTo>
                  <a:lnTo>
                    <a:pt x="215" y="29"/>
                  </a:lnTo>
                  <a:lnTo>
                    <a:pt x="205" y="29"/>
                  </a:lnTo>
                  <a:lnTo>
                    <a:pt x="195" y="29"/>
                  </a:lnTo>
                  <a:lnTo>
                    <a:pt x="195" y="58"/>
                  </a:lnTo>
                  <a:lnTo>
                    <a:pt x="176" y="68"/>
                  </a:lnTo>
                  <a:lnTo>
                    <a:pt x="176" y="107"/>
                  </a:lnTo>
                  <a:lnTo>
                    <a:pt x="166" y="117"/>
                  </a:lnTo>
                  <a:lnTo>
                    <a:pt x="156" y="117"/>
                  </a:lnTo>
                  <a:lnTo>
                    <a:pt x="137" y="117"/>
                  </a:lnTo>
                  <a:lnTo>
                    <a:pt x="117" y="127"/>
                  </a:lnTo>
                  <a:lnTo>
                    <a:pt x="108" y="137"/>
                  </a:lnTo>
                  <a:lnTo>
                    <a:pt x="88" y="146"/>
                  </a:lnTo>
                  <a:lnTo>
                    <a:pt x="78" y="156"/>
                  </a:lnTo>
                  <a:lnTo>
                    <a:pt x="78" y="176"/>
                  </a:lnTo>
                  <a:lnTo>
                    <a:pt x="59" y="185"/>
                  </a:lnTo>
                  <a:lnTo>
                    <a:pt x="30" y="195"/>
                  </a:lnTo>
                  <a:lnTo>
                    <a:pt x="30" y="215"/>
                  </a:lnTo>
                  <a:lnTo>
                    <a:pt x="20" y="215"/>
                  </a:lnTo>
                  <a:lnTo>
                    <a:pt x="10" y="224"/>
                  </a:lnTo>
                  <a:lnTo>
                    <a:pt x="10" y="234"/>
                  </a:lnTo>
                  <a:lnTo>
                    <a:pt x="10" y="244"/>
                  </a:lnTo>
                  <a:lnTo>
                    <a:pt x="10" y="254"/>
                  </a:lnTo>
                  <a:lnTo>
                    <a:pt x="0" y="254"/>
                  </a:lnTo>
                  <a:lnTo>
                    <a:pt x="10" y="263"/>
                  </a:lnTo>
                  <a:lnTo>
                    <a:pt x="20" y="273"/>
                  </a:lnTo>
                  <a:lnTo>
                    <a:pt x="30" y="293"/>
                  </a:lnTo>
                  <a:lnTo>
                    <a:pt x="10" y="302"/>
                  </a:lnTo>
                  <a:lnTo>
                    <a:pt x="10" y="322"/>
                  </a:lnTo>
                  <a:lnTo>
                    <a:pt x="10" y="332"/>
                  </a:lnTo>
                  <a:lnTo>
                    <a:pt x="10" y="351"/>
                  </a:lnTo>
                  <a:lnTo>
                    <a:pt x="10" y="361"/>
                  </a:lnTo>
                  <a:lnTo>
                    <a:pt x="30" y="371"/>
                  </a:lnTo>
                  <a:lnTo>
                    <a:pt x="59" y="380"/>
                  </a:lnTo>
                  <a:lnTo>
                    <a:pt x="69" y="390"/>
                  </a:lnTo>
                  <a:lnTo>
                    <a:pt x="88" y="400"/>
                  </a:lnTo>
                  <a:lnTo>
                    <a:pt x="117" y="410"/>
                  </a:lnTo>
                  <a:lnTo>
                    <a:pt x="147" y="419"/>
                  </a:lnTo>
                  <a:lnTo>
                    <a:pt x="156" y="429"/>
                  </a:lnTo>
                  <a:lnTo>
                    <a:pt x="166" y="439"/>
                  </a:lnTo>
                  <a:lnTo>
                    <a:pt x="186" y="449"/>
                  </a:lnTo>
                  <a:lnTo>
                    <a:pt x="215" y="478"/>
                  </a:lnTo>
                  <a:lnTo>
                    <a:pt x="235" y="507"/>
                  </a:lnTo>
                  <a:lnTo>
                    <a:pt x="244" y="527"/>
                  </a:lnTo>
                  <a:lnTo>
                    <a:pt x="254" y="527"/>
                  </a:lnTo>
                  <a:lnTo>
                    <a:pt x="274" y="527"/>
                  </a:lnTo>
                  <a:lnTo>
                    <a:pt x="293" y="527"/>
                  </a:lnTo>
                  <a:lnTo>
                    <a:pt x="313" y="527"/>
                  </a:lnTo>
                  <a:lnTo>
                    <a:pt x="313" y="546"/>
                  </a:lnTo>
                  <a:lnTo>
                    <a:pt x="322" y="576"/>
                  </a:lnTo>
                  <a:lnTo>
                    <a:pt x="332" y="576"/>
                  </a:lnTo>
                  <a:lnTo>
                    <a:pt x="342" y="585"/>
                  </a:lnTo>
                  <a:lnTo>
                    <a:pt x="371" y="585"/>
                  </a:lnTo>
                  <a:lnTo>
                    <a:pt x="381" y="585"/>
                  </a:lnTo>
                  <a:lnTo>
                    <a:pt x="400" y="595"/>
                  </a:lnTo>
                  <a:lnTo>
                    <a:pt x="400" y="585"/>
                  </a:lnTo>
                  <a:lnTo>
                    <a:pt x="410" y="576"/>
                  </a:lnTo>
                  <a:lnTo>
                    <a:pt x="420" y="585"/>
                  </a:lnTo>
                  <a:lnTo>
                    <a:pt x="430" y="585"/>
                  </a:lnTo>
                  <a:lnTo>
                    <a:pt x="420" y="605"/>
                  </a:lnTo>
                  <a:lnTo>
                    <a:pt x="420" y="624"/>
                  </a:lnTo>
                  <a:lnTo>
                    <a:pt x="420" y="654"/>
                  </a:lnTo>
                  <a:lnTo>
                    <a:pt x="420" y="663"/>
                  </a:lnTo>
                  <a:lnTo>
                    <a:pt x="430" y="67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59" y="654"/>
                  </a:lnTo>
                  <a:lnTo>
                    <a:pt x="478" y="654"/>
                  </a:lnTo>
                  <a:lnTo>
                    <a:pt x="488" y="654"/>
                  </a:lnTo>
                  <a:lnTo>
                    <a:pt x="508" y="654"/>
                  </a:lnTo>
                  <a:lnTo>
                    <a:pt x="517" y="654"/>
                  </a:lnTo>
                  <a:lnTo>
                    <a:pt x="537" y="644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Freeform 123"/>
            <p:cNvSpPr>
              <a:spLocks/>
            </p:cNvSpPr>
            <p:nvPr/>
          </p:nvSpPr>
          <p:spPr bwMode="auto">
            <a:xfrm>
              <a:off x="1650" y="1267"/>
              <a:ext cx="351" cy="334"/>
            </a:xfrm>
            <a:custGeom>
              <a:avLst/>
              <a:gdLst/>
              <a:ahLst/>
              <a:cxnLst>
                <a:cxn ang="0">
                  <a:pos x="342" y="225"/>
                </a:cxn>
                <a:cxn ang="0">
                  <a:pos x="332" y="244"/>
                </a:cxn>
                <a:cxn ang="0">
                  <a:pos x="342" y="264"/>
                </a:cxn>
                <a:cxn ang="0">
                  <a:pos x="352" y="303"/>
                </a:cxn>
                <a:cxn ang="0">
                  <a:pos x="313" y="322"/>
                </a:cxn>
                <a:cxn ang="0">
                  <a:pos x="274" y="283"/>
                </a:cxn>
                <a:cxn ang="0">
                  <a:pos x="244" y="274"/>
                </a:cxn>
                <a:cxn ang="0">
                  <a:pos x="225" y="225"/>
                </a:cxn>
                <a:cxn ang="0">
                  <a:pos x="205" y="225"/>
                </a:cxn>
                <a:cxn ang="0">
                  <a:pos x="186" y="235"/>
                </a:cxn>
                <a:cxn ang="0">
                  <a:pos x="147" y="235"/>
                </a:cxn>
                <a:cxn ang="0">
                  <a:pos x="127" y="225"/>
                </a:cxn>
                <a:cxn ang="0">
                  <a:pos x="88" y="215"/>
                </a:cxn>
                <a:cxn ang="0">
                  <a:pos x="88" y="205"/>
                </a:cxn>
                <a:cxn ang="0">
                  <a:pos x="49" y="186"/>
                </a:cxn>
                <a:cxn ang="0">
                  <a:pos x="30" y="186"/>
                </a:cxn>
                <a:cxn ang="0">
                  <a:pos x="20" y="166"/>
                </a:cxn>
                <a:cxn ang="0">
                  <a:pos x="0" y="147"/>
                </a:cxn>
                <a:cxn ang="0">
                  <a:pos x="20" y="127"/>
                </a:cxn>
                <a:cxn ang="0">
                  <a:pos x="30" y="108"/>
                </a:cxn>
                <a:cxn ang="0">
                  <a:pos x="59" y="98"/>
                </a:cxn>
                <a:cxn ang="0">
                  <a:pos x="88" y="59"/>
                </a:cxn>
                <a:cxn ang="0">
                  <a:pos x="78" y="10"/>
                </a:cxn>
                <a:cxn ang="0">
                  <a:pos x="98" y="10"/>
                </a:cxn>
                <a:cxn ang="0">
                  <a:pos x="118" y="0"/>
                </a:cxn>
                <a:cxn ang="0">
                  <a:pos x="147" y="10"/>
                </a:cxn>
                <a:cxn ang="0">
                  <a:pos x="166" y="10"/>
                </a:cxn>
                <a:cxn ang="0">
                  <a:pos x="176" y="30"/>
                </a:cxn>
                <a:cxn ang="0">
                  <a:pos x="205" y="20"/>
                </a:cxn>
                <a:cxn ang="0">
                  <a:pos x="225" y="49"/>
                </a:cxn>
                <a:cxn ang="0">
                  <a:pos x="274" y="49"/>
                </a:cxn>
                <a:cxn ang="0">
                  <a:pos x="293" y="69"/>
                </a:cxn>
                <a:cxn ang="0">
                  <a:pos x="274" y="98"/>
                </a:cxn>
                <a:cxn ang="0">
                  <a:pos x="303" y="108"/>
                </a:cxn>
                <a:cxn ang="0">
                  <a:pos x="332" y="127"/>
                </a:cxn>
                <a:cxn ang="0">
                  <a:pos x="322" y="156"/>
                </a:cxn>
                <a:cxn ang="0">
                  <a:pos x="342" y="156"/>
                </a:cxn>
                <a:cxn ang="0">
                  <a:pos x="332" y="186"/>
                </a:cxn>
                <a:cxn ang="0">
                  <a:pos x="342" y="215"/>
                </a:cxn>
              </a:cxnLst>
              <a:rect l="0" t="0" r="r" b="b"/>
              <a:pathLst>
                <a:path w="352" h="332">
                  <a:moveTo>
                    <a:pt x="342" y="215"/>
                  </a:moveTo>
                  <a:lnTo>
                    <a:pt x="342" y="225"/>
                  </a:lnTo>
                  <a:lnTo>
                    <a:pt x="342" y="244"/>
                  </a:lnTo>
                  <a:lnTo>
                    <a:pt x="332" y="244"/>
                  </a:lnTo>
                  <a:lnTo>
                    <a:pt x="332" y="254"/>
                  </a:lnTo>
                  <a:lnTo>
                    <a:pt x="342" y="264"/>
                  </a:lnTo>
                  <a:lnTo>
                    <a:pt x="352" y="274"/>
                  </a:lnTo>
                  <a:lnTo>
                    <a:pt x="352" y="303"/>
                  </a:lnTo>
                  <a:lnTo>
                    <a:pt x="342" y="332"/>
                  </a:lnTo>
                  <a:lnTo>
                    <a:pt x="313" y="322"/>
                  </a:lnTo>
                  <a:lnTo>
                    <a:pt x="283" y="283"/>
                  </a:lnTo>
                  <a:lnTo>
                    <a:pt x="274" y="283"/>
                  </a:lnTo>
                  <a:lnTo>
                    <a:pt x="254" y="274"/>
                  </a:lnTo>
                  <a:lnTo>
                    <a:pt x="244" y="274"/>
                  </a:lnTo>
                  <a:lnTo>
                    <a:pt x="235" y="264"/>
                  </a:lnTo>
                  <a:lnTo>
                    <a:pt x="225" y="225"/>
                  </a:lnTo>
                  <a:lnTo>
                    <a:pt x="225" y="215"/>
                  </a:lnTo>
                  <a:lnTo>
                    <a:pt x="205" y="225"/>
                  </a:lnTo>
                  <a:lnTo>
                    <a:pt x="196" y="235"/>
                  </a:lnTo>
                  <a:lnTo>
                    <a:pt x="186" y="235"/>
                  </a:lnTo>
                  <a:lnTo>
                    <a:pt x="176" y="244"/>
                  </a:lnTo>
                  <a:lnTo>
                    <a:pt x="147" y="235"/>
                  </a:lnTo>
                  <a:lnTo>
                    <a:pt x="127" y="244"/>
                  </a:lnTo>
                  <a:lnTo>
                    <a:pt x="127" y="225"/>
                  </a:lnTo>
                  <a:lnTo>
                    <a:pt x="118" y="215"/>
                  </a:lnTo>
                  <a:lnTo>
                    <a:pt x="88" y="215"/>
                  </a:lnTo>
                  <a:lnTo>
                    <a:pt x="88" y="205"/>
                  </a:lnTo>
                  <a:lnTo>
                    <a:pt x="69" y="205"/>
                  </a:lnTo>
                  <a:lnTo>
                    <a:pt x="49" y="186"/>
                  </a:lnTo>
                  <a:lnTo>
                    <a:pt x="39" y="186"/>
                  </a:lnTo>
                  <a:lnTo>
                    <a:pt x="30" y="186"/>
                  </a:lnTo>
                  <a:lnTo>
                    <a:pt x="30" y="176"/>
                  </a:lnTo>
                  <a:lnTo>
                    <a:pt x="20" y="166"/>
                  </a:lnTo>
                  <a:lnTo>
                    <a:pt x="10" y="166"/>
                  </a:lnTo>
                  <a:lnTo>
                    <a:pt x="0" y="147"/>
                  </a:lnTo>
                  <a:lnTo>
                    <a:pt x="0" y="137"/>
                  </a:lnTo>
                  <a:lnTo>
                    <a:pt x="20" y="127"/>
                  </a:lnTo>
                  <a:lnTo>
                    <a:pt x="39" y="127"/>
                  </a:lnTo>
                  <a:lnTo>
                    <a:pt x="30" y="108"/>
                  </a:lnTo>
                  <a:lnTo>
                    <a:pt x="30" y="98"/>
                  </a:lnTo>
                  <a:lnTo>
                    <a:pt x="59" y="98"/>
                  </a:lnTo>
                  <a:lnTo>
                    <a:pt x="59" y="78"/>
                  </a:lnTo>
                  <a:lnTo>
                    <a:pt x="88" y="59"/>
                  </a:lnTo>
                  <a:lnTo>
                    <a:pt x="78" y="49"/>
                  </a:lnTo>
                  <a:lnTo>
                    <a:pt x="78" y="10"/>
                  </a:lnTo>
                  <a:lnTo>
                    <a:pt x="98" y="0"/>
                  </a:lnTo>
                  <a:lnTo>
                    <a:pt x="98" y="10"/>
                  </a:lnTo>
                  <a:lnTo>
                    <a:pt x="118" y="10"/>
                  </a:lnTo>
                  <a:lnTo>
                    <a:pt x="118" y="0"/>
                  </a:lnTo>
                  <a:lnTo>
                    <a:pt x="127" y="10"/>
                  </a:lnTo>
                  <a:lnTo>
                    <a:pt x="147" y="10"/>
                  </a:lnTo>
                  <a:lnTo>
                    <a:pt x="157" y="0"/>
                  </a:lnTo>
                  <a:lnTo>
                    <a:pt x="166" y="10"/>
                  </a:lnTo>
                  <a:lnTo>
                    <a:pt x="166" y="20"/>
                  </a:lnTo>
                  <a:lnTo>
                    <a:pt x="176" y="30"/>
                  </a:lnTo>
                  <a:lnTo>
                    <a:pt x="186" y="30"/>
                  </a:lnTo>
                  <a:lnTo>
                    <a:pt x="205" y="20"/>
                  </a:lnTo>
                  <a:lnTo>
                    <a:pt x="215" y="30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74" y="49"/>
                  </a:lnTo>
                  <a:lnTo>
                    <a:pt x="283" y="49"/>
                  </a:lnTo>
                  <a:lnTo>
                    <a:pt x="293" y="69"/>
                  </a:lnTo>
                  <a:lnTo>
                    <a:pt x="283" y="78"/>
                  </a:lnTo>
                  <a:lnTo>
                    <a:pt x="274" y="98"/>
                  </a:lnTo>
                  <a:lnTo>
                    <a:pt x="283" y="108"/>
                  </a:lnTo>
                  <a:lnTo>
                    <a:pt x="303" y="108"/>
                  </a:lnTo>
                  <a:lnTo>
                    <a:pt x="322" y="108"/>
                  </a:lnTo>
                  <a:lnTo>
                    <a:pt x="332" y="127"/>
                  </a:lnTo>
                  <a:lnTo>
                    <a:pt x="332" y="137"/>
                  </a:lnTo>
                  <a:lnTo>
                    <a:pt x="322" y="156"/>
                  </a:lnTo>
                  <a:lnTo>
                    <a:pt x="342" y="156"/>
                  </a:lnTo>
                  <a:lnTo>
                    <a:pt x="332" y="176"/>
                  </a:lnTo>
                  <a:lnTo>
                    <a:pt x="332" y="186"/>
                  </a:lnTo>
                  <a:lnTo>
                    <a:pt x="342" y="186"/>
                  </a:lnTo>
                  <a:lnTo>
                    <a:pt x="342" y="21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Freeform 122"/>
            <p:cNvSpPr>
              <a:spLocks/>
            </p:cNvSpPr>
            <p:nvPr/>
          </p:nvSpPr>
          <p:spPr bwMode="auto">
            <a:xfrm>
              <a:off x="4310" y="3387"/>
              <a:ext cx="343" cy="503"/>
            </a:xfrm>
            <a:custGeom>
              <a:avLst/>
              <a:gdLst>
                <a:gd name="T0" fmla="*/ 20 w 342"/>
                <a:gd name="T1" fmla="*/ 253 h 507"/>
                <a:gd name="T2" fmla="*/ 49 w 342"/>
                <a:gd name="T3" fmla="*/ 274 h 507"/>
                <a:gd name="T4" fmla="*/ 69 w 342"/>
                <a:gd name="T5" fmla="*/ 294 h 507"/>
                <a:gd name="T6" fmla="*/ 88 w 342"/>
                <a:gd name="T7" fmla="*/ 333 h 507"/>
                <a:gd name="T8" fmla="*/ 117 w 342"/>
                <a:gd name="T9" fmla="*/ 352 h 507"/>
                <a:gd name="T10" fmla="*/ 117 w 342"/>
                <a:gd name="T11" fmla="*/ 372 h 507"/>
                <a:gd name="T12" fmla="*/ 98 w 342"/>
                <a:gd name="T13" fmla="*/ 381 h 507"/>
                <a:gd name="T14" fmla="*/ 98 w 342"/>
                <a:gd name="T15" fmla="*/ 401 h 507"/>
                <a:gd name="T16" fmla="*/ 98 w 342"/>
                <a:gd name="T17" fmla="*/ 430 h 507"/>
                <a:gd name="T18" fmla="*/ 108 w 342"/>
                <a:gd name="T19" fmla="*/ 459 h 507"/>
                <a:gd name="T20" fmla="*/ 137 w 342"/>
                <a:gd name="T21" fmla="*/ 498 h 507"/>
                <a:gd name="T22" fmla="*/ 166 w 342"/>
                <a:gd name="T23" fmla="*/ 489 h 507"/>
                <a:gd name="T24" fmla="*/ 206 w 342"/>
                <a:gd name="T25" fmla="*/ 518 h 507"/>
                <a:gd name="T26" fmla="*/ 226 w 342"/>
                <a:gd name="T27" fmla="*/ 518 h 507"/>
                <a:gd name="T28" fmla="*/ 245 w 342"/>
                <a:gd name="T29" fmla="*/ 489 h 507"/>
                <a:gd name="T30" fmla="*/ 275 w 342"/>
                <a:gd name="T31" fmla="*/ 469 h 507"/>
                <a:gd name="T32" fmla="*/ 255 w 342"/>
                <a:gd name="T33" fmla="*/ 450 h 507"/>
                <a:gd name="T34" fmla="*/ 245 w 342"/>
                <a:gd name="T35" fmla="*/ 430 h 507"/>
                <a:gd name="T36" fmla="*/ 265 w 342"/>
                <a:gd name="T37" fmla="*/ 430 h 507"/>
                <a:gd name="T38" fmla="*/ 265 w 342"/>
                <a:gd name="T39" fmla="*/ 401 h 507"/>
                <a:gd name="T40" fmla="*/ 255 w 342"/>
                <a:gd name="T41" fmla="*/ 391 h 507"/>
                <a:gd name="T42" fmla="*/ 275 w 342"/>
                <a:gd name="T43" fmla="*/ 362 h 507"/>
                <a:gd name="T44" fmla="*/ 294 w 342"/>
                <a:gd name="T45" fmla="*/ 333 h 507"/>
                <a:gd name="T46" fmla="*/ 294 w 342"/>
                <a:gd name="T47" fmla="*/ 323 h 507"/>
                <a:gd name="T48" fmla="*/ 294 w 342"/>
                <a:gd name="T49" fmla="*/ 303 h 507"/>
                <a:gd name="T50" fmla="*/ 284 w 342"/>
                <a:gd name="T51" fmla="*/ 294 h 507"/>
                <a:gd name="T52" fmla="*/ 265 w 342"/>
                <a:gd name="T53" fmla="*/ 294 h 507"/>
                <a:gd name="T54" fmla="*/ 255 w 342"/>
                <a:gd name="T55" fmla="*/ 294 h 507"/>
                <a:gd name="T56" fmla="*/ 275 w 342"/>
                <a:gd name="T57" fmla="*/ 253 h 507"/>
                <a:gd name="T58" fmla="*/ 284 w 342"/>
                <a:gd name="T59" fmla="*/ 224 h 507"/>
                <a:gd name="T60" fmla="*/ 275 w 342"/>
                <a:gd name="T61" fmla="*/ 175 h 507"/>
                <a:gd name="T62" fmla="*/ 294 w 342"/>
                <a:gd name="T63" fmla="*/ 165 h 507"/>
                <a:gd name="T64" fmla="*/ 324 w 342"/>
                <a:gd name="T65" fmla="*/ 136 h 507"/>
                <a:gd name="T66" fmla="*/ 353 w 342"/>
                <a:gd name="T67" fmla="*/ 126 h 507"/>
                <a:gd name="T68" fmla="*/ 353 w 342"/>
                <a:gd name="T69" fmla="*/ 107 h 507"/>
                <a:gd name="T70" fmla="*/ 353 w 342"/>
                <a:gd name="T71" fmla="*/ 87 h 507"/>
                <a:gd name="T72" fmla="*/ 324 w 342"/>
                <a:gd name="T73" fmla="*/ 68 h 507"/>
                <a:gd name="T74" fmla="*/ 314 w 342"/>
                <a:gd name="T75" fmla="*/ 39 h 507"/>
                <a:gd name="T76" fmla="*/ 314 w 342"/>
                <a:gd name="T77" fmla="*/ 19 h 507"/>
                <a:gd name="T78" fmla="*/ 294 w 342"/>
                <a:gd name="T79" fmla="*/ 0 h 507"/>
                <a:gd name="T80" fmla="*/ 265 w 342"/>
                <a:gd name="T81" fmla="*/ 19 h 507"/>
                <a:gd name="T82" fmla="*/ 236 w 342"/>
                <a:gd name="T83" fmla="*/ 9 h 507"/>
                <a:gd name="T84" fmla="*/ 187 w 342"/>
                <a:gd name="T85" fmla="*/ 19 h 507"/>
                <a:gd name="T86" fmla="*/ 137 w 342"/>
                <a:gd name="T87" fmla="*/ 9 h 507"/>
                <a:gd name="T88" fmla="*/ 117 w 342"/>
                <a:gd name="T89" fmla="*/ 19 h 507"/>
                <a:gd name="T90" fmla="*/ 98 w 342"/>
                <a:gd name="T91" fmla="*/ 29 h 507"/>
                <a:gd name="T92" fmla="*/ 59 w 342"/>
                <a:gd name="T93" fmla="*/ 39 h 507"/>
                <a:gd name="T94" fmla="*/ 30 w 342"/>
                <a:gd name="T95" fmla="*/ 39 h 507"/>
                <a:gd name="T96" fmla="*/ 10 w 342"/>
                <a:gd name="T97" fmla="*/ 58 h 507"/>
                <a:gd name="T98" fmla="*/ 20 w 342"/>
                <a:gd name="T99" fmla="*/ 78 h 507"/>
                <a:gd name="T100" fmla="*/ 20 w 342"/>
                <a:gd name="T101" fmla="*/ 97 h 507"/>
                <a:gd name="T102" fmla="*/ 10 w 342"/>
                <a:gd name="T103" fmla="*/ 107 h 507"/>
                <a:gd name="T104" fmla="*/ 20 w 342"/>
                <a:gd name="T105" fmla="*/ 136 h 507"/>
                <a:gd name="T106" fmla="*/ 10 w 342"/>
                <a:gd name="T107" fmla="*/ 156 h 507"/>
                <a:gd name="T108" fmla="*/ 20 w 342"/>
                <a:gd name="T109" fmla="*/ 175 h 507"/>
                <a:gd name="T110" fmla="*/ 10 w 342"/>
                <a:gd name="T111" fmla="*/ 185 h 507"/>
                <a:gd name="T112" fmla="*/ 0 w 342"/>
                <a:gd name="T113" fmla="*/ 204 h 507"/>
                <a:gd name="T114" fmla="*/ 20 w 342"/>
                <a:gd name="T115" fmla="*/ 234 h 50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2"/>
                <a:gd name="T175" fmla="*/ 0 h 507"/>
                <a:gd name="T176" fmla="*/ 342 w 342"/>
                <a:gd name="T177" fmla="*/ 507 h 50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2" h="507">
                  <a:moveTo>
                    <a:pt x="20" y="234"/>
                  </a:moveTo>
                  <a:lnTo>
                    <a:pt x="20" y="253"/>
                  </a:lnTo>
                  <a:lnTo>
                    <a:pt x="39" y="253"/>
                  </a:lnTo>
                  <a:lnTo>
                    <a:pt x="49" y="263"/>
                  </a:lnTo>
                  <a:lnTo>
                    <a:pt x="59" y="283"/>
                  </a:lnTo>
                  <a:lnTo>
                    <a:pt x="69" y="283"/>
                  </a:lnTo>
                  <a:lnTo>
                    <a:pt x="69" y="302"/>
                  </a:lnTo>
                  <a:lnTo>
                    <a:pt x="88" y="322"/>
                  </a:lnTo>
                  <a:lnTo>
                    <a:pt x="98" y="341"/>
                  </a:lnTo>
                  <a:lnTo>
                    <a:pt x="117" y="341"/>
                  </a:lnTo>
                  <a:lnTo>
                    <a:pt x="117" y="351"/>
                  </a:lnTo>
                  <a:lnTo>
                    <a:pt x="117" y="361"/>
                  </a:lnTo>
                  <a:lnTo>
                    <a:pt x="108" y="370"/>
                  </a:lnTo>
                  <a:lnTo>
                    <a:pt x="98" y="370"/>
                  </a:lnTo>
                  <a:lnTo>
                    <a:pt x="88" y="380"/>
                  </a:lnTo>
                  <a:lnTo>
                    <a:pt x="98" y="390"/>
                  </a:lnTo>
                  <a:lnTo>
                    <a:pt x="108" y="400"/>
                  </a:lnTo>
                  <a:lnTo>
                    <a:pt x="98" y="419"/>
                  </a:lnTo>
                  <a:lnTo>
                    <a:pt x="98" y="439"/>
                  </a:lnTo>
                  <a:lnTo>
                    <a:pt x="108" y="448"/>
                  </a:lnTo>
                  <a:lnTo>
                    <a:pt x="117" y="468"/>
                  </a:lnTo>
                  <a:lnTo>
                    <a:pt x="137" y="487"/>
                  </a:lnTo>
                  <a:lnTo>
                    <a:pt x="147" y="478"/>
                  </a:lnTo>
                  <a:lnTo>
                    <a:pt x="166" y="478"/>
                  </a:lnTo>
                  <a:lnTo>
                    <a:pt x="186" y="487"/>
                  </a:lnTo>
                  <a:lnTo>
                    <a:pt x="195" y="507"/>
                  </a:lnTo>
                  <a:lnTo>
                    <a:pt x="205" y="507"/>
                  </a:lnTo>
                  <a:lnTo>
                    <a:pt x="215" y="507"/>
                  </a:lnTo>
                  <a:lnTo>
                    <a:pt x="225" y="487"/>
                  </a:lnTo>
                  <a:lnTo>
                    <a:pt x="234" y="478"/>
                  </a:lnTo>
                  <a:lnTo>
                    <a:pt x="244" y="468"/>
                  </a:lnTo>
                  <a:lnTo>
                    <a:pt x="264" y="458"/>
                  </a:lnTo>
                  <a:lnTo>
                    <a:pt x="264" y="448"/>
                  </a:lnTo>
                  <a:lnTo>
                    <a:pt x="244" y="439"/>
                  </a:lnTo>
                  <a:lnTo>
                    <a:pt x="244" y="429"/>
                  </a:lnTo>
                  <a:lnTo>
                    <a:pt x="234" y="419"/>
                  </a:lnTo>
                  <a:lnTo>
                    <a:pt x="244" y="419"/>
                  </a:lnTo>
                  <a:lnTo>
                    <a:pt x="254" y="419"/>
                  </a:lnTo>
                  <a:lnTo>
                    <a:pt x="254" y="409"/>
                  </a:lnTo>
                  <a:lnTo>
                    <a:pt x="254" y="390"/>
                  </a:lnTo>
                  <a:lnTo>
                    <a:pt x="254" y="380"/>
                  </a:lnTo>
                  <a:lnTo>
                    <a:pt x="244" y="380"/>
                  </a:lnTo>
                  <a:lnTo>
                    <a:pt x="244" y="361"/>
                  </a:lnTo>
                  <a:lnTo>
                    <a:pt x="264" y="351"/>
                  </a:lnTo>
                  <a:lnTo>
                    <a:pt x="273" y="351"/>
                  </a:lnTo>
                  <a:lnTo>
                    <a:pt x="283" y="322"/>
                  </a:lnTo>
                  <a:lnTo>
                    <a:pt x="273" y="322"/>
                  </a:lnTo>
                  <a:lnTo>
                    <a:pt x="283" y="312"/>
                  </a:lnTo>
                  <a:lnTo>
                    <a:pt x="283" y="302"/>
                  </a:lnTo>
                  <a:lnTo>
                    <a:pt x="283" y="292"/>
                  </a:lnTo>
                  <a:lnTo>
                    <a:pt x="273" y="292"/>
                  </a:lnTo>
                  <a:lnTo>
                    <a:pt x="273" y="283"/>
                  </a:lnTo>
                  <a:lnTo>
                    <a:pt x="264" y="263"/>
                  </a:lnTo>
                  <a:lnTo>
                    <a:pt x="254" y="283"/>
                  </a:lnTo>
                  <a:lnTo>
                    <a:pt x="244" y="283"/>
                  </a:lnTo>
                  <a:lnTo>
                    <a:pt x="244" y="273"/>
                  </a:lnTo>
                  <a:lnTo>
                    <a:pt x="264" y="253"/>
                  </a:lnTo>
                  <a:lnTo>
                    <a:pt x="264" y="244"/>
                  </a:lnTo>
                  <a:lnTo>
                    <a:pt x="273" y="224"/>
                  </a:lnTo>
                  <a:lnTo>
                    <a:pt x="264" y="185"/>
                  </a:lnTo>
                  <a:lnTo>
                    <a:pt x="264" y="175"/>
                  </a:lnTo>
                  <a:lnTo>
                    <a:pt x="273" y="175"/>
                  </a:lnTo>
                  <a:lnTo>
                    <a:pt x="283" y="165"/>
                  </a:lnTo>
                  <a:lnTo>
                    <a:pt x="293" y="156"/>
                  </a:lnTo>
                  <a:lnTo>
                    <a:pt x="313" y="136"/>
                  </a:lnTo>
                  <a:lnTo>
                    <a:pt x="322" y="126"/>
                  </a:lnTo>
                  <a:lnTo>
                    <a:pt x="342" y="126"/>
                  </a:lnTo>
                  <a:lnTo>
                    <a:pt x="342" y="117"/>
                  </a:lnTo>
                  <a:lnTo>
                    <a:pt x="342" y="107"/>
                  </a:lnTo>
                  <a:lnTo>
                    <a:pt x="342" y="97"/>
                  </a:lnTo>
                  <a:lnTo>
                    <a:pt x="342" y="87"/>
                  </a:lnTo>
                  <a:lnTo>
                    <a:pt x="332" y="78"/>
                  </a:lnTo>
                  <a:lnTo>
                    <a:pt x="313" y="68"/>
                  </a:lnTo>
                  <a:lnTo>
                    <a:pt x="303" y="58"/>
                  </a:lnTo>
                  <a:lnTo>
                    <a:pt x="303" y="39"/>
                  </a:lnTo>
                  <a:lnTo>
                    <a:pt x="303" y="29"/>
                  </a:lnTo>
                  <a:lnTo>
                    <a:pt x="303" y="19"/>
                  </a:lnTo>
                  <a:lnTo>
                    <a:pt x="293" y="9"/>
                  </a:lnTo>
                  <a:lnTo>
                    <a:pt x="283" y="0"/>
                  </a:lnTo>
                  <a:lnTo>
                    <a:pt x="273" y="9"/>
                  </a:lnTo>
                  <a:lnTo>
                    <a:pt x="254" y="19"/>
                  </a:lnTo>
                  <a:lnTo>
                    <a:pt x="234" y="19"/>
                  </a:lnTo>
                  <a:lnTo>
                    <a:pt x="225" y="9"/>
                  </a:lnTo>
                  <a:lnTo>
                    <a:pt x="205" y="19"/>
                  </a:lnTo>
                  <a:lnTo>
                    <a:pt x="176" y="19"/>
                  </a:lnTo>
                  <a:lnTo>
                    <a:pt x="156" y="9"/>
                  </a:lnTo>
                  <a:lnTo>
                    <a:pt x="137" y="9"/>
                  </a:lnTo>
                  <a:lnTo>
                    <a:pt x="127" y="19"/>
                  </a:lnTo>
                  <a:lnTo>
                    <a:pt x="117" y="19"/>
                  </a:lnTo>
                  <a:lnTo>
                    <a:pt x="98" y="19"/>
                  </a:lnTo>
                  <a:lnTo>
                    <a:pt x="98" y="29"/>
                  </a:lnTo>
                  <a:lnTo>
                    <a:pt x="88" y="39"/>
                  </a:lnTo>
                  <a:lnTo>
                    <a:pt x="59" y="39"/>
                  </a:lnTo>
                  <a:lnTo>
                    <a:pt x="39" y="39"/>
                  </a:lnTo>
                  <a:lnTo>
                    <a:pt x="30" y="39"/>
                  </a:lnTo>
                  <a:lnTo>
                    <a:pt x="10" y="39"/>
                  </a:lnTo>
                  <a:lnTo>
                    <a:pt x="10" y="58"/>
                  </a:lnTo>
                  <a:lnTo>
                    <a:pt x="10" y="68"/>
                  </a:lnTo>
                  <a:lnTo>
                    <a:pt x="20" y="78"/>
                  </a:lnTo>
                  <a:lnTo>
                    <a:pt x="30" y="87"/>
                  </a:lnTo>
                  <a:lnTo>
                    <a:pt x="20" y="97"/>
                  </a:lnTo>
                  <a:lnTo>
                    <a:pt x="10" y="97"/>
                  </a:lnTo>
                  <a:lnTo>
                    <a:pt x="10" y="107"/>
                  </a:lnTo>
                  <a:lnTo>
                    <a:pt x="30" y="117"/>
                  </a:lnTo>
                  <a:lnTo>
                    <a:pt x="20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10" y="165"/>
                  </a:lnTo>
                  <a:lnTo>
                    <a:pt x="20" y="175"/>
                  </a:lnTo>
                  <a:lnTo>
                    <a:pt x="20" y="185"/>
                  </a:lnTo>
                  <a:lnTo>
                    <a:pt x="10" y="185"/>
                  </a:lnTo>
                  <a:lnTo>
                    <a:pt x="10" y="195"/>
                  </a:lnTo>
                  <a:lnTo>
                    <a:pt x="0" y="204"/>
                  </a:lnTo>
                  <a:lnTo>
                    <a:pt x="10" y="224"/>
                  </a:lnTo>
                  <a:lnTo>
                    <a:pt x="20" y="234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Freeform 121"/>
            <p:cNvSpPr>
              <a:spLocks/>
            </p:cNvSpPr>
            <p:nvPr/>
          </p:nvSpPr>
          <p:spPr bwMode="auto">
            <a:xfrm>
              <a:off x="4506" y="3796"/>
              <a:ext cx="798" cy="458"/>
            </a:xfrm>
            <a:custGeom>
              <a:avLst/>
              <a:gdLst>
                <a:gd name="T0" fmla="*/ 20 w 800"/>
                <a:gd name="T1" fmla="*/ 215 h 459"/>
                <a:gd name="T2" fmla="*/ 30 w 800"/>
                <a:gd name="T3" fmla="*/ 275 h 459"/>
                <a:gd name="T4" fmla="*/ 69 w 800"/>
                <a:gd name="T5" fmla="*/ 343 h 459"/>
                <a:gd name="T6" fmla="*/ 39 w 800"/>
                <a:gd name="T7" fmla="*/ 333 h 459"/>
                <a:gd name="T8" fmla="*/ 20 w 800"/>
                <a:gd name="T9" fmla="*/ 353 h 459"/>
                <a:gd name="T10" fmla="*/ 39 w 800"/>
                <a:gd name="T11" fmla="*/ 372 h 459"/>
                <a:gd name="T12" fmla="*/ 49 w 800"/>
                <a:gd name="T13" fmla="*/ 392 h 459"/>
                <a:gd name="T14" fmla="*/ 98 w 800"/>
                <a:gd name="T15" fmla="*/ 382 h 459"/>
                <a:gd name="T16" fmla="*/ 147 w 800"/>
                <a:gd name="T17" fmla="*/ 363 h 459"/>
                <a:gd name="T18" fmla="*/ 176 w 800"/>
                <a:gd name="T19" fmla="*/ 363 h 459"/>
                <a:gd name="T20" fmla="*/ 215 w 800"/>
                <a:gd name="T21" fmla="*/ 333 h 459"/>
                <a:gd name="T22" fmla="*/ 264 w 800"/>
                <a:gd name="T23" fmla="*/ 333 h 459"/>
                <a:gd name="T24" fmla="*/ 293 w 800"/>
                <a:gd name="T25" fmla="*/ 333 h 459"/>
                <a:gd name="T26" fmla="*/ 313 w 800"/>
                <a:gd name="T27" fmla="*/ 343 h 459"/>
                <a:gd name="T28" fmla="*/ 322 w 800"/>
                <a:gd name="T29" fmla="*/ 353 h 459"/>
                <a:gd name="T30" fmla="*/ 381 w 800"/>
                <a:gd name="T31" fmla="*/ 363 h 459"/>
                <a:gd name="T32" fmla="*/ 430 w 800"/>
                <a:gd name="T33" fmla="*/ 372 h 459"/>
                <a:gd name="T34" fmla="*/ 469 w 800"/>
                <a:gd name="T35" fmla="*/ 431 h 459"/>
                <a:gd name="T36" fmla="*/ 517 w 800"/>
                <a:gd name="T37" fmla="*/ 450 h 459"/>
                <a:gd name="T38" fmla="*/ 556 w 800"/>
                <a:gd name="T39" fmla="*/ 441 h 459"/>
                <a:gd name="T40" fmla="*/ 586 w 800"/>
                <a:gd name="T41" fmla="*/ 460 h 459"/>
                <a:gd name="T42" fmla="*/ 625 w 800"/>
                <a:gd name="T43" fmla="*/ 450 h 459"/>
                <a:gd name="T44" fmla="*/ 664 w 800"/>
                <a:gd name="T45" fmla="*/ 470 h 459"/>
                <a:gd name="T46" fmla="*/ 713 w 800"/>
                <a:gd name="T47" fmla="*/ 450 h 459"/>
                <a:gd name="T48" fmla="*/ 742 w 800"/>
                <a:gd name="T49" fmla="*/ 411 h 459"/>
                <a:gd name="T50" fmla="*/ 732 w 800"/>
                <a:gd name="T51" fmla="*/ 372 h 459"/>
                <a:gd name="T52" fmla="*/ 713 w 800"/>
                <a:gd name="T53" fmla="*/ 324 h 459"/>
                <a:gd name="T54" fmla="*/ 713 w 800"/>
                <a:gd name="T55" fmla="*/ 275 h 459"/>
                <a:gd name="T56" fmla="*/ 752 w 800"/>
                <a:gd name="T57" fmla="*/ 246 h 459"/>
                <a:gd name="T58" fmla="*/ 791 w 800"/>
                <a:gd name="T59" fmla="*/ 186 h 459"/>
                <a:gd name="T60" fmla="*/ 791 w 800"/>
                <a:gd name="T61" fmla="*/ 137 h 459"/>
                <a:gd name="T62" fmla="*/ 771 w 800"/>
                <a:gd name="T63" fmla="*/ 98 h 459"/>
                <a:gd name="T64" fmla="*/ 791 w 800"/>
                <a:gd name="T65" fmla="*/ 78 h 459"/>
                <a:gd name="T66" fmla="*/ 752 w 800"/>
                <a:gd name="T67" fmla="*/ 78 h 459"/>
                <a:gd name="T68" fmla="*/ 722 w 800"/>
                <a:gd name="T69" fmla="*/ 69 h 459"/>
                <a:gd name="T70" fmla="*/ 674 w 800"/>
                <a:gd name="T71" fmla="*/ 30 h 459"/>
                <a:gd name="T72" fmla="*/ 634 w 800"/>
                <a:gd name="T73" fmla="*/ 10 h 459"/>
                <a:gd name="T74" fmla="*/ 605 w 800"/>
                <a:gd name="T75" fmla="*/ 30 h 459"/>
                <a:gd name="T76" fmla="*/ 566 w 800"/>
                <a:gd name="T77" fmla="*/ 39 h 459"/>
                <a:gd name="T78" fmla="*/ 517 w 800"/>
                <a:gd name="T79" fmla="*/ 39 h 459"/>
                <a:gd name="T80" fmla="*/ 478 w 800"/>
                <a:gd name="T81" fmla="*/ 39 h 459"/>
                <a:gd name="T82" fmla="*/ 459 w 800"/>
                <a:gd name="T83" fmla="*/ 88 h 459"/>
                <a:gd name="T84" fmla="*/ 400 w 800"/>
                <a:gd name="T85" fmla="*/ 127 h 459"/>
                <a:gd name="T86" fmla="*/ 361 w 800"/>
                <a:gd name="T87" fmla="*/ 166 h 459"/>
                <a:gd name="T88" fmla="*/ 303 w 800"/>
                <a:gd name="T89" fmla="*/ 196 h 459"/>
                <a:gd name="T90" fmla="*/ 235 w 800"/>
                <a:gd name="T91" fmla="*/ 186 h 459"/>
                <a:gd name="T92" fmla="*/ 166 w 800"/>
                <a:gd name="T93" fmla="*/ 166 h 459"/>
                <a:gd name="T94" fmla="*/ 127 w 800"/>
                <a:gd name="T95" fmla="*/ 137 h 459"/>
                <a:gd name="T96" fmla="*/ 108 w 800"/>
                <a:gd name="T97" fmla="*/ 166 h 459"/>
                <a:gd name="T98" fmla="*/ 49 w 800"/>
                <a:gd name="T99" fmla="*/ 176 h 459"/>
                <a:gd name="T100" fmla="*/ 10 w 800"/>
                <a:gd name="T101" fmla="*/ 166 h 459"/>
                <a:gd name="T102" fmla="*/ 10 w 800"/>
                <a:gd name="T103" fmla="*/ 196 h 45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00"/>
                <a:gd name="T157" fmla="*/ 0 h 459"/>
                <a:gd name="T158" fmla="*/ 800 w 800"/>
                <a:gd name="T159" fmla="*/ 459 h 45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00" h="459">
                  <a:moveTo>
                    <a:pt x="10" y="196"/>
                  </a:moveTo>
                  <a:lnTo>
                    <a:pt x="10" y="205"/>
                  </a:lnTo>
                  <a:lnTo>
                    <a:pt x="20" y="215"/>
                  </a:lnTo>
                  <a:lnTo>
                    <a:pt x="10" y="235"/>
                  </a:lnTo>
                  <a:lnTo>
                    <a:pt x="10" y="254"/>
                  </a:lnTo>
                  <a:lnTo>
                    <a:pt x="30" y="264"/>
                  </a:lnTo>
                  <a:lnTo>
                    <a:pt x="49" y="283"/>
                  </a:lnTo>
                  <a:lnTo>
                    <a:pt x="69" y="313"/>
                  </a:lnTo>
                  <a:lnTo>
                    <a:pt x="69" y="332"/>
                  </a:lnTo>
                  <a:lnTo>
                    <a:pt x="59" y="332"/>
                  </a:lnTo>
                  <a:lnTo>
                    <a:pt x="49" y="322"/>
                  </a:lnTo>
                  <a:lnTo>
                    <a:pt x="39" y="322"/>
                  </a:lnTo>
                  <a:lnTo>
                    <a:pt x="39" y="332"/>
                  </a:lnTo>
                  <a:lnTo>
                    <a:pt x="20" y="342"/>
                  </a:lnTo>
                  <a:lnTo>
                    <a:pt x="20" y="361"/>
                  </a:lnTo>
                  <a:lnTo>
                    <a:pt x="39" y="361"/>
                  </a:lnTo>
                  <a:lnTo>
                    <a:pt x="39" y="371"/>
                  </a:lnTo>
                  <a:lnTo>
                    <a:pt x="39" y="381"/>
                  </a:lnTo>
                  <a:lnTo>
                    <a:pt x="49" y="381"/>
                  </a:lnTo>
                  <a:lnTo>
                    <a:pt x="69" y="381"/>
                  </a:lnTo>
                  <a:lnTo>
                    <a:pt x="88" y="381"/>
                  </a:lnTo>
                  <a:lnTo>
                    <a:pt x="98" y="371"/>
                  </a:lnTo>
                  <a:lnTo>
                    <a:pt x="118" y="361"/>
                  </a:lnTo>
                  <a:lnTo>
                    <a:pt x="127" y="361"/>
                  </a:lnTo>
                  <a:lnTo>
                    <a:pt x="147" y="352"/>
                  </a:lnTo>
                  <a:lnTo>
                    <a:pt x="157" y="342"/>
                  </a:lnTo>
                  <a:lnTo>
                    <a:pt x="166" y="342"/>
                  </a:lnTo>
                  <a:lnTo>
                    <a:pt x="176" y="352"/>
                  </a:lnTo>
                  <a:lnTo>
                    <a:pt x="196" y="342"/>
                  </a:lnTo>
                  <a:lnTo>
                    <a:pt x="205" y="332"/>
                  </a:lnTo>
                  <a:lnTo>
                    <a:pt x="215" y="322"/>
                  </a:lnTo>
                  <a:lnTo>
                    <a:pt x="235" y="322"/>
                  </a:lnTo>
                  <a:lnTo>
                    <a:pt x="254" y="322"/>
                  </a:lnTo>
                  <a:lnTo>
                    <a:pt x="264" y="322"/>
                  </a:lnTo>
                  <a:lnTo>
                    <a:pt x="274" y="313"/>
                  </a:lnTo>
                  <a:lnTo>
                    <a:pt x="283" y="313"/>
                  </a:lnTo>
                  <a:lnTo>
                    <a:pt x="293" y="322"/>
                  </a:lnTo>
                  <a:lnTo>
                    <a:pt x="313" y="313"/>
                  </a:lnTo>
                  <a:lnTo>
                    <a:pt x="313" y="322"/>
                  </a:lnTo>
                  <a:lnTo>
                    <a:pt x="313" y="332"/>
                  </a:lnTo>
                  <a:lnTo>
                    <a:pt x="303" y="342"/>
                  </a:lnTo>
                  <a:lnTo>
                    <a:pt x="313" y="342"/>
                  </a:lnTo>
                  <a:lnTo>
                    <a:pt x="322" y="342"/>
                  </a:lnTo>
                  <a:lnTo>
                    <a:pt x="332" y="352"/>
                  </a:lnTo>
                  <a:lnTo>
                    <a:pt x="361" y="352"/>
                  </a:lnTo>
                  <a:lnTo>
                    <a:pt x="381" y="352"/>
                  </a:lnTo>
                  <a:lnTo>
                    <a:pt x="400" y="361"/>
                  </a:lnTo>
                  <a:lnTo>
                    <a:pt x="420" y="361"/>
                  </a:lnTo>
                  <a:lnTo>
                    <a:pt x="430" y="361"/>
                  </a:lnTo>
                  <a:lnTo>
                    <a:pt x="430" y="381"/>
                  </a:lnTo>
                  <a:lnTo>
                    <a:pt x="449" y="410"/>
                  </a:lnTo>
                  <a:lnTo>
                    <a:pt x="469" y="420"/>
                  </a:lnTo>
                  <a:lnTo>
                    <a:pt x="478" y="420"/>
                  </a:lnTo>
                  <a:lnTo>
                    <a:pt x="498" y="430"/>
                  </a:lnTo>
                  <a:lnTo>
                    <a:pt x="517" y="439"/>
                  </a:lnTo>
                  <a:lnTo>
                    <a:pt x="537" y="430"/>
                  </a:lnTo>
                  <a:lnTo>
                    <a:pt x="537" y="420"/>
                  </a:lnTo>
                  <a:lnTo>
                    <a:pt x="556" y="430"/>
                  </a:lnTo>
                  <a:lnTo>
                    <a:pt x="566" y="430"/>
                  </a:lnTo>
                  <a:lnTo>
                    <a:pt x="576" y="439"/>
                  </a:lnTo>
                  <a:lnTo>
                    <a:pt x="586" y="449"/>
                  </a:lnTo>
                  <a:lnTo>
                    <a:pt x="595" y="439"/>
                  </a:lnTo>
                  <a:lnTo>
                    <a:pt x="605" y="439"/>
                  </a:lnTo>
                  <a:lnTo>
                    <a:pt x="625" y="439"/>
                  </a:lnTo>
                  <a:lnTo>
                    <a:pt x="644" y="449"/>
                  </a:lnTo>
                  <a:lnTo>
                    <a:pt x="644" y="459"/>
                  </a:lnTo>
                  <a:lnTo>
                    <a:pt x="664" y="459"/>
                  </a:lnTo>
                  <a:lnTo>
                    <a:pt x="674" y="459"/>
                  </a:lnTo>
                  <a:lnTo>
                    <a:pt x="693" y="439"/>
                  </a:lnTo>
                  <a:lnTo>
                    <a:pt x="713" y="439"/>
                  </a:lnTo>
                  <a:lnTo>
                    <a:pt x="732" y="420"/>
                  </a:lnTo>
                  <a:lnTo>
                    <a:pt x="752" y="410"/>
                  </a:lnTo>
                  <a:lnTo>
                    <a:pt x="742" y="400"/>
                  </a:lnTo>
                  <a:lnTo>
                    <a:pt x="732" y="391"/>
                  </a:lnTo>
                  <a:lnTo>
                    <a:pt x="732" y="381"/>
                  </a:lnTo>
                  <a:lnTo>
                    <a:pt x="732" y="361"/>
                  </a:lnTo>
                  <a:lnTo>
                    <a:pt x="722" y="352"/>
                  </a:lnTo>
                  <a:lnTo>
                    <a:pt x="722" y="332"/>
                  </a:lnTo>
                  <a:lnTo>
                    <a:pt x="713" y="313"/>
                  </a:lnTo>
                  <a:lnTo>
                    <a:pt x="713" y="303"/>
                  </a:lnTo>
                  <a:lnTo>
                    <a:pt x="713" y="293"/>
                  </a:lnTo>
                  <a:lnTo>
                    <a:pt x="713" y="264"/>
                  </a:lnTo>
                  <a:lnTo>
                    <a:pt x="732" y="264"/>
                  </a:lnTo>
                  <a:lnTo>
                    <a:pt x="742" y="244"/>
                  </a:lnTo>
                  <a:lnTo>
                    <a:pt x="752" y="235"/>
                  </a:lnTo>
                  <a:lnTo>
                    <a:pt x="781" y="225"/>
                  </a:lnTo>
                  <a:lnTo>
                    <a:pt x="781" y="205"/>
                  </a:lnTo>
                  <a:lnTo>
                    <a:pt x="791" y="186"/>
                  </a:lnTo>
                  <a:lnTo>
                    <a:pt x="771" y="166"/>
                  </a:lnTo>
                  <a:lnTo>
                    <a:pt x="781" y="156"/>
                  </a:lnTo>
                  <a:lnTo>
                    <a:pt x="791" y="137"/>
                  </a:lnTo>
                  <a:lnTo>
                    <a:pt x="781" y="117"/>
                  </a:lnTo>
                  <a:lnTo>
                    <a:pt x="771" y="108"/>
                  </a:lnTo>
                  <a:lnTo>
                    <a:pt x="771" y="98"/>
                  </a:lnTo>
                  <a:lnTo>
                    <a:pt x="791" y="108"/>
                  </a:lnTo>
                  <a:lnTo>
                    <a:pt x="800" y="98"/>
                  </a:lnTo>
                  <a:lnTo>
                    <a:pt x="791" y="78"/>
                  </a:lnTo>
                  <a:lnTo>
                    <a:pt x="771" y="78"/>
                  </a:lnTo>
                  <a:lnTo>
                    <a:pt x="761" y="78"/>
                  </a:lnTo>
                  <a:lnTo>
                    <a:pt x="752" y="78"/>
                  </a:lnTo>
                  <a:lnTo>
                    <a:pt x="732" y="88"/>
                  </a:lnTo>
                  <a:lnTo>
                    <a:pt x="732" y="69"/>
                  </a:lnTo>
                  <a:lnTo>
                    <a:pt x="722" y="69"/>
                  </a:lnTo>
                  <a:lnTo>
                    <a:pt x="693" y="49"/>
                  </a:lnTo>
                  <a:lnTo>
                    <a:pt x="674" y="39"/>
                  </a:lnTo>
                  <a:lnTo>
                    <a:pt x="674" y="30"/>
                  </a:lnTo>
                  <a:lnTo>
                    <a:pt x="664" y="10"/>
                  </a:lnTo>
                  <a:lnTo>
                    <a:pt x="644" y="0"/>
                  </a:lnTo>
                  <a:lnTo>
                    <a:pt x="634" y="10"/>
                  </a:lnTo>
                  <a:lnTo>
                    <a:pt x="625" y="10"/>
                  </a:lnTo>
                  <a:lnTo>
                    <a:pt x="625" y="20"/>
                  </a:lnTo>
                  <a:lnTo>
                    <a:pt x="605" y="30"/>
                  </a:lnTo>
                  <a:lnTo>
                    <a:pt x="586" y="30"/>
                  </a:lnTo>
                  <a:lnTo>
                    <a:pt x="576" y="39"/>
                  </a:lnTo>
                  <a:lnTo>
                    <a:pt x="566" y="39"/>
                  </a:lnTo>
                  <a:lnTo>
                    <a:pt x="556" y="30"/>
                  </a:lnTo>
                  <a:lnTo>
                    <a:pt x="537" y="30"/>
                  </a:lnTo>
                  <a:lnTo>
                    <a:pt x="517" y="39"/>
                  </a:lnTo>
                  <a:lnTo>
                    <a:pt x="508" y="30"/>
                  </a:lnTo>
                  <a:lnTo>
                    <a:pt x="488" y="39"/>
                  </a:lnTo>
                  <a:lnTo>
                    <a:pt x="478" y="39"/>
                  </a:lnTo>
                  <a:lnTo>
                    <a:pt x="478" y="69"/>
                  </a:lnTo>
                  <a:lnTo>
                    <a:pt x="469" y="78"/>
                  </a:lnTo>
                  <a:lnTo>
                    <a:pt x="459" y="88"/>
                  </a:lnTo>
                  <a:lnTo>
                    <a:pt x="439" y="88"/>
                  </a:lnTo>
                  <a:lnTo>
                    <a:pt x="420" y="108"/>
                  </a:lnTo>
                  <a:lnTo>
                    <a:pt x="400" y="127"/>
                  </a:lnTo>
                  <a:lnTo>
                    <a:pt x="400" y="137"/>
                  </a:lnTo>
                  <a:lnTo>
                    <a:pt x="391" y="156"/>
                  </a:lnTo>
                  <a:lnTo>
                    <a:pt x="361" y="166"/>
                  </a:lnTo>
                  <a:lnTo>
                    <a:pt x="332" y="166"/>
                  </a:lnTo>
                  <a:lnTo>
                    <a:pt x="313" y="186"/>
                  </a:lnTo>
                  <a:lnTo>
                    <a:pt x="303" y="196"/>
                  </a:lnTo>
                  <a:lnTo>
                    <a:pt x="274" y="196"/>
                  </a:lnTo>
                  <a:lnTo>
                    <a:pt x="254" y="186"/>
                  </a:lnTo>
                  <a:lnTo>
                    <a:pt x="235" y="186"/>
                  </a:lnTo>
                  <a:lnTo>
                    <a:pt x="215" y="176"/>
                  </a:lnTo>
                  <a:lnTo>
                    <a:pt x="196" y="166"/>
                  </a:lnTo>
                  <a:lnTo>
                    <a:pt x="166" y="166"/>
                  </a:lnTo>
                  <a:lnTo>
                    <a:pt x="157" y="156"/>
                  </a:lnTo>
                  <a:lnTo>
                    <a:pt x="147" y="137"/>
                  </a:lnTo>
                  <a:lnTo>
                    <a:pt x="127" y="137"/>
                  </a:lnTo>
                  <a:lnTo>
                    <a:pt x="108" y="137"/>
                  </a:lnTo>
                  <a:lnTo>
                    <a:pt x="108" y="166"/>
                  </a:lnTo>
                  <a:lnTo>
                    <a:pt x="88" y="176"/>
                  </a:lnTo>
                  <a:lnTo>
                    <a:pt x="78" y="186"/>
                  </a:lnTo>
                  <a:lnTo>
                    <a:pt x="49" y="176"/>
                  </a:lnTo>
                  <a:lnTo>
                    <a:pt x="39" y="176"/>
                  </a:lnTo>
                  <a:lnTo>
                    <a:pt x="39" y="166"/>
                  </a:lnTo>
                  <a:lnTo>
                    <a:pt x="10" y="166"/>
                  </a:lnTo>
                  <a:lnTo>
                    <a:pt x="0" y="176"/>
                  </a:lnTo>
                  <a:lnTo>
                    <a:pt x="10" y="186"/>
                  </a:lnTo>
                  <a:lnTo>
                    <a:pt x="10" y="196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Freeform 120"/>
            <p:cNvSpPr>
              <a:spLocks/>
            </p:cNvSpPr>
            <p:nvPr/>
          </p:nvSpPr>
          <p:spPr bwMode="auto">
            <a:xfrm>
              <a:off x="4448" y="2059"/>
              <a:ext cx="1074" cy="1934"/>
            </a:xfrm>
            <a:custGeom>
              <a:avLst/>
              <a:gdLst>
                <a:gd name="T0" fmla="*/ 429 w 1073"/>
                <a:gd name="T1" fmla="*/ 253 h 1932"/>
                <a:gd name="T2" fmla="*/ 351 w 1073"/>
                <a:gd name="T3" fmla="*/ 448 h 1932"/>
                <a:gd name="T4" fmla="*/ 429 w 1073"/>
                <a:gd name="T5" fmla="*/ 478 h 1932"/>
                <a:gd name="T6" fmla="*/ 497 w 1073"/>
                <a:gd name="T7" fmla="*/ 546 h 1932"/>
                <a:gd name="T8" fmla="*/ 468 w 1073"/>
                <a:gd name="T9" fmla="*/ 673 h 1932"/>
                <a:gd name="T10" fmla="*/ 371 w 1073"/>
                <a:gd name="T11" fmla="*/ 839 h 1932"/>
                <a:gd name="T12" fmla="*/ 458 w 1073"/>
                <a:gd name="T13" fmla="*/ 907 h 1932"/>
                <a:gd name="T14" fmla="*/ 507 w 1073"/>
                <a:gd name="T15" fmla="*/ 868 h 1932"/>
                <a:gd name="T16" fmla="*/ 595 w 1073"/>
                <a:gd name="T17" fmla="*/ 897 h 1932"/>
                <a:gd name="T18" fmla="*/ 624 w 1073"/>
                <a:gd name="T19" fmla="*/ 1064 h 1932"/>
                <a:gd name="T20" fmla="*/ 732 w 1073"/>
                <a:gd name="T21" fmla="*/ 1084 h 1932"/>
                <a:gd name="T22" fmla="*/ 878 w 1073"/>
                <a:gd name="T23" fmla="*/ 1055 h 1932"/>
                <a:gd name="T24" fmla="*/ 1034 w 1073"/>
                <a:gd name="T25" fmla="*/ 1084 h 1932"/>
                <a:gd name="T26" fmla="*/ 1034 w 1073"/>
                <a:gd name="T27" fmla="*/ 1211 h 1932"/>
                <a:gd name="T28" fmla="*/ 966 w 1073"/>
                <a:gd name="T29" fmla="*/ 1279 h 1932"/>
                <a:gd name="T30" fmla="*/ 936 w 1073"/>
                <a:gd name="T31" fmla="*/ 1289 h 1932"/>
                <a:gd name="T32" fmla="*/ 868 w 1073"/>
                <a:gd name="T33" fmla="*/ 1308 h 1932"/>
                <a:gd name="T34" fmla="*/ 761 w 1073"/>
                <a:gd name="T35" fmla="*/ 1396 h 1932"/>
                <a:gd name="T36" fmla="*/ 751 w 1073"/>
                <a:gd name="T37" fmla="*/ 1464 h 1932"/>
                <a:gd name="T38" fmla="*/ 692 w 1073"/>
                <a:gd name="T39" fmla="*/ 1562 h 1932"/>
                <a:gd name="T40" fmla="*/ 683 w 1073"/>
                <a:gd name="T41" fmla="*/ 1650 h 1932"/>
                <a:gd name="T42" fmla="*/ 614 w 1073"/>
                <a:gd name="T43" fmla="*/ 1669 h 1932"/>
                <a:gd name="T44" fmla="*/ 634 w 1073"/>
                <a:gd name="T45" fmla="*/ 1786 h 1932"/>
                <a:gd name="T46" fmla="*/ 546 w 1073"/>
                <a:gd name="T47" fmla="*/ 1786 h 1932"/>
                <a:gd name="T48" fmla="*/ 458 w 1073"/>
                <a:gd name="T49" fmla="*/ 1884 h 1932"/>
                <a:gd name="T50" fmla="*/ 312 w 1073"/>
                <a:gd name="T51" fmla="*/ 1933 h 1932"/>
                <a:gd name="T52" fmla="*/ 205 w 1073"/>
                <a:gd name="T53" fmla="*/ 1874 h 1932"/>
                <a:gd name="T54" fmla="*/ 283 w 1073"/>
                <a:gd name="T55" fmla="*/ 1816 h 1932"/>
                <a:gd name="T56" fmla="*/ 312 w 1073"/>
                <a:gd name="T57" fmla="*/ 1728 h 1932"/>
                <a:gd name="T58" fmla="*/ 312 w 1073"/>
                <a:gd name="T59" fmla="*/ 1621 h 1932"/>
                <a:gd name="T60" fmla="*/ 283 w 1073"/>
                <a:gd name="T61" fmla="*/ 1572 h 1932"/>
                <a:gd name="T62" fmla="*/ 224 w 1073"/>
                <a:gd name="T63" fmla="*/ 1533 h 1932"/>
                <a:gd name="T64" fmla="*/ 166 w 1073"/>
                <a:gd name="T65" fmla="*/ 1542 h 1932"/>
                <a:gd name="T66" fmla="*/ 205 w 1073"/>
                <a:gd name="T67" fmla="*/ 1464 h 1932"/>
                <a:gd name="T68" fmla="*/ 166 w 1073"/>
                <a:gd name="T69" fmla="*/ 1396 h 1932"/>
                <a:gd name="T70" fmla="*/ 166 w 1073"/>
                <a:gd name="T71" fmla="*/ 1299 h 1932"/>
                <a:gd name="T72" fmla="*/ 215 w 1073"/>
                <a:gd name="T73" fmla="*/ 1260 h 1932"/>
                <a:gd name="T74" fmla="*/ 156 w 1073"/>
                <a:gd name="T75" fmla="*/ 1172 h 1932"/>
                <a:gd name="T76" fmla="*/ 205 w 1073"/>
                <a:gd name="T77" fmla="*/ 1064 h 1932"/>
                <a:gd name="T78" fmla="*/ 136 w 1073"/>
                <a:gd name="T79" fmla="*/ 986 h 1932"/>
                <a:gd name="T80" fmla="*/ 0 w 1073"/>
                <a:gd name="T81" fmla="*/ 936 h 1932"/>
                <a:gd name="T82" fmla="*/ 10 w 1073"/>
                <a:gd name="T83" fmla="*/ 839 h 1932"/>
                <a:gd name="T84" fmla="*/ 97 w 1073"/>
                <a:gd name="T85" fmla="*/ 761 h 1932"/>
                <a:gd name="T86" fmla="*/ 117 w 1073"/>
                <a:gd name="T87" fmla="*/ 624 h 1932"/>
                <a:gd name="T88" fmla="*/ 136 w 1073"/>
                <a:gd name="T89" fmla="*/ 556 h 1932"/>
                <a:gd name="T90" fmla="*/ 185 w 1073"/>
                <a:gd name="T91" fmla="*/ 478 h 1932"/>
                <a:gd name="T92" fmla="*/ 156 w 1073"/>
                <a:gd name="T93" fmla="*/ 390 h 1932"/>
                <a:gd name="T94" fmla="*/ 136 w 1073"/>
                <a:gd name="T95" fmla="*/ 322 h 1932"/>
                <a:gd name="T96" fmla="*/ 107 w 1073"/>
                <a:gd name="T97" fmla="*/ 273 h 1932"/>
                <a:gd name="T98" fmla="*/ 97 w 1073"/>
                <a:gd name="T99" fmla="*/ 195 h 1932"/>
                <a:gd name="T100" fmla="*/ 88 w 1073"/>
                <a:gd name="T101" fmla="*/ 97 h 1932"/>
                <a:gd name="T102" fmla="*/ 127 w 1073"/>
                <a:gd name="T103" fmla="*/ 19 h 1932"/>
                <a:gd name="T104" fmla="*/ 215 w 1073"/>
                <a:gd name="T105" fmla="*/ 127 h 1932"/>
                <a:gd name="T106" fmla="*/ 283 w 1073"/>
                <a:gd name="T107" fmla="*/ 58 h 1932"/>
                <a:gd name="T108" fmla="*/ 439 w 1073"/>
                <a:gd name="T109" fmla="*/ 166 h 193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73"/>
                <a:gd name="T166" fmla="*/ 0 h 1932"/>
                <a:gd name="T167" fmla="*/ 1073 w 1073"/>
                <a:gd name="T168" fmla="*/ 1932 h 193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73" h="1932">
                  <a:moveTo>
                    <a:pt x="507" y="166"/>
                  </a:moveTo>
                  <a:lnTo>
                    <a:pt x="497" y="175"/>
                  </a:lnTo>
                  <a:lnTo>
                    <a:pt x="488" y="195"/>
                  </a:lnTo>
                  <a:lnTo>
                    <a:pt x="478" y="214"/>
                  </a:lnTo>
                  <a:lnTo>
                    <a:pt x="458" y="224"/>
                  </a:lnTo>
                  <a:lnTo>
                    <a:pt x="439" y="244"/>
                  </a:lnTo>
                  <a:lnTo>
                    <a:pt x="429" y="253"/>
                  </a:lnTo>
                  <a:lnTo>
                    <a:pt x="400" y="263"/>
                  </a:lnTo>
                  <a:lnTo>
                    <a:pt x="390" y="273"/>
                  </a:lnTo>
                  <a:lnTo>
                    <a:pt x="380" y="312"/>
                  </a:lnTo>
                  <a:lnTo>
                    <a:pt x="351" y="322"/>
                  </a:lnTo>
                  <a:lnTo>
                    <a:pt x="341" y="361"/>
                  </a:lnTo>
                  <a:lnTo>
                    <a:pt x="371" y="370"/>
                  </a:lnTo>
                  <a:lnTo>
                    <a:pt x="351" y="448"/>
                  </a:lnTo>
                  <a:lnTo>
                    <a:pt x="371" y="458"/>
                  </a:lnTo>
                  <a:lnTo>
                    <a:pt x="400" y="468"/>
                  </a:lnTo>
                  <a:lnTo>
                    <a:pt x="410" y="468"/>
                  </a:lnTo>
                  <a:lnTo>
                    <a:pt x="410" y="478"/>
                  </a:lnTo>
                  <a:lnTo>
                    <a:pt x="410" y="497"/>
                  </a:lnTo>
                  <a:lnTo>
                    <a:pt x="419" y="488"/>
                  </a:lnTo>
                  <a:lnTo>
                    <a:pt x="429" y="478"/>
                  </a:lnTo>
                  <a:lnTo>
                    <a:pt x="439" y="478"/>
                  </a:lnTo>
                  <a:lnTo>
                    <a:pt x="439" y="497"/>
                  </a:lnTo>
                  <a:lnTo>
                    <a:pt x="449" y="507"/>
                  </a:lnTo>
                  <a:lnTo>
                    <a:pt x="458" y="507"/>
                  </a:lnTo>
                  <a:lnTo>
                    <a:pt x="478" y="507"/>
                  </a:lnTo>
                  <a:lnTo>
                    <a:pt x="488" y="527"/>
                  </a:lnTo>
                  <a:lnTo>
                    <a:pt x="497" y="546"/>
                  </a:lnTo>
                  <a:lnTo>
                    <a:pt x="497" y="566"/>
                  </a:lnTo>
                  <a:lnTo>
                    <a:pt x="488" y="585"/>
                  </a:lnTo>
                  <a:lnTo>
                    <a:pt x="468" y="605"/>
                  </a:lnTo>
                  <a:lnTo>
                    <a:pt x="468" y="614"/>
                  </a:lnTo>
                  <a:lnTo>
                    <a:pt x="478" y="614"/>
                  </a:lnTo>
                  <a:lnTo>
                    <a:pt x="478" y="634"/>
                  </a:lnTo>
                  <a:lnTo>
                    <a:pt x="468" y="673"/>
                  </a:lnTo>
                  <a:lnTo>
                    <a:pt x="439" y="683"/>
                  </a:lnTo>
                  <a:lnTo>
                    <a:pt x="419" y="702"/>
                  </a:lnTo>
                  <a:lnTo>
                    <a:pt x="410" y="722"/>
                  </a:lnTo>
                  <a:lnTo>
                    <a:pt x="351" y="741"/>
                  </a:lnTo>
                  <a:lnTo>
                    <a:pt x="400" y="780"/>
                  </a:lnTo>
                  <a:lnTo>
                    <a:pt x="390" y="809"/>
                  </a:lnTo>
                  <a:lnTo>
                    <a:pt x="371" y="839"/>
                  </a:lnTo>
                  <a:lnTo>
                    <a:pt x="390" y="888"/>
                  </a:lnTo>
                  <a:lnTo>
                    <a:pt x="410" y="897"/>
                  </a:lnTo>
                  <a:lnTo>
                    <a:pt x="419" y="917"/>
                  </a:lnTo>
                  <a:lnTo>
                    <a:pt x="419" y="927"/>
                  </a:lnTo>
                  <a:lnTo>
                    <a:pt x="439" y="927"/>
                  </a:lnTo>
                  <a:lnTo>
                    <a:pt x="449" y="917"/>
                  </a:lnTo>
                  <a:lnTo>
                    <a:pt x="458" y="907"/>
                  </a:lnTo>
                  <a:lnTo>
                    <a:pt x="478" y="897"/>
                  </a:lnTo>
                  <a:lnTo>
                    <a:pt x="478" y="907"/>
                  </a:lnTo>
                  <a:lnTo>
                    <a:pt x="488" y="897"/>
                  </a:lnTo>
                  <a:lnTo>
                    <a:pt x="488" y="888"/>
                  </a:lnTo>
                  <a:lnTo>
                    <a:pt x="497" y="888"/>
                  </a:lnTo>
                  <a:lnTo>
                    <a:pt x="507" y="888"/>
                  </a:lnTo>
                  <a:lnTo>
                    <a:pt x="507" y="868"/>
                  </a:lnTo>
                  <a:lnTo>
                    <a:pt x="517" y="858"/>
                  </a:lnTo>
                  <a:lnTo>
                    <a:pt x="536" y="858"/>
                  </a:lnTo>
                  <a:lnTo>
                    <a:pt x="527" y="878"/>
                  </a:lnTo>
                  <a:lnTo>
                    <a:pt x="527" y="888"/>
                  </a:lnTo>
                  <a:lnTo>
                    <a:pt x="546" y="888"/>
                  </a:lnTo>
                  <a:lnTo>
                    <a:pt x="575" y="897"/>
                  </a:lnTo>
                  <a:lnTo>
                    <a:pt x="595" y="897"/>
                  </a:lnTo>
                  <a:lnTo>
                    <a:pt x="614" y="907"/>
                  </a:lnTo>
                  <a:lnTo>
                    <a:pt x="634" y="917"/>
                  </a:lnTo>
                  <a:lnTo>
                    <a:pt x="644" y="936"/>
                  </a:lnTo>
                  <a:lnTo>
                    <a:pt x="644" y="956"/>
                  </a:lnTo>
                  <a:lnTo>
                    <a:pt x="634" y="985"/>
                  </a:lnTo>
                  <a:lnTo>
                    <a:pt x="624" y="995"/>
                  </a:lnTo>
                  <a:lnTo>
                    <a:pt x="624" y="1053"/>
                  </a:lnTo>
                  <a:lnTo>
                    <a:pt x="624" y="1063"/>
                  </a:lnTo>
                  <a:lnTo>
                    <a:pt x="644" y="1053"/>
                  </a:lnTo>
                  <a:lnTo>
                    <a:pt x="653" y="1073"/>
                  </a:lnTo>
                  <a:lnTo>
                    <a:pt x="663" y="1063"/>
                  </a:lnTo>
                  <a:lnTo>
                    <a:pt x="683" y="1063"/>
                  </a:lnTo>
                  <a:lnTo>
                    <a:pt x="683" y="1073"/>
                  </a:lnTo>
                  <a:lnTo>
                    <a:pt x="732" y="1073"/>
                  </a:lnTo>
                  <a:lnTo>
                    <a:pt x="751" y="1063"/>
                  </a:lnTo>
                  <a:lnTo>
                    <a:pt x="761" y="1053"/>
                  </a:lnTo>
                  <a:lnTo>
                    <a:pt x="780" y="1053"/>
                  </a:lnTo>
                  <a:lnTo>
                    <a:pt x="800" y="1053"/>
                  </a:lnTo>
                  <a:lnTo>
                    <a:pt x="829" y="1053"/>
                  </a:lnTo>
                  <a:lnTo>
                    <a:pt x="858" y="1053"/>
                  </a:lnTo>
                  <a:lnTo>
                    <a:pt x="878" y="1044"/>
                  </a:lnTo>
                  <a:lnTo>
                    <a:pt x="888" y="1024"/>
                  </a:lnTo>
                  <a:lnTo>
                    <a:pt x="897" y="1024"/>
                  </a:lnTo>
                  <a:lnTo>
                    <a:pt x="936" y="1053"/>
                  </a:lnTo>
                  <a:lnTo>
                    <a:pt x="966" y="1053"/>
                  </a:lnTo>
                  <a:lnTo>
                    <a:pt x="995" y="1053"/>
                  </a:lnTo>
                  <a:lnTo>
                    <a:pt x="1024" y="1063"/>
                  </a:lnTo>
                  <a:lnTo>
                    <a:pt x="1034" y="1073"/>
                  </a:lnTo>
                  <a:lnTo>
                    <a:pt x="1053" y="1063"/>
                  </a:lnTo>
                  <a:lnTo>
                    <a:pt x="1063" y="1073"/>
                  </a:lnTo>
                  <a:lnTo>
                    <a:pt x="1063" y="1092"/>
                  </a:lnTo>
                  <a:lnTo>
                    <a:pt x="1053" y="1112"/>
                  </a:lnTo>
                  <a:lnTo>
                    <a:pt x="1073" y="1161"/>
                  </a:lnTo>
                  <a:lnTo>
                    <a:pt x="1063" y="1180"/>
                  </a:lnTo>
                  <a:lnTo>
                    <a:pt x="1034" y="1200"/>
                  </a:lnTo>
                  <a:lnTo>
                    <a:pt x="1024" y="1200"/>
                  </a:lnTo>
                  <a:lnTo>
                    <a:pt x="1005" y="1229"/>
                  </a:lnTo>
                  <a:lnTo>
                    <a:pt x="995" y="1229"/>
                  </a:lnTo>
                  <a:lnTo>
                    <a:pt x="985" y="1239"/>
                  </a:lnTo>
                  <a:lnTo>
                    <a:pt x="985" y="1249"/>
                  </a:lnTo>
                  <a:lnTo>
                    <a:pt x="985" y="1268"/>
                  </a:lnTo>
                  <a:lnTo>
                    <a:pt x="966" y="1268"/>
                  </a:lnTo>
                  <a:lnTo>
                    <a:pt x="975" y="1278"/>
                  </a:lnTo>
                  <a:lnTo>
                    <a:pt x="975" y="1297"/>
                  </a:lnTo>
                  <a:lnTo>
                    <a:pt x="985" y="1307"/>
                  </a:lnTo>
                  <a:lnTo>
                    <a:pt x="985" y="1317"/>
                  </a:lnTo>
                  <a:lnTo>
                    <a:pt x="975" y="1317"/>
                  </a:lnTo>
                  <a:lnTo>
                    <a:pt x="936" y="1307"/>
                  </a:lnTo>
                  <a:lnTo>
                    <a:pt x="936" y="1278"/>
                  </a:lnTo>
                  <a:lnTo>
                    <a:pt x="927" y="1278"/>
                  </a:lnTo>
                  <a:lnTo>
                    <a:pt x="927" y="1268"/>
                  </a:lnTo>
                  <a:lnTo>
                    <a:pt x="917" y="1249"/>
                  </a:lnTo>
                  <a:lnTo>
                    <a:pt x="897" y="1249"/>
                  </a:lnTo>
                  <a:lnTo>
                    <a:pt x="897" y="1258"/>
                  </a:lnTo>
                  <a:lnTo>
                    <a:pt x="878" y="1288"/>
                  </a:lnTo>
                  <a:lnTo>
                    <a:pt x="868" y="1297"/>
                  </a:lnTo>
                  <a:lnTo>
                    <a:pt x="839" y="1297"/>
                  </a:lnTo>
                  <a:lnTo>
                    <a:pt x="829" y="1288"/>
                  </a:lnTo>
                  <a:lnTo>
                    <a:pt x="790" y="1288"/>
                  </a:lnTo>
                  <a:lnTo>
                    <a:pt x="780" y="1297"/>
                  </a:lnTo>
                  <a:lnTo>
                    <a:pt x="771" y="1327"/>
                  </a:lnTo>
                  <a:lnTo>
                    <a:pt x="751" y="1366"/>
                  </a:lnTo>
                  <a:lnTo>
                    <a:pt x="761" y="1385"/>
                  </a:lnTo>
                  <a:lnTo>
                    <a:pt x="771" y="1395"/>
                  </a:lnTo>
                  <a:lnTo>
                    <a:pt x="771" y="1405"/>
                  </a:lnTo>
                  <a:lnTo>
                    <a:pt x="780" y="1414"/>
                  </a:lnTo>
                  <a:lnTo>
                    <a:pt x="771" y="1424"/>
                  </a:lnTo>
                  <a:lnTo>
                    <a:pt x="761" y="1424"/>
                  </a:lnTo>
                  <a:lnTo>
                    <a:pt x="751" y="1444"/>
                  </a:lnTo>
                  <a:lnTo>
                    <a:pt x="751" y="1453"/>
                  </a:lnTo>
                  <a:lnTo>
                    <a:pt x="751" y="1473"/>
                  </a:lnTo>
                  <a:lnTo>
                    <a:pt x="722" y="1473"/>
                  </a:lnTo>
                  <a:lnTo>
                    <a:pt x="712" y="1483"/>
                  </a:lnTo>
                  <a:lnTo>
                    <a:pt x="712" y="1502"/>
                  </a:lnTo>
                  <a:lnTo>
                    <a:pt x="692" y="1502"/>
                  </a:lnTo>
                  <a:lnTo>
                    <a:pt x="692" y="1531"/>
                  </a:lnTo>
                  <a:lnTo>
                    <a:pt x="692" y="1551"/>
                  </a:lnTo>
                  <a:lnTo>
                    <a:pt x="702" y="1561"/>
                  </a:lnTo>
                  <a:lnTo>
                    <a:pt x="702" y="1571"/>
                  </a:lnTo>
                  <a:lnTo>
                    <a:pt x="692" y="1571"/>
                  </a:lnTo>
                  <a:lnTo>
                    <a:pt x="692" y="1580"/>
                  </a:lnTo>
                  <a:lnTo>
                    <a:pt x="692" y="1600"/>
                  </a:lnTo>
                  <a:lnTo>
                    <a:pt x="692" y="1619"/>
                  </a:lnTo>
                  <a:lnTo>
                    <a:pt x="683" y="1639"/>
                  </a:lnTo>
                  <a:lnTo>
                    <a:pt x="673" y="1639"/>
                  </a:lnTo>
                  <a:lnTo>
                    <a:pt x="644" y="1629"/>
                  </a:lnTo>
                  <a:lnTo>
                    <a:pt x="634" y="1629"/>
                  </a:lnTo>
                  <a:lnTo>
                    <a:pt x="634" y="1639"/>
                  </a:lnTo>
                  <a:lnTo>
                    <a:pt x="634" y="1649"/>
                  </a:lnTo>
                  <a:lnTo>
                    <a:pt x="634" y="1658"/>
                  </a:lnTo>
                  <a:lnTo>
                    <a:pt x="614" y="1658"/>
                  </a:lnTo>
                  <a:lnTo>
                    <a:pt x="614" y="1678"/>
                  </a:lnTo>
                  <a:lnTo>
                    <a:pt x="653" y="1717"/>
                  </a:lnTo>
                  <a:lnTo>
                    <a:pt x="683" y="1746"/>
                  </a:lnTo>
                  <a:lnTo>
                    <a:pt x="683" y="1756"/>
                  </a:lnTo>
                  <a:lnTo>
                    <a:pt x="663" y="1766"/>
                  </a:lnTo>
                  <a:lnTo>
                    <a:pt x="644" y="1766"/>
                  </a:lnTo>
                  <a:lnTo>
                    <a:pt x="634" y="1775"/>
                  </a:lnTo>
                  <a:lnTo>
                    <a:pt x="624" y="1775"/>
                  </a:lnTo>
                  <a:lnTo>
                    <a:pt x="614" y="1766"/>
                  </a:lnTo>
                  <a:lnTo>
                    <a:pt x="595" y="1766"/>
                  </a:lnTo>
                  <a:lnTo>
                    <a:pt x="585" y="1775"/>
                  </a:lnTo>
                  <a:lnTo>
                    <a:pt x="566" y="1766"/>
                  </a:lnTo>
                  <a:lnTo>
                    <a:pt x="546" y="1775"/>
                  </a:lnTo>
                  <a:lnTo>
                    <a:pt x="536" y="1805"/>
                  </a:lnTo>
                  <a:lnTo>
                    <a:pt x="527" y="1814"/>
                  </a:lnTo>
                  <a:lnTo>
                    <a:pt x="517" y="1834"/>
                  </a:lnTo>
                  <a:lnTo>
                    <a:pt x="497" y="1834"/>
                  </a:lnTo>
                  <a:lnTo>
                    <a:pt x="488" y="1844"/>
                  </a:lnTo>
                  <a:lnTo>
                    <a:pt x="458" y="1863"/>
                  </a:lnTo>
                  <a:lnTo>
                    <a:pt x="458" y="1873"/>
                  </a:lnTo>
                  <a:lnTo>
                    <a:pt x="449" y="1892"/>
                  </a:lnTo>
                  <a:lnTo>
                    <a:pt x="419" y="1902"/>
                  </a:lnTo>
                  <a:lnTo>
                    <a:pt x="400" y="1902"/>
                  </a:lnTo>
                  <a:lnTo>
                    <a:pt x="371" y="1922"/>
                  </a:lnTo>
                  <a:lnTo>
                    <a:pt x="361" y="1932"/>
                  </a:lnTo>
                  <a:lnTo>
                    <a:pt x="341" y="1932"/>
                  </a:lnTo>
                  <a:lnTo>
                    <a:pt x="312" y="1922"/>
                  </a:lnTo>
                  <a:lnTo>
                    <a:pt x="293" y="1922"/>
                  </a:lnTo>
                  <a:lnTo>
                    <a:pt x="273" y="1912"/>
                  </a:lnTo>
                  <a:lnTo>
                    <a:pt x="254" y="1902"/>
                  </a:lnTo>
                  <a:lnTo>
                    <a:pt x="224" y="1902"/>
                  </a:lnTo>
                  <a:lnTo>
                    <a:pt x="215" y="1892"/>
                  </a:lnTo>
                  <a:lnTo>
                    <a:pt x="205" y="1873"/>
                  </a:lnTo>
                  <a:lnTo>
                    <a:pt x="205" y="1863"/>
                  </a:lnTo>
                  <a:lnTo>
                    <a:pt x="205" y="1853"/>
                  </a:lnTo>
                  <a:lnTo>
                    <a:pt x="224" y="1844"/>
                  </a:lnTo>
                  <a:lnTo>
                    <a:pt x="234" y="1834"/>
                  </a:lnTo>
                  <a:lnTo>
                    <a:pt x="254" y="1834"/>
                  </a:lnTo>
                  <a:lnTo>
                    <a:pt x="263" y="1824"/>
                  </a:lnTo>
                  <a:lnTo>
                    <a:pt x="283" y="1814"/>
                  </a:lnTo>
                  <a:lnTo>
                    <a:pt x="283" y="1805"/>
                  </a:lnTo>
                  <a:lnTo>
                    <a:pt x="293" y="1795"/>
                  </a:lnTo>
                  <a:lnTo>
                    <a:pt x="293" y="1775"/>
                  </a:lnTo>
                  <a:lnTo>
                    <a:pt x="312" y="1775"/>
                  </a:lnTo>
                  <a:lnTo>
                    <a:pt x="332" y="1766"/>
                  </a:lnTo>
                  <a:lnTo>
                    <a:pt x="332" y="1746"/>
                  </a:lnTo>
                  <a:lnTo>
                    <a:pt x="322" y="1746"/>
                  </a:lnTo>
                  <a:lnTo>
                    <a:pt x="312" y="1717"/>
                  </a:lnTo>
                  <a:lnTo>
                    <a:pt x="312" y="1707"/>
                  </a:lnTo>
                  <a:lnTo>
                    <a:pt x="322" y="1697"/>
                  </a:lnTo>
                  <a:lnTo>
                    <a:pt x="322" y="1668"/>
                  </a:lnTo>
                  <a:lnTo>
                    <a:pt x="332" y="1649"/>
                  </a:lnTo>
                  <a:lnTo>
                    <a:pt x="322" y="1639"/>
                  </a:lnTo>
                  <a:lnTo>
                    <a:pt x="322" y="1629"/>
                  </a:lnTo>
                  <a:lnTo>
                    <a:pt x="312" y="1610"/>
                  </a:lnTo>
                  <a:lnTo>
                    <a:pt x="302" y="1600"/>
                  </a:lnTo>
                  <a:lnTo>
                    <a:pt x="302" y="1590"/>
                  </a:lnTo>
                  <a:lnTo>
                    <a:pt x="312" y="1580"/>
                  </a:lnTo>
                  <a:lnTo>
                    <a:pt x="302" y="1580"/>
                  </a:lnTo>
                  <a:lnTo>
                    <a:pt x="293" y="1571"/>
                  </a:lnTo>
                  <a:lnTo>
                    <a:pt x="283" y="1561"/>
                  </a:lnTo>
                  <a:lnTo>
                    <a:pt x="283" y="1551"/>
                  </a:lnTo>
                  <a:lnTo>
                    <a:pt x="273" y="1551"/>
                  </a:lnTo>
                  <a:lnTo>
                    <a:pt x="254" y="1551"/>
                  </a:lnTo>
                  <a:lnTo>
                    <a:pt x="244" y="1551"/>
                  </a:lnTo>
                  <a:lnTo>
                    <a:pt x="234" y="1531"/>
                  </a:lnTo>
                  <a:lnTo>
                    <a:pt x="224" y="1522"/>
                  </a:lnTo>
                  <a:lnTo>
                    <a:pt x="215" y="1531"/>
                  </a:lnTo>
                  <a:lnTo>
                    <a:pt x="215" y="1541"/>
                  </a:lnTo>
                  <a:lnTo>
                    <a:pt x="215" y="1561"/>
                  </a:lnTo>
                  <a:lnTo>
                    <a:pt x="195" y="1551"/>
                  </a:lnTo>
                  <a:lnTo>
                    <a:pt x="176" y="1551"/>
                  </a:lnTo>
                  <a:lnTo>
                    <a:pt x="176" y="1541"/>
                  </a:lnTo>
                  <a:lnTo>
                    <a:pt x="166" y="1531"/>
                  </a:lnTo>
                  <a:lnTo>
                    <a:pt x="156" y="1531"/>
                  </a:lnTo>
                  <a:lnTo>
                    <a:pt x="156" y="1502"/>
                  </a:lnTo>
                  <a:lnTo>
                    <a:pt x="146" y="1492"/>
                  </a:lnTo>
                  <a:lnTo>
                    <a:pt x="156" y="1483"/>
                  </a:lnTo>
                  <a:lnTo>
                    <a:pt x="176" y="1463"/>
                  </a:lnTo>
                  <a:lnTo>
                    <a:pt x="185" y="1453"/>
                  </a:lnTo>
                  <a:lnTo>
                    <a:pt x="205" y="1453"/>
                  </a:lnTo>
                  <a:lnTo>
                    <a:pt x="205" y="1444"/>
                  </a:lnTo>
                  <a:lnTo>
                    <a:pt x="205" y="1434"/>
                  </a:lnTo>
                  <a:lnTo>
                    <a:pt x="195" y="1424"/>
                  </a:lnTo>
                  <a:lnTo>
                    <a:pt x="195" y="1414"/>
                  </a:lnTo>
                  <a:lnTo>
                    <a:pt x="195" y="1405"/>
                  </a:lnTo>
                  <a:lnTo>
                    <a:pt x="176" y="1395"/>
                  </a:lnTo>
                  <a:lnTo>
                    <a:pt x="166" y="1385"/>
                  </a:lnTo>
                  <a:lnTo>
                    <a:pt x="156" y="1366"/>
                  </a:lnTo>
                  <a:lnTo>
                    <a:pt x="156" y="1356"/>
                  </a:lnTo>
                  <a:lnTo>
                    <a:pt x="166" y="1346"/>
                  </a:lnTo>
                  <a:lnTo>
                    <a:pt x="166" y="1317"/>
                  </a:lnTo>
                  <a:lnTo>
                    <a:pt x="176" y="1307"/>
                  </a:lnTo>
                  <a:lnTo>
                    <a:pt x="176" y="1297"/>
                  </a:lnTo>
                  <a:lnTo>
                    <a:pt x="166" y="1288"/>
                  </a:lnTo>
                  <a:lnTo>
                    <a:pt x="176" y="1288"/>
                  </a:lnTo>
                  <a:lnTo>
                    <a:pt x="185" y="1288"/>
                  </a:lnTo>
                  <a:lnTo>
                    <a:pt x="185" y="1278"/>
                  </a:lnTo>
                  <a:lnTo>
                    <a:pt x="195" y="1268"/>
                  </a:lnTo>
                  <a:lnTo>
                    <a:pt x="195" y="1258"/>
                  </a:lnTo>
                  <a:lnTo>
                    <a:pt x="205" y="1258"/>
                  </a:lnTo>
                  <a:lnTo>
                    <a:pt x="215" y="1249"/>
                  </a:lnTo>
                  <a:lnTo>
                    <a:pt x="234" y="1229"/>
                  </a:lnTo>
                  <a:lnTo>
                    <a:pt x="224" y="1210"/>
                  </a:lnTo>
                  <a:lnTo>
                    <a:pt x="205" y="1190"/>
                  </a:lnTo>
                  <a:lnTo>
                    <a:pt x="195" y="1180"/>
                  </a:lnTo>
                  <a:lnTo>
                    <a:pt x="176" y="1170"/>
                  </a:lnTo>
                  <a:lnTo>
                    <a:pt x="156" y="1170"/>
                  </a:lnTo>
                  <a:lnTo>
                    <a:pt x="156" y="1161"/>
                  </a:lnTo>
                  <a:lnTo>
                    <a:pt x="156" y="1122"/>
                  </a:lnTo>
                  <a:lnTo>
                    <a:pt x="176" y="1112"/>
                  </a:lnTo>
                  <a:lnTo>
                    <a:pt x="195" y="1102"/>
                  </a:lnTo>
                  <a:lnTo>
                    <a:pt x="215" y="1092"/>
                  </a:lnTo>
                  <a:lnTo>
                    <a:pt x="215" y="1083"/>
                  </a:lnTo>
                  <a:lnTo>
                    <a:pt x="205" y="1073"/>
                  </a:lnTo>
                  <a:lnTo>
                    <a:pt x="205" y="1053"/>
                  </a:lnTo>
                  <a:lnTo>
                    <a:pt x="195" y="1044"/>
                  </a:lnTo>
                  <a:lnTo>
                    <a:pt x="185" y="1053"/>
                  </a:lnTo>
                  <a:lnTo>
                    <a:pt x="176" y="1053"/>
                  </a:lnTo>
                  <a:lnTo>
                    <a:pt x="156" y="1005"/>
                  </a:lnTo>
                  <a:lnTo>
                    <a:pt x="146" y="995"/>
                  </a:lnTo>
                  <a:lnTo>
                    <a:pt x="136" y="995"/>
                  </a:lnTo>
                  <a:lnTo>
                    <a:pt x="136" y="975"/>
                  </a:lnTo>
                  <a:lnTo>
                    <a:pt x="136" y="966"/>
                  </a:lnTo>
                  <a:lnTo>
                    <a:pt x="107" y="956"/>
                  </a:lnTo>
                  <a:lnTo>
                    <a:pt x="88" y="956"/>
                  </a:lnTo>
                  <a:lnTo>
                    <a:pt x="58" y="946"/>
                  </a:lnTo>
                  <a:lnTo>
                    <a:pt x="39" y="956"/>
                  </a:lnTo>
                  <a:lnTo>
                    <a:pt x="29" y="956"/>
                  </a:lnTo>
                  <a:lnTo>
                    <a:pt x="0" y="936"/>
                  </a:lnTo>
                  <a:lnTo>
                    <a:pt x="0" y="917"/>
                  </a:lnTo>
                  <a:lnTo>
                    <a:pt x="10" y="907"/>
                  </a:lnTo>
                  <a:lnTo>
                    <a:pt x="19" y="897"/>
                  </a:lnTo>
                  <a:lnTo>
                    <a:pt x="19" y="878"/>
                  </a:lnTo>
                  <a:lnTo>
                    <a:pt x="10" y="858"/>
                  </a:lnTo>
                  <a:lnTo>
                    <a:pt x="10" y="849"/>
                  </a:lnTo>
                  <a:lnTo>
                    <a:pt x="10" y="839"/>
                  </a:lnTo>
                  <a:lnTo>
                    <a:pt x="0" y="829"/>
                  </a:lnTo>
                  <a:lnTo>
                    <a:pt x="39" y="819"/>
                  </a:lnTo>
                  <a:lnTo>
                    <a:pt x="97" y="800"/>
                  </a:lnTo>
                  <a:lnTo>
                    <a:pt x="97" y="790"/>
                  </a:lnTo>
                  <a:lnTo>
                    <a:pt x="107" y="780"/>
                  </a:lnTo>
                  <a:lnTo>
                    <a:pt x="107" y="761"/>
                  </a:lnTo>
                  <a:lnTo>
                    <a:pt x="97" y="761"/>
                  </a:lnTo>
                  <a:lnTo>
                    <a:pt x="78" y="751"/>
                  </a:lnTo>
                  <a:lnTo>
                    <a:pt x="58" y="731"/>
                  </a:lnTo>
                  <a:lnTo>
                    <a:pt x="49" y="712"/>
                  </a:lnTo>
                  <a:lnTo>
                    <a:pt x="78" y="663"/>
                  </a:lnTo>
                  <a:lnTo>
                    <a:pt x="97" y="644"/>
                  </a:lnTo>
                  <a:lnTo>
                    <a:pt x="97" y="634"/>
                  </a:lnTo>
                  <a:lnTo>
                    <a:pt x="117" y="624"/>
                  </a:lnTo>
                  <a:lnTo>
                    <a:pt x="136" y="624"/>
                  </a:lnTo>
                  <a:lnTo>
                    <a:pt x="146" y="614"/>
                  </a:lnTo>
                  <a:lnTo>
                    <a:pt x="136" y="595"/>
                  </a:lnTo>
                  <a:lnTo>
                    <a:pt x="146" y="585"/>
                  </a:lnTo>
                  <a:lnTo>
                    <a:pt x="146" y="575"/>
                  </a:lnTo>
                  <a:lnTo>
                    <a:pt x="136" y="566"/>
                  </a:lnTo>
                  <a:lnTo>
                    <a:pt x="136" y="556"/>
                  </a:lnTo>
                  <a:lnTo>
                    <a:pt x="127" y="546"/>
                  </a:lnTo>
                  <a:lnTo>
                    <a:pt x="127" y="527"/>
                  </a:lnTo>
                  <a:lnTo>
                    <a:pt x="136" y="507"/>
                  </a:lnTo>
                  <a:lnTo>
                    <a:pt x="156" y="497"/>
                  </a:lnTo>
                  <a:lnTo>
                    <a:pt x="176" y="497"/>
                  </a:lnTo>
                  <a:lnTo>
                    <a:pt x="185" y="478"/>
                  </a:lnTo>
                  <a:lnTo>
                    <a:pt x="185" y="448"/>
                  </a:lnTo>
                  <a:lnTo>
                    <a:pt x="185" y="419"/>
                  </a:lnTo>
                  <a:lnTo>
                    <a:pt x="185" y="400"/>
                  </a:lnTo>
                  <a:lnTo>
                    <a:pt x="176" y="400"/>
                  </a:lnTo>
                  <a:lnTo>
                    <a:pt x="156" y="409"/>
                  </a:lnTo>
                  <a:lnTo>
                    <a:pt x="146" y="400"/>
                  </a:lnTo>
                  <a:lnTo>
                    <a:pt x="156" y="390"/>
                  </a:lnTo>
                  <a:lnTo>
                    <a:pt x="146" y="380"/>
                  </a:lnTo>
                  <a:lnTo>
                    <a:pt x="127" y="370"/>
                  </a:lnTo>
                  <a:lnTo>
                    <a:pt x="117" y="361"/>
                  </a:lnTo>
                  <a:lnTo>
                    <a:pt x="127" y="361"/>
                  </a:lnTo>
                  <a:lnTo>
                    <a:pt x="136" y="351"/>
                  </a:lnTo>
                  <a:lnTo>
                    <a:pt x="136" y="322"/>
                  </a:lnTo>
                  <a:lnTo>
                    <a:pt x="136" y="312"/>
                  </a:lnTo>
                  <a:lnTo>
                    <a:pt x="146" y="302"/>
                  </a:lnTo>
                  <a:lnTo>
                    <a:pt x="136" y="292"/>
                  </a:lnTo>
                  <a:lnTo>
                    <a:pt x="127" y="283"/>
                  </a:lnTo>
                  <a:lnTo>
                    <a:pt x="117" y="283"/>
                  </a:lnTo>
                  <a:lnTo>
                    <a:pt x="107" y="283"/>
                  </a:lnTo>
                  <a:lnTo>
                    <a:pt x="107" y="273"/>
                  </a:lnTo>
                  <a:lnTo>
                    <a:pt x="107" y="253"/>
                  </a:lnTo>
                  <a:lnTo>
                    <a:pt x="97" y="253"/>
                  </a:lnTo>
                  <a:lnTo>
                    <a:pt x="97" y="234"/>
                  </a:lnTo>
                  <a:lnTo>
                    <a:pt x="117" y="234"/>
                  </a:lnTo>
                  <a:lnTo>
                    <a:pt x="117" y="224"/>
                  </a:lnTo>
                  <a:lnTo>
                    <a:pt x="107" y="214"/>
                  </a:lnTo>
                  <a:lnTo>
                    <a:pt x="97" y="195"/>
                  </a:lnTo>
                  <a:lnTo>
                    <a:pt x="107" y="175"/>
                  </a:lnTo>
                  <a:lnTo>
                    <a:pt x="117" y="166"/>
                  </a:lnTo>
                  <a:lnTo>
                    <a:pt x="117" y="156"/>
                  </a:lnTo>
                  <a:lnTo>
                    <a:pt x="97" y="127"/>
                  </a:lnTo>
                  <a:lnTo>
                    <a:pt x="88" y="107"/>
                  </a:lnTo>
                  <a:lnTo>
                    <a:pt x="88" y="97"/>
                  </a:lnTo>
                  <a:lnTo>
                    <a:pt x="97" y="78"/>
                  </a:lnTo>
                  <a:lnTo>
                    <a:pt x="97" y="58"/>
                  </a:lnTo>
                  <a:lnTo>
                    <a:pt x="97" y="39"/>
                  </a:lnTo>
                  <a:lnTo>
                    <a:pt x="97" y="19"/>
                  </a:lnTo>
                  <a:lnTo>
                    <a:pt x="117" y="29"/>
                  </a:lnTo>
                  <a:lnTo>
                    <a:pt x="127" y="19"/>
                  </a:lnTo>
                  <a:lnTo>
                    <a:pt x="166" y="0"/>
                  </a:lnTo>
                  <a:lnTo>
                    <a:pt x="176" y="19"/>
                  </a:lnTo>
                  <a:lnTo>
                    <a:pt x="156" y="29"/>
                  </a:lnTo>
                  <a:lnTo>
                    <a:pt x="176" y="39"/>
                  </a:lnTo>
                  <a:lnTo>
                    <a:pt x="176" y="58"/>
                  </a:lnTo>
                  <a:lnTo>
                    <a:pt x="195" y="117"/>
                  </a:lnTo>
                  <a:lnTo>
                    <a:pt x="215" y="127"/>
                  </a:lnTo>
                  <a:lnTo>
                    <a:pt x="215" y="107"/>
                  </a:lnTo>
                  <a:lnTo>
                    <a:pt x="244" y="107"/>
                  </a:lnTo>
                  <a:lnTo>
                    <a:pt x="244" y="97"/>
                  </a:lnTo>
                  <a:lnTo>
                    <a:pt x="244" y="78"/>
                  </a:lnTo>
                  <a:lnTo>
                    <a:pt x="263" y="78"/>
                  </a:lnTo>
                  <a:lnTo>
                    <a:pt x="263" y="58"/>
                  </a:lnTo>
                  <a:lnTo>
                    <a:pt x="283" y="58"/>
                  </a:lnTo>
                  <a:lnTo>
                    <a:pt x="312" y="58"/>
                  </a:lnTo>
                  <a:lnTo>
                    <a:pt x="312" y="87"/>
                  </a:lnTo>
                  <a:lnTo>
                    <a:pt x="341" y="146"/>
                  </a:lnTo>
                  <a:lnTo>
                    <a:pt x="371" y="146"/>
                  </a:lnTo>
                  <a:lnTo>
                    <a:pt x="410" y="156"/>
                  </a:lnTo>
                  <a:lnTo>
                    <a:pt x="419" y="156"/>
                  </a:lnTo>
                  <a:lnTo>
                    <a:pt x="439" y="166"/>
                  </a:lnTo>
                  <a:lnTo>
                    <a:pt x="468" y="166"/>
                  </a:lnTo>
                  <a:lnTo>
                    <a:pt x="507" y="166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2" name="Freeform 119"/>
            <p:cNvSpPr>
              <a:spLocks/>
            </p:cNvSpPr>
            <p:nvPr/>
          </p:nvSpPr>
          <p:spPr bwMode="auto">
            <a:xfrm>
              <a:off x="5063" y="2604"/>
              <a:ext cx="1441" cy="1464"/>
            </a:xfrm>
            <a:custGeom>
              <a:avLst/>
              <a:gdLst>
                <a:gd name="T0" fmla="*/ 20 w 1444"/>
                <a:gd name="T1" fmla="*/ 1103 h 1464"/>
                <a:gd name="T2" fmla="*/ 78 w 1444"/>
                <a:gd name="T3" fmla="*/ 1073 h 1464"/>
                <a:gd name="T4" fmla="*/ 88 w 1444"/>
                <a:gd name="T5" fmla="*/ 1005 h 1464"/>
                <a:gd name="T6" fmla="*/ 137 w 1444"/>
                <a:gd name="T7" fmla="*/ 927 h 1464"/>
                <a:gd name="T8" fmla="*/ 157 w 1444"/>
                <a:gd name="T9" fmla="*/ 859 h 1464"/>
                <a:gd name="T10" fmla="*/ 186 w 1444"/>
                <a:gd name="T11" fmla="*/ 742 h 1464"/>
                <a:gd name="T12" fmla="*/ 293 w 1444"/>
                <a:gd name="T13" fmla="*/ 703 h 1464"/>
                <a:gd name="T14" fmla="*/ 361 w 1444"/>
                <a:gd name="T15" fmla="*/ 781 h 1464"/>
                <a:gd name="T16" fmla="*/ 371 w 1444"/>
                <a:gd name="T17" fmla="*/ 732 h 1464"/>
                <a:gd name="T18" fmla="*/ 420 w 1444"/>
                <a:gd name="T19" fmla="*/ 654 h 1464"/>
                <a:gd name="T20" fmla="*/ 547 w 1444"/>
                <a:gd name="T21" fmla="*/ 624 h 1464"/>
                <a:gd name="T22" fmla="*/ 625 w 1444"/>
                <a:gd name="T23" fmla="*/ 585 h 1464"/>
                <a:gd name="T24" fmla="*/ 586 w 1444"/>
                <a:gd name="T25" fmla="*/ 507 h 1464"/>
                <a:gd name="T26" fmla="*/ 586 w 1444"/>
                <a:gd name="T27" fmla="*/ 449 h 1464"/>
                <a:gd name="T28" fmla="*/ 566 w 1444"/>
                <a:gd name="T29" fmla="*/ 361 h 1464"/>
                <a:gd name="T30" fmla="*/ 634 w 1444"/>
                <a:gd name="T31" fmla="*/ 293 h 1464"/>
                <a:gd name="T32" fmla="*/ 654 w 1444"/>
                <a:gd name="T33" fmla="*/ 146 h 1464"/>
                <a:gd name="T34" fmla="*/ 654 w 1444"/>
                <a:gd name="T35" fmla="*/ 88 h 1464"/>
                <a:gd name="T36" fmla="*/ 644 w 1444"/>
                <a:gd name="T37" fmla="*/ 10 h 1464"/>
                <a:gd name="T38" fmla="*/ 741 w 1444"/>
                <a:gd name="T39" fmla="*/ 20 h 1464"/>
                <a:gd name="T40" fmla="*/ 760 w 1444"/>
                <a:gd name="T41" fmla="*/ 59 h 1464"/>
                <a:gd name="T42" fmla="*/ 799 w 1444"/>
                <a:gd name="T43" fmla="*/ 176 h 1464"/>
                <a:gd name="T44" fmla="*/ 828 w 1444"/>
                <a:gd name="T45" fmla="*/ 254 h 1464"/>
                <a:gd name="T46" fmla="*/ 877 w 1444"/>
                <a:gd name="T47" fmla="*/ 312 h 1464"/>
                <a:gd name="T48" fmla="*/ 887 w 1444"/>
                <a:gd name="T49" fmla="*/ 371 h 1464"/>
                <a:gd name="T50" fmla="*/ 858 w 1444"/>
                <a:gd name="T51" fmla="*/ 537 h 1464"/>
                <a:gd name="T52" fmla="*/ 965 w 1444"/>
                <a:gd name="T53" fmla="*/ 527 h 1464"/>
                <a:gd name="T54" fmla="*/ 1043 w 1444"/>
                <a:gd name="T55" fmla="*/ 517 h 1464"/>
                <a:gd name="T56" fmla="*/ 1092 w 1444"/>
                <a:gd name="T57" fmla="*/ 468 h 1464"/>
                <a:gd name="T58" fmla="*/ 1189 w 1444"/>
                <a:gd name="T59" fmla="*/ 322 h 1464"/>
                <a:gd name="T60" fmla="*/ 1277 w 1444"/>
                <a:gd name="T61" fmla="*/ 381 h 1464"/>
                <a:gd name="T62" fmla="*/ 1336 w 1444"/>
                <a:gd name="T63" fmla="*/ 400 h 1464"/>
                <a:gd name="T64" fmla="*/ 1404 w 1444"/>
                <a:gd name="T65" fmla="*/ 429 h 1464"/>
                <a:gd name="T66" fmla="*/ 1423 w 1444"/>
                <a:gd name="T67" fmla="*/ 527 h 1464"/>
                <a:gd name="T68" fmla="*/ 1345 w 1444"/>
                <a:gd name="T69" fmla="*/ 546 h 1464"/>
                <a:gd name="T70" fmla="*/ 1355 w 1444"/>
                <a:gd name="T71" fmla="*/ 624 h 1464"/>
                <a:gd name="T72" fmla="*/ 1384 w 1444"/>
                <a:gd name="T73" fmla="*/ 664 h 1464"/>
                <a:gd name="T74" fmla="*/ 1355 w 1444"/>
                <a:gd name="T75" fmla="*/ 712 h 1464"/>
                <a:gd name="T76" fmla="*/ 1277 w 1444"/>
                <a:gd name="T77" fmla="*/ 673 h 1464"/>
                <a:gd name="T78" fmla="*/ 1228 w 1444"/>
                <a:gd name="T79" fmla="*/ 751 h 1464"/>
                <a:gd name="T80" fmla="*/ 1082 w 1444"/>
                <a:gd name="T81" fmla="*/ 761 h 1464"/>
                <a:gd name="T82" fmla="*/ 994 w 1444"/>
                <a:gd name="T83" fmla="*/ 790 h 1464"/>
                <a:gd name="T84" fmla="*/ 887 w 1444"/>
                <a:gd name="T85" fmla="*/ 820 h 1464"/>
                <a:gd name="T86" fmla="*/ 887 w 1444"/>
                <a:gd name="T87" fmla="*/ 898 h 1464"/>
                <a:gd name="T88" fmla="*/ 887 w 1444"/>
                <a:gd name="T89" fmla="*/ 1054 h 1464"/>
                <a:gd name="T90" fmla="*/ 838 w 1444"/>
                <a:gd name="T91" fmla="*/ 1259 h 1464"/>
                <a:gd name="T92" fmla="*/ 722 w 1444"/>
                <a:gd name="T93" fmla="*/ 1229 h 1464"/>
                <a:gd name="T94" fmla="*/ 634 w 1444"/>
                <a:gd name="T95" fmla="*/ 1229 h 1464"/>
                <a:gd name="T96" fmla="*/ 498 w 1444"/>
                <a:gd name="T97" fmla="*/ 1171 h 1464"/>
                <a:gd name="T98" fmla="*/ 459 w 1444"/>
                <a:gd name="T99" fmla="*/ 1239 h 1464"/>
                <a:gd name="T100" fmla="*/ 566 w 1444"/>
                <a:gd name="T101" fmla="*/ 1278 h 1464"/>
                <a:gd name="T102" fmla="*/ 741 w 1444"/>
                <a:gd name="T103" fmla="*/ 1337 h 1464"/>
                <a:gd name="T104" fmla="*/ 605 w 1444"/>
                <a:gd name="T105" fmla="*/ 1454 h 1464"/>
                <a:gd name="T106" fmla="*/ 537 w 1444"/>
                <a:gd name="T107" fmla="*/ 1434 h 1464"/>
                <a:gd name="T108" fmla="*/ 488 w 1444"/>
                <a:gd name="T109" fmla="*/ 1366 h 1464"/>
                <a:gd name="T110" fmla="*/ 400 w 1444"/>
                <a:gd name="T111" fmla="*/ 1317 h 1464"/>
                <a:gd name="T112" fmla="*/ 322 w 1444"/>
                <a:gd name="T113" fmla="*/ 1239 h 1464"/>
                <a:gd name="T114" fmla="*/ 235 w 1444"/>
                <a:gd name="T115" fmla="*/ 1268 h 1464"/>
                <a:gd name="T116" fmla="*/ 166 w 1444"/>
                <a:gd name="T117" fmla="*/ 1259 h 1464"/>
                <a:gd name="T118" fmla="*/ 69 w 1444"/>
                <a:gd name="T119" fmla="*/ 1200 h 146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44"/>
                <a:gd name="T181" fmla="*/ 0 h 1464"/>
                <a:gd name="T182" fmla="*/ 1444 w 1444"/>
                <a:gd name="T183" fmla="*/ 1464 h 146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44" h="1464">
                  <a:moveTo>
                    <a:pt x="69" y="1200"/>
                  </a:moveTo>
                  <a:lnTo>
                    <a:pt x="39" y="1171"/>
                  </a:lnTo>
                  <a:lnTo>
                    <a:pt x="0" y="1132"/>
                  </a:lnTo>
                  <a:lnTo>
                    <a:pt x="0" y="1112"/>
                  </a:lnTo>
                  <a:lnTo>
                    <a:pt x="20" y="1112"/>
                  </a:lnTo>
                  <a:lnTo>
                    <a:pt x="20" y="1103"/>
                  </a:lnTo>
                  <a:lnTo>
                    <a:pt x="20" y="1093"/>
                  </a:lnTo>
                  <a:lnTo>
                    <a:pt x="20" y="1083"/>
                  </a:lnTo>
                  <a:lnTo>
                    <a:pt x="39" y="1083"/>
                  </a:lnTo>
                  <a:lnTo>
                    <a:pt x="59" y="1093"/>
                  </a:lnTo>
                  <a:lnTo>
                    <a:pt x="69" y="1093"/>
                  </a:lnTo>
                  <a:lnTo>
                    <a:pt x="78" y="1073"/>
                  </a:lnTo>
                  <a:lnTo>
                    <a:pt x="78" y="1054"/>
                  </a:lnTo>
                  <a:lnTo>
                    <a:pt x="78" y="1034"/>
                  </a:lnTo>
                  <a:lnTo>
                    <a:pt x="78" y="1025"/>
                  </a:lnTo>
                  <a:lnTo>
                    <a:pt x="88" y="1025"/>
                  </a:lnTo>
                  <a:lnTo>
                    <a:pt x="88" y="1015"/>
                  </a:lnTo>
                  <a:lnTo>
                    <a:pt x="88" y="1005"/>
                  </a:lnTo>
                  <a:lnTo>
                    <a:pt x="88" y="985"/>
                  </a:lnTo>
                  <a:lnTo>
                    <a:pt x="88" y="956"/>
                  </a:lnTo>
                  <a:lnTo>
                    <a:pt x="98" y="956"/>
                  </a:lnTo>
                  <a:lnTo>
                    <a:pt x="98" y="937"/>
                  </a:lnTo>
                  <a:lnTo>
                    <a:pt x="108" y="927"/>
                  </a:lnTo>
                  <a:lnTo>
                    <a:pt x="137" y="927"/>
                  </a:lnTo>
                  <a:lnTo>
                    <a:pt x="137" y="917"/>
                  </a:lnTo>
                  <a:lnTo>
                    <a:pt x="147" y="898"/>
                  </a:lnTo>
                  <a:lnTo>
                    <a:pt x="147" y="878"/>
                  </a:lnTo>
                  <a:lnTo>
                    <a:pt x="157" y="878"/>
                  </a:lnTo>
                  <a:lnTo>
                    <a:pt x="166" y="868"/>
                  </a:lnTo>
                  <a:lnTo>
                    <a:pt x="157" y="859"/>
                  </a:lnTo>
                  <a:lnTo>
                    <a:pt x="157" y="849"/>
                  </a:lnTo>
                  <a:lnTo>
                    <a:pt x="147" y="839"/>
                  </a:lnTo>
                  <a:lnTo>
                    <a:pt x="137" y="820"/>
                  </a:lnTo>
                  <a:lnTo>
                    <a:pt x="157" y="781"/>
                  </a:lnTo>
                  <a:lnTo>
                    <a:pt x="166" y="751"/>
                  </a:lnTo>
                  <a:lnTo>
                    <a:pt x="186" y="742"/>
                  </a:lnTo>
                  <a:lnTo>
                    <a:pt x="215" y="742"/>
                  </a:lnTo>
                  <a:lnTo>
                    <a:pt x="235" y="751"/>
                  </a:lnTo>
                  <a:lnTo>
                    <a:pt x="254" y="751"/>
                  </a:lnTo>
                  <a:lnTo>
                    <a:pt x="264" y="742"/>
                  </a:lnTo>
                  <a:lnTo>
                    <a:pt x="283" y="712"/>
                  </a:lnTo>
                  <a:lnTo>
                    <a:pt x="293" y="703"/>
                  </a:lnTo>
                  <a:lnTo>
                    <a:pt x="303" y="703"/>
                  </a:lnTo>
                  <a:lnTo>
                    <a:pt x="313" y="732"/>
                  </a:lnTo>
                  <a:lnTo>
                    <a:pt x="332" y="732"/>
                  </a:lnTo>
                  <a:lnTo>
                    <a:pt x="332" y="761"/>
                  </a:lnTo>
                  <a:lnTo>
                    <a:pt x="361" y="781"/>
                  </a:lnTo>
                  <a:lnTo>
                    <a:pt x="371" y="771"/>
                  </a:lnTo>
                  <a:lnTo>
                    <a:pt x="371" y="761"/>
                  </a:lnTo>
                  <a:lnTo>
                    <a:pt x="361" y="751"/>
                  </a:lnTo>
                  <a:lnTo>
                    <a:pt x="361" y="732"/>
                  </a:lnTo>
                  <a:lnTo>
                    <a:pt x="352" y="732"/>
                  </a:lnTo>
                  <a:lnTo>
                    <a:pt x="371" y="732"/>
                  </a:lnTo>
                  <a:lnTo>
                    <a:pt x="371" y="703"/>
                  </a:lnTo>
                  <a:lnTo>
                    <a:pt x="371" y="693"/>
                  </a:lnTo>
                  <a:lnTo>
                    <a:pt x="381" y="683"/>
                  </a:lnTo>
                  <a:lnTo>
                    <a:pt x="400" y="683"/>
                  </a:lnTo>
                  <a:lnTo>
                    <a:pt x="410" y="654"/>
                  </a:lnTo>
                  <a:lnTo>
                    <a:pt x="420" y="654"/>
                  </a:lnTo>
                  <a:lnTo>
                    <a:pt x="449" y="634"/>
                  </a:lnTo>
                  <a:lnTo>
                    <a:pt x="459" y="615"/>
                  </a:lnTo>
                  <a:lnTo>
                    <a:pt x="488" y="585"/>
                  </a:lnTo>
                  <a:lnTo>
                    <a:pt x="508" y="605"/>
                  </a:lnTo>
                  <a:lnTo>
                    <a:pt x="537" y="605"/>
                  </a:lnTo>
                  <a:lnTo>
                    <a:pt x="547" y="624"/>
                  </a:lnTo>
                  <a:lnTo>
                    <a:pt x="566" y="624"/>
                  </a:lnTo>
                  <a:lnTo>
                    <a:pt x="586" y="644"/>
                  </a:lnTo>
                  <a:lnTo>
                    <a:pt x="595" y="634"/>
                  </a:lnTo>
                  <a:lnTo>
                    <a:pt x="595" y="615"/>
                  </a:lnTo>
                  <a:lnTo>
                    <a:pt x="595" y="605"/>
                  </a:lnTo>
                  <a:lnTo>
                    <a:pt x="625" y="585"/>
                  </a:lnTo>
                  <a:lnTo>
                    <a:pt x="625" y="566"/>
                  </a:lnTo>
                  <a:lnTo>
                    <a:pt x="615" y="556"/>
                  </a:lnTo>
                  <a:lnTo>
                    <a:pt x="615" y="546"/>
                  </a:lnTo>
                  <a:lnTo>
                    <a:pt x="595" y="537"/>
                  </a:lnTo>
                  <a:lnTo>
                    <a:pt x="586" y="527"/>
                  </a:lnTo>
                  <a:lnTo>
                    <a:pt x="586" y="507"/>
                  </a:lnTo>
                  <a:lnTo>
                    <a:pt x="605" y="498"/>
                  </a:lnTo>
                  <a:lnTo>
                    <a:pt x="625" y="488"/>
                  </a:lnTo>
                  <a:lnTo>
                    <a:pt x="625" y="468"/>
                  </a:lnTo>
                  <a:lnTo>
                    <a:pt x="615" y="449"/>
                  </a:lnTo>
                  <a:lnTo>
                    <a:pt x="605" y="449"/>
                  </a:lnTo>
                  <a:lnTo>
                    <a:pt x="586" y="449"/>
                  </a:lnTo>
                  <a:lnTo>
                    <a:pt x="566" y="420"/>
                  </a:lnTo>
                  <a:lnTo>
                    <a:pt x="566" y="400"/>
                  </a:lnTo>
                  <a:lnTo>
                    <a:pt x="576" y="390"/>
                  </a:lnTo>
                  <a:lnTo>
                    <a:pt x="576" y="381"/>
                  </a:lnTo>
                  <a:lnTo>
                    <a:pt x="566" y="381"/>
                  </a:lnTo>
                  <a:lnTo>
                    <a:pt x="566" y="361"/>
                  </a:lnTo>
                  <a:lnTo>
                    <a:pt x="576" y="351"/>
                  </a:lnTo>
                  <a:lnTo>
                    <a:pt x="576" y="332"/>
                  </a:lnTo>
                  <a:lnTo>
                    <a:pt x="576" y="322"/>
                  </a:lnTo>
                  <a:lnTo>
                    <a:pt x="586" y="322"/>
                  </a:lnTo>
                  <a:lnTo>
                    <a:pt x="605" y="312"/>
                  </a:lnTo>
                  <a:lnTo>
                    <a:pt x="634" y="293"/>
                  </a:lnTo>
                  <a:lnTo>
                    <a:pt x="625" y="263"/>
                  </a:lnTo>
                  <a:lnTo>
                    <a:pt x="634" y="254"/>
                  </a:lnTo>
                  <a:lnTo>
                    <a:pt x="654" y="234"/>
                  </a:lnTo>
                  <a:lnTo>
                    <a:pt x="654" y="195"/>
                  </a:lnTo>
                  <a:lnTo>
                    <a:pt x="664" y="176"/>
                  </a:lnTo>
                  <a:lnTo>
                    <a:pt x="654" y="146"/>
                  </a:lnTo>
                  <a:lnTo>
                    <a:pt x="634" y="137"/>
                  </a:lnTo>
                  <a:lnTo>
                    <a:pt x="634" y="127"/>
                  </a:lnTo>
                  <a:lnTo>
                    <a:pt x="644" y="117"/>
                  </a:lnTo>
                  <a:lnTo>
                    <a:pt x="644" y="98"/>
                  </a:lnTo>
                  <a:lnTo>
                    <a:pt x="644" y="78"/>
                  </a:lnTo>
                  <a:lnTo>
                    <a:pt x="654" y="88"/>
                  </a:lnTo>
                  <a:lnTo>
                    <a:pt x="664" y="78"/>
                  </a:lnTo>
                  <a:lnTo>
                    <a:pt x="644" y="59"/>
                  </a:lnTo>
                  <a:lnTo>
                    <a:pt x="644" y="29"/>
                  </a:lnTo>
                  <a:lnTo>
                    <a:pt x="634" y="20"/>
                  </a:lnTo>
                  <a:lnTo>
                    <a:pt x="634" y="10"/>
                  </a:lnTo>
                  <a:lnTo>
                    <a:pt x="644" y="10"/>
                  </a:lnTo>
                  <a:lnTo>
                    <a:pt x="654" y="20"/>
                  </a:lnTo>
                  <a:lnTo>
                    <a:pt x="673" y="20"/>
                  </a:lnTo>
                  <a:lnTo>
                    <a:pt x="683" y="20"/>
                  </a:lnTo>
                  <a:lnTo>
                    <a:pt x="703" y="0"/>
                  </a:lnTo>
                  <a:lnTo>
                    <a:pt x="752" y="10"/>
                  </a:lnTo>
                  <a:lnTo>
                    <a:pt x="752" y="20"/>
                  </a:lnTo>
                  <a:lnTo>
                    <a:pt x="742" y="20"/>
                  </a:lnTo>
                  <a:lnTo>
                    <a:pt x="732" y="29"/>
                  </a:lnTo>
                  <a:lnTo>
                    <a:pt x="722" y="39"/>
                  </a:lnTo>
                  <a:lnTo>
                    <a:pt x="722" y="49"/>
                  </a:lnTo>
                  <a:lnTo>
                    <a:pt x="742" y="59"/>
                  </a:lnTo>
                  <a:lnTo>
                    <a:pt x="771" y="59"/>
                  </a:lnTo>
                  <a:lnTo>
                    <a:pt x="791" y="68"/>
                  </a:lnTo>
                  <a:lnTo>
                    <a:pt x="800" y="88"/>
                  </a:lnTo>
                  <a:lnTo>
                    <a:pt x="820" y="127"/>
                  </a:lnTo>
                  <a:lnTo>
                    <a:pt x="810" y="146"/>
                  </a:lnTo>
                  <a:lnTo>
                    <a:pt x="800" y="156"/>
                  </a:lnTo>
                  <a:lnTo>
                    <a:pt x="810" y="176"/>
                  </a:lnTo>
                  <a:lnTo>
                    <a:pt x="830" y="176"/>
                  </a:lnTo>
                  <a:lnTo>
                    <a:pt x="839" y="176"/>
                  </a:lnTo>
                  <a:lnTo>
                    <a:pt x="839" y="224"/>
                  </a:lnTo>
                  <a:lnTo>
                    <a:pt x="839" y="234"/>
                  </a:lnTo>
                  <a:lnTo>
                    <a:pt x="839" y="254"/>
                  </a:lnTo>
                  <a:lnTo>
                    <a:pt x="839" y="263"/>
                  </a:lnTo>
                  <a:lnTo>
                    <a:pt x="849" y="263"/>
                  </a:lnTo>
                  <a:lnTo>
                    <a:pt x="849" y="273"/>
                  </a:lnTo>
                  <a:lnTo>
                    <a:pt x="849" y="293"/>
                  </a:lnTo>
                  <a:lnTo>
                    <a:pt x="859" y="303"/>
                  </a:lnTo>
                  <a:lnTo>
                    <a:pt x="888" y="312"/>
                  </a:lnTo>
                  <a:lnTo>
                    <a:pt x="898" y="322"/>
                  </a:lnTo>
                  <a:lnTo>
                    <a:pt x="898" y="332"/>
                  </a:lnTo>
                  <a:lnTo>
                    <a:pt x="898" y="342"/>
                  </a:lnTo>
                  <a:lnTo>
                    <a:pt x="888" y="351"/>
                  </a:lnTo>
                  <a:lnTo>
                    <a:pt x="898" y="361"/>
                  </a:lnTo>
                  <a:lnTo>
                    <a:pt x="898" y="371"/>
                  </a:lnTo>
                  <a:lnTo>
                    <a:pt x="878" y="371"/>
                  </a:lnTo>
                  <a:lnTo>
                    <a:pt x="869" y="429"/>
                  </a:lnTo>
                  <a:lnTo>
                    <a:pt x="869" y="478"/>
                  </a:lnTo>
                  <a:lnTo>
                    <a:pt x="859" y="507"/>
                  </a:lnTo>
                  <a:lnTo>
                    <a:pt x="859" y="527"/>
                  </a:lnTo>
                  <a:lnTo>
                    <a:pt x="869" y="537"/>
                  </a:lnTo>
                  <a:lnTo>
                    <a:pt x="888" y="556"/>
                  </a:lnTo>
                  <a:lnTo>
                    <a:pt x="917" y="556"/>
                  </a:lnTo>
                  <a:lnTo>
                    <a:pt x="927" y="546"/>
                  </a:lnTo>
                  <a:lnTo>
                    <a:pt x="937" y="537"/>
                  </a:lnTo>
                  <a:lnTo>
                    <a:pt x="956" y="537"/>
                  </a:lnTo>
                  <a:lnTo>
                    <a:pt x="976" y="527"/>
                  </a:lnTo>
                  <a:lnTo>
                    <a:pt x="995" y="517"/>
                  </a:lnTo>
                  <a:lnTo>
                    <a:pt x="1015" y="498"/>
                  </a:lnTo>
                  <a:lnTo>
                    <a:pt x="1034" y="468"/>
                  </a:lnTo>
                  <a:lnTo>
                    <a:pt x="1044" y="488"/>
                  </a:lnTo>
                  <a:lnTo>
                    <a:pt x="1054" y="488"/>
                  </a:lnTo>
                  <a:lnTo>
                    <a:pt x="1054" y="517"/>
                  </a:lnTo>
                  <a:lnTo>
                    <a:pt x="1054" y="537"/>
                  </a:lnTo>
                  <a:lnTo>
                    <a:pt x="1064" y="546"/>
                  </a:lnTo>
                  <a:lnTo>
                    <a:pt x="1073" y="527"/>
                  </a:lnTo>
                  <a:lnTo>
                    <a:pt x="1083" y="517"/>
                  </a:lnTo>
                  <a:lnTo>
                    <a:pt x="1103" y="507"/>
                  </a:lnTo>
                  <a:lnTo>
                    <a:pt x="1103" y="468"/>
                  </a:lnTo>
                  <a:lnTo>
                    <a:pt x="1112" y="459"/>
                  </a:lnTo>
                  <a:lnTo>
                    <a:pt x="1142" y="429"/>
                  </a:lnTo>
                  <a:lnTo>
                    <a:pt x="1151" y="381"/>
                  </a:lnTo>
                  <a:lnTo>
                    <a:pt x="1171" y="361"/>
                  </a:lnTo>
                  <a:lnTo>
                    <a:pt x="1171" y="342"/>
                  </a:lnTo>
                  <a:lnTo>
                    <a:pt x="1200" y="322"/>
                  </a:lnTo>
                  <a:lnTo>
                    <a:pt x="1229" y="332"/>
                  </a:lnTo>
                  <a:lnTo>
                    <a:pt x="1259" y="342"/>
                  </a:lnTo>
                  <a:lnTo>
                    <a:pt x="1288" y="351"/>
                  </a:lnTo>
                  <a:lnTo>
                    <a:pt x="1288" y="361"/>
                  </a:lnTo>
                  <a:lnTo>
                    <a:pt x="1288" y="381"/>
                  </a:lnTo>
                  <a:lnTo>
                    <a:pt x="1288" y="400"/>
                  </a:lnTo>
                  <a:lnTo>
                    <a:pt x="1298" y="420"/>
                  </a:lnTo>
                  <a:lnTo>
                    <a:pt x="1317" y="410"/>
                  </a:lnTo>
                  <a:lnTo>
                    <a:pt x="1317" y="400"/>
                  </a:lnTo>
                  <a:lnTo>
                    <a:pt x="1337" y="410"/>
                  </a:lnTo>
                  <a:lnTo>
                    <a:pt x="1347" y="400"/>
                  </a:lnTo>
                  <a:lnTo>
                    <a:pt x="1347" y="390"/>
                  </a:lnTo>
                  <a:lnTo>
                    <a:pt x="1376" y="410"/>
                  </a:lnTo>
                  <a:lnTo>
                    <a:pt x="1386" y="400"/>
                  </a:lnTo>
                  <a:lnTo>
                    <a:pt x="1395" y="410"/>
                  </a:lnTo>
                  <a:lnTo>
                    <a:pt x="1395" y="429"/>
                  </a:lnTo>
                  <a:lnTo>
                    <a:pt x="1415" y="429"/>
                  </a:lnTo>
                  <a:lnTo>
                    <a:pt x="1415" y="449"/>
                  </a:lnTo>
                  <a:lnTo>
                    <a:pt x="1415" y="468"/>
                  </a:lnTo>
                  <a:lnTo>
                    <a:pt x="1415" y="488"/>
                  </a:lnTo>
                  <a:lnTo>
                    <a:pt x="1434" y="488"/>
                  </a:lnTo>
                  <a:lnTo>
                    <a:pt x="1444" y="498"/>
                  </a:lnTo>
                  <a:lnTo>
                    <a:pt x="1434" y="527"/>
                  </a:lnTo>
                  <a:lnTo>
                    <a:pt x="1434" y="537"/>
                  </a:lnTo>
                  <a:lnTo>
                    <a:pt x="1405" y="527"/>
                  </a:lnTo>
                  <a:lnTo>
                    <a:pt x="1386" y="527"/>
                  </a:lnTo>
                  <a:lnTo>
                    <a:pt x="1376" y="527"/>
                  </a:lnTo>
                  <a:lnTo>
                    <a:pt x="1356" y="537"/>
                  </a:lnTo>
                  <a:lnTo>
                    <a:pt x="1356" y="546"/>
                  </a:lnTo>
                  <a:lnTo>
                    <a:pt x="1366" y="556"/>
                  </a:lnTo>
                  <a:lnTo>
                    <a:pt x="1356" y="566"/>
                  </a:lnTo>
                  <a:lnTo>
                    <a:pt x="1356" y="595"/>
                  </a:lnTo>
                  <a:lnTo>
                    <a:pt x="1347" y="605"/>
                  </a:lnTo>
                  <a:lnTo>
                    <a:pt x="1347" y="624"/>
                  </a:lnTo>
                  <a:lnTo>
                    <a:pt x="1366" y="624"/>
                  </a:lnTo>
                  <a:lnTo>
                    <a:pt x="1366" y="634"/>
                  </a:lnTo>
                  <a:lnTo>
                    <a:pt x="1356" y="644"/>
                  </a:lnTo>
                  <a:lnTo>
                    <a:pt x="1376" y="664"/>
                  </a:lnTo>
                  <a:lnTo>
                    <a:pt x="1376" y="654"/>
                  </a:lnTo>
                  <a:lnTo>
                    <a:pt x="1395" y="654"/>
                  </a:lnTo>
                  <a:lnTo>
                    <a:pt x="1395" y="664"/>
                  </a:lnTo>
                  <a:lnTo>
                    <a:pt x="1386" y="673"/>
                  </a:lnTo>
                  <a:lnTo>
                    <a:pt x="1395" y="683"/>
                  </a:lnTo>
                  <a:lnTo>
                    <a:pt x="1395" y="693"/>
                  </a:lnTo>
                  <a:lnTo>
                    <a:pt x="1386" y="703"/>
                  </a:lnTo>
                  <a:lnTo>
                    <a:pt x="1376" y="703"/>
                  </a:lnTo>
                  <a:lnTo>
                    <a:pt x="1366" y="712"/>
                  </a:lnTo>
                  <a:lnTo>
                    <a:pt x="1356" y="722"/>
                  </a:lnTo>
                  <a:lnTo>
                    <a:pt x="1298" y="712"/>
                  </a:lnTo>
                  <a:lnTo>
                    <a:pt x="1308" y="703"/>
                  </a:lnTo>
                  <a:lnTo>
                    <a:pt x="1308" y="693"/>
                  </a:lnTo>
                  <a:lnTo>
                    <a:pt x="1308" y="673"/>
                  </a:lnTo>
                  <a:lnTo>
                    <a:pt x="1288" y="673"/>
                  </a:lnTo>
                  <a:lnTo>
                    <a:pt x="1288" y="683"/>
                  </a:lnTo>
                  <a:lnTo>
                    <a:pt x="1278" y="703"/>
                  </a:lnTo>
                  <a:lnTo>
                    <a:pt x="1259" y="703"/>
                  </a:lnTo>
                  <a:lnTo>
                    <a:pt x="1239" y="712"/>
                  </a:lnTo>
                  <a:lnTo>
                    <a:pt x="1239" y="732"/>
                  </a:lnTo>
                  <a:lnTo>
                    <a:pt x="1239" y="751"/>
                  </a:lnTo>
                  <a:lnTo>
                    <a:pt x="1190" y="790"/>
                  </a:lnTo>
                  <a:lnTo>
                    <a:pt x="1151" y="790"/>
                  </a:lnTo>
                  <a:lnTo>
                    <a:pt x="1112" y="790"/>
                  </a:lnTo>
                  <a:lnTo>
                    <a:pt x="1103" y="781"/>
                  </a:lnTo>
                  <a:lnTo>
                    <a:pt x="1103" y="771"/>
                  </a:lnTo>
                  <a:lnTo>
                    <a:pt x="1093" y="761"/>
                  </a:lnTo>
                  <a:lnTo>
                    <a:pt x="1083" y="771"/>
                  </a:lnTo>
                  <a:lnTo>
                    <a:pt x="1064" y="771"/>
                  </a:lnTo>
                  <a:lnTo>
                    <a:pt x="1044" y="761"/>
                  </a:lnTo>
                  <a:lnTo>
                    <a:pt x="1034" y="761"/>
                  </a:lnTo>
                  <a:lnTo>
                    <a:pt x="1025" y="781"/>
                  </a:lnTo>
                  <a:lnTo>
                    <a:pt x="1005" y="790"/>
                  </a:lnTo>
                  <a:lnTo>
                    <a:pt x="976" y="790"/>
                  </a:lnTo>
                  <a:lnTo>
                    <a:pt x="956" y="781"/>
                  </a:lnTo>
                  <a:lnTo>
                    <a:pt x="937" y="790"/>
                  </a:lnTo>
                  <a:lnTo>
                    <a:pt x="927" y="810"/>
                  </a:lnTo>
                  <a:lnTo>
                    <a:pt x="908" y="810"/>
                  </a:lnTo>
                  <a:lnTo>
                    <a:pt x="898" y="820"/>
                  </a:lnTo>
                  <a:lnTo>
                    <a:pt x="878" y="839"/>
                  </a:lnTo>
                  <a:lnTo>
                    <a:pt x="859" y="859"/>
                  </a:lnTo>
                  <a:lnTo>
                    <a:pt x="859" y="878"/>
                  </a:lnTo>
                  <a:lnTo>
                    <a:pt x="888" y="878"/>
                  </a:lnTo>
                  <a:lnTo>
                    <a:pt x="888" y="898"/>
                  </a:lnTo>
                  <a:lnTo>
                    <a:pt x="898" y="898"/>
                  </a:lnTo>
                  <a:lnTo>
                    <a:pt x="898" y="907"/>
                  </a:lnTo>
                  <a:lnTo>
                    <a:pt x="888" y="917"/>
                  </a:lnTo>
                  <a:lnTo>
                    <a:pt x="888" y="956"/>
                  </a:lnTo>
                  <a:lnTo>
                    <a:pt x="898" y="985"/>
                  </a:lnTo>
                  <a:lnTo>
                    <a:pt x="898" y="1015"/>
                  </a:lnTo>
                  <a:lnTo>
                    <a:pt x="898" y="1054"/>
                  </a:lnTo>
                  <a:lnTo>
                    <a:pt x="937" y="1073"/>
                  </a:lnTo>
                  <a:lnTo>
                    <a:pt x="908" y="1132"/>
                  </a:lnTo>
                  <a:lnTo>
                    <a:pt x="898" y="1181"/>
                  </a:lnTo>
                  <a:lnTo>
                    <a:pt x="898" y="1200"/>
                  </a:lnTo>
                  <a:lnTo>
                    <a:pt x="878" y="1229"/>
                  </a:lnTo>
                  <a:lnTo>
                    <a:pt x="849" y="1259"/>
                  </a:lnTo>
                  <a:lnTo>
                    <a:pt x="810" y="1278"/>
                  </a:lnTo>
                  <a:lnTo>
                    <a:pt x="771" y="1317"/>
                  </a:lnTo>
                  <a:lnTo>
                    <a:pt x="752" y="1337"/>
                  </a:lnTo>
                  <a:lnTo>
                    <a:pt x="693" y="1288"/>
                  </a:lnTo>
                  <a:lnTo>
                    <a:pt x="693" y="1259"/>
                  </a:lnTo>
                  <a:lnTo>
                    <a:pt x="732" y="1229"/>
                  </a:lnTo>
                  <a:lnTo>
                    <a:pt x="703" y="1220"/>
                  </a:lnTo>
                  <a:lnTo>
                    <a:pt x="693" y="1190"/>
                  </a:lnTo>
                  <a:lnTo>
                    <a:pt x="683" y="1190"/>
                  </a:lnTo>
                  <a:lnTo>
                    <a:pt x="683" y="1210"/>
                  </a:lnTo>
                  <a:lnTo>
                    <a:pt x="664" y="1210"/>
                  </a:lnTo>
                  <a:lnTo>
                    <a:pt x="634" y="1229"/>
                  </a:lnTo>
                  <a:lnTo>
                    <a:pt x="605" y="1210"/>
                  </a:lnTo>
                  <a:lnTo>
                    <a:pt x="595" y="1161"/>
                  </a:lnTo>
                  <a:lnTo>
                    <a:pt x="576" y="1161"/>
                  </a:lnTo>
                  <a:lnTo>
                    <a:pt x="556" y="1171"/>
                  </a:lnTo>
                  <a:lnTo>
                    <a:pt x="537" y="1190"/>
                  </a:lnTo>
                  <a:lnTo>
                    <a:pt x="498" y="1171"/>
                  </a:lnTo>
                  <a:lnTo>
                    <a:pt x="478" y="1171"/>
                  </a:lnTo>
                  <a:lnTo>
                    <a:pt x="469" y="1190"/>
                  </a:lnTo>
                  <a:lnTo>
                    <a:pt x="488" y="1210"/>
                  </a:lnTo>
                  <a:lnTo>
                    <a:pt x="498" y="1229"/>
                  </a:lnTo>
                  <a:lnTo>
                    <a:pt x="478" y="1229"/>
                  </a:lnTo>
                  <a:lnTo>
                    <a:pt x="459" y="1239"/>
                  </a:lnTo>
                  <a:lnTo>
                    <a:pt x="459" y="1259"/>
                  </a:lnTo>
                  <a:lnTo>
                    <a:pt x="488" y="1268"/>
                  </a:lnTo>
                  <a:lnTo>
                    <a:pt x="517" y="1259"/>
                  </a:lnTo>
                  <a:lnTo>
                    <a:pt x="547" y="1239"/>
                  </a:lnTo>
                  <a:lnTo>
                    <a:pt x="547" y="1268"/>
                  </a:lnTo>
                  <a:lnTo>
                    <a:pt x="566" y="1278"/>
                  </a:lnTo>
                  <a:lnTo>
                    <a:pt x="586" y="1259"/>
                  </a:lnTo>
                  <a:lnTo>
                    <a:pt x="605" y="1259"/>
                  </a:lnTo>
                  <a:lnTo>
                    <a:pt x="605" y="1288"/>
                  </a:lnTo>
                  <a:lnTo>
                    <a:pt x="644" y="1327"/>
                  </a:lnTo>
                  <a:lnTo>
                    <a:pt x="693" y="1288"/>
                  </a:lnTo>
                  <a:lnTo>
                    <a:pt x="752" y="1337"/>
                  </a:lnTo>
                  <a:lnTo>
                    <a:pt x="732" y="1376"/>
                  </a:lnTo>
                  <a:lnTo>
                    <a:pt x="703" y="1405"/>
                  </a:lnTo>
                  <a:lnTo>
                    <a:pt x="664" y="1415"/>
                  </a:lnTo>
                  <a:lnTo>
                    <a:pt x="625" y="1425"/>
                  </a:lnTo>
                  <a:lnTo>
                    <a:pt x="625" y="1444"/>
                  </a:lnTo>
                  <a:lnTo>
                    <a:pt x="605" y="1454"/>
                  </a:lnTo>
                  <a:lnTo>
                    <a:pt x="595" y="1464"/>
                  </a:lnTo>
                  <a:lnTo>
                    <a:pt x="586" y="1464"/>
                  </a:lnTo>
                  <a:lnTo>
                    <a:pt x="586" y="1454"/>
                  </a:lnTo>
                  <a:lnTo>
                    <a:pt x="586" y="1444"/>
                  </a:lnTo>
                  <a:lnTo>
                    <a:pt x="556" y="1434"/>
                  </a:lnTo>
                  <a:lnTo>
                    <a:pt x="537" y="1434"/>
                  </a:lnTo>
                  <a:lnTo>
                    <a:pt x="537" y="1415"/>
                  </a:lnTo>
                  <a:lnTo>
                    <a:pt x="537" y="1405"/>
                  </a:lnTo>
                  <a:lnTo>
                    <a:pt x="517" y="1395"/>
                  </a:lnTo>
                  <a:lnTo>
                    <a:pt x="498" y="1386"/>
                  </a:lnTo>
                  <a:lnTo>
                    <a:pt x="488" y="1376"/>
                  </a:lnTo>
                  <a:lnTo>
                    <a:pt x="488" y="1366"/>
                  </a:lnTo>
                  <a:lnTo>
                    <a:pt x="469" y="1366"/>
                  </a:lnTo>
                  <a:lnTo>
                    <a:pt x="449" y="1366"/>
                  </a:lnTo>
                  <a:lnTo>
                    <a:pt x="449" y="1356"/>
                  </a:lnTo>
                  <a:lnTo>
                    <a:pt x="430" y="1346"/>
                  </a:lnTo>
                  <a:lnTo>
                    <a:pt x="400" y="1317"/>
                  </a:lnTo>
                  <a:lnTo>
                    <a:pt x="371" y="1298"/>
                  </a:lnTo>
                  <a:lnTo>
                    <a:pt x="361" y="1288"/>
                  </a:lnTo>
                  <a:lnTo>
                    <a:pt x="342" y="1288"/>
                  </a:lnTo>
                  <a:lnTo>
                    <a:pt x="342" y="1268"/>
                  </a:lnTo>
                  <a:lnTo>
                    <a:pt x="342" y="1259"/>
                  </a:lnTo>
                  <a:lnTo>
                    <a:pt x="322" y="1239"/>
                  </a:lnTo>
                  <a:lnTo>
                    <a:pt x="303" y="1239"/>
                  </a:lnTo>
                  <a:lnTo>
                    <a:pt x="293" y="1259"/>
                  </a:lnTo>
                  <a:lnTo>
                    <a:pt x="283" y="1259"/>
                  </a:lnTo>
                  <a:lnTo>
                    <a:pt x="264" y="1268"/>
                  </a:lnTo>
                  <a:lnTo>
                    <a:pt x="244" y="1288"/>
                  </a:lnTo>
                  <a:lnTo>
                    <a:pt x="235" y="1268"/>
                  </a:lnTo>
                  <a:lnTo>
                    <a:pt x="215" y="1268"/>
                  </a:lnTo>
                  <a:lnTo>
                    <a:pt x="205" y="1268"/>
                  </a:lnTo>
                  <a:lnTo>
                    <a:pt x="196" y="1268"/>
                  </a:lnTo>
                  <a:lnTo>
                    <a:pt x="186" y="1278"/>
                  </a:lnTo>
                  <a:lnTo>
                    <a:pt x="176" y="1259"/>
                  </a:lnTo>
                  <a:lnTo>
                    <a:pt x="166" y="1259"/>
                  </a:lnTo>
                  <a:lnTo>
                    <a:pt x="147" y="1239"/>
                  </a:lnTo>
                  <a:lnTo>
                    <a:pt x="127" y="1229"/>
                  </a:lnTo>
                  <a:lnTo>
                    <a:pt x="118" y="1220"/>
                  </a:lnTo>
                  <a:lnTo>
                    <a:pt x="108" y="1210"/>
                  </a:lnTo>
                  <a:lnTo>
                    <a:pt x="98" y="1190"/>
                  </a:lnTo>
                  <a:lnTo>
                    <a:pt x="69" y="1200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Freeform 118"/>
            <p:cNvSpPr>
              <a:spLocks/>
            </p:cNvSpPr>
            <p:nvPr/>
          </p:nvSpPr>
          <p:spPr bwMode="auto">
            <a:xfrm>
              <a:off x="5275" y="3279"/>
              <a:ext cx="1212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75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9 h 927"/>
                <a:gd name="T36" fmla="*/ 1073 w 1210"/>
                <a:gd name="T37" fmla="*/ 537 h 927"/>
                <a:gd name="T38" fmla="*/ 1005 w 1210"/>
                <a:gd name="T39" fmla="*/ 586 h 927"/>
                <a:gd name="T40" fmla="*/ 936 w 1210"/>
                <a:gd name="T41" fmla="*/ 634 h 927"/>
                <a:gd name="T42" fmla="*/ 849 w 1210"/>
                <a:gd name="T43" fmla="*/ 713 h 927"/>
                <a:gd name="T44" fmla="*/ 771 w 1210"/>
                <a:gd name="T45" fmla="*/ 732 h 927"/>
                <a:gd name="T46" fmla="*/ 712 w 1210"/>
                <a:gd name="T47" fmla="*/ 761 h 927"/>
                <a:gd name="T48" fmla="*/ 712 w 1210"/>
                <a:gd name="T49" fmla="*/ 781 h 927"/>
                <a:gd name="T50" fmla="*/ 732 w 1210"/>
                <a:gd name="T51" fmla="*/ 859 h 927"/>
                <a:gd name="T52" fmla="*/ 663 w 1210"/>
                <a:gd name="T53" fmla="*/ 927 h 927"/>
                <a:gd name="T54" fmla="*/ 576 w 1210"/>
                <a:gd name="T55" fmla="*/ 888 h 927"/>
                <a:gd name="T56" fmla="*/ 527 w 1210"/>
                <a:gd name="T57" fmla="*/ 878 h 927"/>
                <a:gd name="T58" fmla="*/ 390 w 1210"/>
                <a:gd name="T59" fmla="*/ 917 h 927"/>
                <a:gd name="T60" fmla="*/ 273 w 1210"/>
                <a:gd name="T61" fmla="*/ 878 h 927"/>
                <a:gd name="T62" fmla="*/ 244 w 1210"/>
                <a:gd name="T63" fmla="*/ 781 h 927"/>
                <a:gd name="T64" fmla="*/ 127 w 1210"/>
                <a:gd name="T65" fmla="*/ 752 h 927"/>
                <a:gd name="T66" fmla="*/ 59 w 1210"/>
                <a:gd name="T67" fmla="*/ 722 h 927"/>
                <a:gd name="T68" fmla="*/ 0 w 1210"/>
                <a:gd name="T69" fmla="*/ 683 h 927"/>
                <a:gd name="T70" fmla="*/ 0 w 1210"/>
                <a:gd name="T71" fmla="*/ 625 h 927"/>
                <a:gd name="T72" fmla="*/ 49 w 1210"/>
                <a:gd name="T73" fmla="*/ 595 h 927"/>
                <a:gd name="T74" fmla="*/ 107 w 1210"/>
                <a:gd name="T75" fmla="*/ 566 h 927"/>
                <a:gd name="T76" fmla="*/ 146 w 1210"/>
                <a:gd name="T77" fmla="*/ 605 h 927"/>
                <a:gd name="T78" fmla="*/ 234 w 1210"/>
                <a:gd name="T79" fmla="*/ 683 h 927"/>
                <a:gd name="T80" fmla="*/ 273 w 1210"/>
                <a:gd name="T81" fmla="*/ 683 h 927"/>
                <a:gd name="T82" fmla="*/ 322 w 1210"/>
                <a:gd name="T83" fmla="*/ 722 h 927"/>
                <a:gd name="T84" fmla="*/ 371 w 1210"/>
                <a:gd name="T85" fmla="*/ 761 h 927"/>
                <a:gd name="T86" fmla="*/ 390 w 1210"/>
                <a:gd name="T87" fmla="*/ 771 h 927"/>
                <a:gd name="T88" fmla="*/ 488 w 1210"/>
                <a:gd name="T89" fmla="*/ 732 h 927"/>
                <a:gd name="T90" fmla="*/ 595 w 1210"/>
                <a:gd name="T91" fmla="*/ 605 h 927"/>
                <a:gd name="T92" fmla="*/ 673 w 1210"/>
                <a:gd name="T93" fmla="*/ 508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75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22" y="156"/>
                  </a:lnTo>
                  <a:lnTo>
                    <a:pt x="112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1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2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5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32"/>
                  </a:lnTo>
                  <a:lnTo>
                    <a:pt x="761" y="722"/>
                  </a:lnTo>
                  <a:lnTo>
                    <a:pt x="722" y="732"/>
                  </a:lnTo>
                  <a:lnTo>
                    <a:pt x="71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10"/>
                  </a:lnTo>
                  <a:lnTo>
                    <a:pt x="71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6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1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8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17" y="576"/>
                  </a:lnTo>
                  <a:lnTo>
                    <a:pt x="11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12" y="400"/>
                  </a:lnTo>
                  <a:lnTo>
                    <a:pt x="683" y="381"/>
                  </a:lnTo>
                  <a:lnTo>
                    <a:pt x="673" y="342"/>
                  </a:lnTo>
                  <a:lnTo>
                    <a:pt x="673" y="312"/>
                  </a:lnTo>
                  <a:close/>
                </a:path>
              </a:pathLst>
            </a:custGeom>
            <a:solidFill>
              <a:srgbClr val="CCFFC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4" name="Freeform 117"/>
            <p:cNvSpPr>
              <a:spLocks/>
            </p:cNvSpPr>
            <p:nvPr/>
          </p:nvSpPr>
          <p:spPr bwMode="auto">
            <a:xfrm>
              <a:off x="5275" y="3279"/>
              <a:ext cx="1212" cy="926"/>
            </a:xfrm>
            <a:custGeom>
              <a:avLst/>
              <a:gdLst>
                <a:gd name="T0" fmla="*/ 683 w 1210"/>
                <a:gd name="T1" fmla="*/ 234 h 927"/>
                <a:gd name="T2" fmla="*/ 644 w 1210"/>
                <a:gd name="T3" fmla="*/ 205 h 927"/>
                <a:gd name="T4" fmla="*/ 693 w 1210"/>
                <a:gd name="T5" fmla="*/ 137 h 927"/>
                <a:gd name="T6" fmla="*/ 761 w 1210"/>
                <a:gd name="T7" fmla="*/ 117 h 927"/>
                <a:gd name="T8" fmla="*/ 829 w 1210"/>
                <a:gd name="T9" fmla="*/ 88 h 927"/>
                <a:gd name="T10" fmla="*/ 888 w 1210"/>
                <a:gd name="T11" fmla="*/ 98 h 927"/>
                <a:gd name="T12" fmla="*/ 966 w 1210"/>
                <a:gd name="T13" fmla="*/ 117 h 927"/>
                <a:gd name="T14" fmla="*/ 1044 w 1210"/>
                <a:gd name="T15" fmla="*/ 30 h 927"/>
                <a:gd name="T16" fmla="*/ 1093 w 1210"/>
                <a:gd name="T17" fmla="*/ 0 h 927"/>
                <a:gd name="T18" fmla="*/ 1073 w 1210"/>
                <a:gd name="T19" fmla="*/ 69 h 927"/>
                <a:gd name="T20" fmla="*/ 1102 w 1210"/>
                <a:gd name="T21" fmla="*/ 127 h 927"/>
                <a:gd name="T22" fmla="*/ 1132 w 1210"/>
                <a:gd name="T23" fmla="*/ 186 h 927"/>
                <a:gd name="T24" fmla="*/ 1180 w 1210"/>
                <a:gd name="T25" fmla="*/ 225 h 927"/>
                <a:gd name="T26" fmla="*/ 1200 w 1210"/>
                <a:gd name="T27" fmla="*/ 303 h 927"/>
                <a:gd name="T28" fmla="*/ 1141 w 1210"/>
                <a:gd name="T29" fmla="*/ 322 h 927"/>
                <a:gd name="T30" fmla="*/ 1093 w 1210"/>
                <a:gd name="T31" fmla="*/ 391 h 927"/>
                <a:gd name="T32" fmla="*/ 1063 w 1210"/>
                <a:gd name="T33" fmla="*/ 420 h 927"/>
                <a:gd name="T34" fmla="*/ 1034 w 1210"/>
                <a:gd name="T35" fmla="*/ 463 h 927"/>
                <a:gd name="T36" fmla="*/ 1073 w 1210"/>
                <a:gd name="T37" fmla="*/ 526 h 927"/>
                <a:gd name="T38" fmla="*/ 1005 w 1210"/>
                <a:gd name="T39" fmla="*/ 575 h 927"/>
                <a:gd name="T40" fmla="*/ 936 w 1210"/>
                <a:gd name="T41" fmla="*/ 623 h 927"/>
                <a:gd name="T42" fmla="*/ 849 w 1210"/>
                <a:gd name="T43" fmla="*/ 702 h 927"/>
                <a:gd name="T44" fmla="*/ 771 w 1210"/>
                <a:gd name="T45" fmla="*/ 731 h 927"/>
                <a:gd name="T46" fmla="*/ 712 w 1210"/>
                <a:gd name="T47" fmla="*/ 750 h 927"/>
                <a:gd name="T48" fmla="*/ 712 w 1210"/>
                <a:gd name="T49" fmla="*/ 770 h 927"/>
                <a:gd name="T50" fmla="*/ 732 w 1210"/>
                <a:gd name="T51" fmla="*/ 848 h 927"/>
                <a:gd name="T52" fmla="*/ 663 w 1210"/>
                <a:gd name="T53" fmla="*/ 916 h 927"/>
                <a:gd name="T54" fmla="*/ 576 w 1210"/>
                <a:gd name="T55" fmla="*/ 877 h 927"/>
                <a:gd name="T56" fmla="*/ 527 w 1210"/>
                <a:gd name="T57" fmla="*/ 867 h 927"/>
                <a:gd name="T58" fmla="*/ 390 w 1210"/>
                <a:gd name="T59" fmla="*/ 906 h 927"/>
                <a:gd name="T60" fmla="*/ 273 w 1210"/>
                <a:gd name="T61" fmla="*/ 867 h 927"/>
                <a:gd name="T62" fmla="*/ 244 w 1210"/>
                <a:gd name="T63" fmla="*/ 770 h 927"/>
                <a:gd name="T64" fmla="*/ 127 w 1210"/>
                <a:gd name="T65" fmla="*/ 741 h 927"/>
                <a:gd name="T66" fmla="*/ 59 w 1210"/>
                <a:gd name="T67" fmla="*/ 711 h 927"/>
                <a:gd name="T68" fmla="*/ 0 w 1210"/>
                <a:gd name="T69" fmla="*/ 672 h 927"/>
                <a:gd name="T70" fmla="*/ 0 w 1210"/>
                <a:gd name="T71" fmla="*/ 614 h 927"/>
                <a:gd name="T72" fmla="*/ 49 w 1210"/>
                <a:gd name="T73" fmla="*/ 584 h 927"/>
                <a:gd name="T74" fmla="*/ 107 w 1210"/>
                <a:gd name="T75" fmla="*/ 555 h 927"/>
                <a:gd name="T76" fmla="*/ 146 w 1210"/>
                <a:gd name="T77" fmla="*/ 594 h 927"/>
                <a:gd name="T78" fmla="*/ 234 w 1210"/>
                <a:gd name="T79" fmla="*/ 672 h 927"/>
                <a:gd name="T80" fmla="*/ 273 w 1210"/>
                <a:gd name="T81" fmla="*/ 672 h 927"/>
                <a:gd name="T82" fmla="*/ 322 w 1210"/>
                <a:gd name="T83" fmla="*/ 711 h 927"/>
                <a:gd name="T84" fmla="*/ 371 w 1210"/>
                <a:gd name="T85" fmla="*/ 750 h 927"/>
                <a:gd name="T86" fmla="*/ 390 w 1210"/>
                <a:gd name="T87" fmla="*/ 760 h 927"/>
                <a:gd name="T88" fmla="*/ 488 w 1210"/>
                <a:gd name="T89" fmla="*/ 721 h 927"/>
                <a:gd name="T90" fmla="*/ 595 w 1210"/>
                <a:gd name="T91" fmla="*/ 594 h 927"/>
                <a:gd name="T92" fmla="*/ 673 w 1210"/>
                <a:gd name="T93" fmla="*/ 497 h 927"/>
                <a:gd name="T94" fmla="*/ 673 w 1210"/>
                <a:gd name="T95" fmla="*/ 342 h 9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210"/>
                <a:gd name="T145" fmla="*/ 0 h 927"/>
                <a:gd name="T146" fmla="*/ 1210 w 1210"/>
                <a:gd name="T147" fmla="*/ 927 h 9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210" h="927">
                  <a:moveTo>
                    <a:pt x="673" y="312"/>
                  </a:moveTo>
                  <a:lnTo>
                    <a:pt x="673" y="283"/>
                  </a:lnTo>
                  <a:lnTo>
                    <a:pt x="673" y="244"/>
                  </a:lnTo>
                  <a:lnTo>
                    <a:pt x="683" y="234"/>
                  </a:lnTo>
                  <a:lnTo>
                    <a:pt x="683" y="225"/>
                  </a:lnTo>
                  <a:lnTo>
                    <a:pt x="673" y="225"/>
                  </a:lnTo>
                  <a:lnTo>
                    <a:pt x="673" y="205"/>
                  </a:lnTo>
                  <a:lnTo>
                    <a:pt x="644" y="205"/>
                  </a:lnTo>
                  <a:lnTo>
                    <a:pt x="644" y="186"/>
                  </a:lnTo>
                  <a:lnTo>
                    <a:pt x="663" y="166"/>
                  </a:lnTo>
                  <a:lnTo>
                    <a:pt x="683" y="147"/>
                  </a:lnTo>
                  <a:lnTo>
                    <a:pt x="693" y="137"/>
                  </a:lnTo>
                  <a:lnTo>
                    <a:pt x="712" y="137"/>
                  </a:lnTo>
                  <a:lnTo>
                    <a:pt x="722" y="117"/>
                  </a:lnTo>
                  <a:lnTo>
                    <a:pt x="741" y="108"/>
                  </a:lnTo>
                  <a:lnTo>
                    <a:pt x="761" y="117"/>
                  </a:lnTo>
                  <a:lnTo>
                    <a:pt x="790" y="117"/>
                  </a:lnTo>
                  <a:lnTo>
                    <a:pt x="810" y="108"/>
                  </a:lnTo>
                  <a:lnTo>
                    <a:pt x="819" y="88"/>
                  </a:lnTo>
                  <a:lnTo>
                    <a:pt x="829" y="88"/>
                  </a:lnTo>
                  <a:lnTo>
                    <a:pt x="849" y="98"/>
                  </a:lnTo>
                  <a:lnTo>
                    <a:pt x="868" y="98"/>
                  </a:lnTo>
                  <a:lnTo>
                    <a:pt x="878" y="88"/>
                  </a:lnTo>
                  <a:lnTo>
                    <a:pt x="888" y="98"/>
                  </a:lnTo>
                  <a:lnTo>
                    <a:pt x="888" y="108"/>
                  </a:lnTo>
                  <a:lnTo>
                    <a:pt x="897" y="117"/>
                  </a:lnTo>
                  <a:lnTo>
                    <a:pt x="936" y="117"/>
                  </a:lnTo>
                  <a:lnTo>
                    <a:pt x="966" y="117"/>
                  </a:lnTo>
                  <a:lnTo>
                    <a:pt x="1024" y="78"/>
                  </a:lnTo>
                  <a:lnTo>
                    <a:pt x="1024" y="59"/>
                  </a:lnTo>
                  <a:lnTo>
                    <a:pt x="1024" y="39"/>
                  </a:lnTo>
                  <a:lnTo>
                    <a:pt x="1044" y="30"/>
                  </a:lnTo>
                  <a:lnTo>
                    <a:pt x="1063" y="30"/>
                  </a:lnTo>
                  <a:lnTo>
                    <a:pt x="1063" y="10"/>
                  </a:lnTo>
                  <a:lnTo>
                    <a:pt x="1073" y="0"/>
                  </a:lnTo>
                  <a:lnTo>
                    <a:pt x="1093" y="0"/>
                  </a:lnTo>
                  <a:lnTo>
                    <a:pt x="1093" y="20"/>
                  </a:lnTo>
                  <a:lnTo>
                    <a:pt x="1093" y="30"/>
                  </a:lnTo>
                  <a:lnTo>
                    <a:pt x="1083" y="39"/>
                  </a:lnTo>
                  <a:lnTo>
                    <a:pt x="1073" y="69"/>
                  </a:lnTo>
                  <a:lnTo>
                    <a:pt x="1073" y="78"/>
                  </a:lnTo>
                  <a:lnTo>
                    <a:pt x="1093" y="98"/>
                  </a:lnTo>
                  <a:lnTo>
                    <a:pt x="1093" y="127"/>
                  </a:lnTo>
                  <a:lnTo>
                    <a:pt x="1102" y="127"/>
                  </a:lnTo>
                  <a:lnTo>
                    <a:pt x="1112" y="147"/>
                  </a:lnTo>
                  <a:lnTo>
                    <a:pt x="1112" y="156"/>
                  </a:lnTo>
                  <a:lnTo>
                    <a:pt x="1112" y="176"/>
                  </a:lnTo>
                  <a:lnTo>
                    <a:pt x="1132" y="186"/>
                  </a:lnTo>
                  <a:lnTo>
                    <a:pt x="1132" y="205"/>
                  </a:lnTo>
                  <a:lnTo>
                    <a:pt x="1151" y="215"/>
                  </a:lnTo>
                  <a:lnTo>
                    <a:pt x="1171" y="215"/>
                  </a:lnTo>
                  <a:lnTo>
                    <a:pt x="1180" y="225"/>
                  </a:lnTo>
                  <a:lnTo>
                    <a:pt x="1210" y="234"/>
                  </a:lnTo>
                  <a:lnTo>
                    <a:pt x="1210" y="254"/>
                  </a:lnTo>
                  <a:lnTo>
                    <a:pt x="1210" y="293"/>
                  </a:lnTo>
                  <a:lnTo>
                    <a:pt x="1200" y="303"/>
                  </a:lnTo>
                  <a:lnTo>
                    <a:pt x="1190" y="303"/>
                  </a:lnTo>
                  <a:lnTo>
                    <a:pt x="1171" y="312"/>
                  </a:lnTo>
                  <a:lnTo>
                    <a:pt x="1151" y="322"/>
                  </a:lnTo>
                  <a:lnTo>
                    <a:pt x="1141" y="322"/>
                  </a:lnTo>
                  <a:lnTo>
                    <a:pt x="1132" y="342"/>
                  </a:lnTo>
                  <a:lnTo>
                    <a:pt x="1112" y="352"/>
                  </a:lnTo>
                  <a:lnTo>
                    <a:pt x="1112" y="381"/>
                  </a:lnTo>
                  <a:lnTo>
                    <a:pt x="1093" y="391"/>
                  </a:lnTo>
                  <a:lnTo>
                    <a:pt x="1083" y="400"/>
                  </a:lnTo>
                  <a:lnTo>
                    <a:pt x="1083" y="410"/>
                  </a:lnTo>
                  <a:lnTo>
                    <a:pt x="1073" y="410"/>
                  </a:lnTo>
                  <a:lnTo>
                    <a:pt x="1063" y="420"/>
                  </a:lnTo>
                  <a:lnTo>
                    <a:pt x="1054" y="420"/>
                  </a:lnTo>
                  <a:lnTo>
                    <a:pt x="1054" y="430"/>
                  </a:lnTo>
                  <a:lnTo>
                    <a:pt x="1034" y="449"/>
                  </a:lnTo>
                  <a:lnTo>
                    <a:pt x="1034" y="469"/>
                  </a:lnTo>
                  <a:lnTo>
                    <a:pt x="1054" y="478"/>
                  </a:lnTo>
                  <a:lnTo>
                    <a:pt x="1063" y="488"/>
                  </a:lnTo>
                  <a:lnTo>
                    <a:pt x="1073" y="498"/>
                  </a:lnTo>
                  <a:lnTo>
                    <a:pt x="1073" y="537"/>
                  </a:lnTo>
                  <a:lnTo>
                    <a:pt x="1063" y="547"/>
                  </a:lnTo>
                  <a:lnTo>
                    <a:pt x="1044" y="566"/>
                  </a:lnTo>
                  <a:lnTo>
                    <a:pt x="1024" y="566"/>
                  </a:lnTo>
                  <a:lnTo>
                    <a:pt x="1005" y="586"/>
                  </a:lnTo>
                  <a:lnTo>
                    <a:pt x="975" y="595"/>
                  </a:lnTo>
                  <a:lnTo>
                    <a:pt x="975" y="615"/>
                  </a:lnTo>
                  <a:lnTo>
                    <a:pt x="956" y="615"/>
                  </a:lnTo>
                  <a:lnTo>
                    <a:pt x="936" y="634"/>
                  </a:lnTo>
                  <a:lnTo>
                    <a:pt x="907" y="664"/>
                  </a:lnTo>
                  <a:lnTo>
                    <a:pt x="868" y="693"/>
                  </a:lnTo>
                  <a:lnTo>
                    <a:pt x="868" y="703"/>
                  </a:lnTo>
                  <a:lnTo>
                    <a:pt x="849" y="713"/>
                  </a:lnTo>
                  <a:lnTo>
                    <a:pt x="839" y="703"/>
                  </a:lnTo>
                  <a:lnTo>
                    <a:pt x="819" y="703"/>
                  </a:lnTo>
                  <a:lnTo>
                    <a:pt x="790" y="722"/>
                  </a:lnTo>
                  <a:lnTo>
                    <a:pt x="771" y="742"/>
                  </a:lnTo>
                  <a:lnTo>
                    <a:pt x="761" y="722"/>
                  </a:lnTo>
                  <a:lnTo>
                    <a:pt x="722" y="742"/>
                  </a:lnTo>
                  <a:lnTo>
                    <a:pt x="722" y="752"/>
                  </a:lnTo>
                  <a:lnTo>
                    <a:pt x="712" y="761"/>
                  </a:lnTo>
                  <a:lnTo>
                    <a:pt x="722" y="771"/>
                  </a:lnTo>
                  <a:lnTo>
                    <a:pt x="722" y="781"/>
                  </a:lnTo>
                  <a:lnTo>
                    <a:pt x="712" y="781"/>
                  </a:lnTo>
                  <a:lnTo>
                    <a:pt x="712" y="820"/>
                  </a:lnTo>
                  <a:lnTo>
                    <a:pt x="722" y="839"/>
                  </a:lnTo>
                  <a:lnTo>
                    <a:pt x="732" y="849"/>
                  </a:lnTo>
                  <a:lnTo>
                    <a:pt x="732" y="859"/>
                  </a:lnTo>
                  <a:lnTo>
                    <a:pt x="722" y="869"/>
                  </a:lnTo>
                  <a:lnTo>
                    <a:pt x="693" y="888"/>
                  </a:lnTo>
                  <a:lnTo>
                    <a:pt x="683" y="898"/>
                  </a:lnTo>
                  <a:lnTo>
                    <a:pt x="663" y="927"/>
                  </a:lnTo>
                  <a:lnTo>
                    <a:pt x="634" y="917"/>
                  </a:lnTo>
                  <a:lnTo>
                    <a:pt x="624" y="908"/>
                  </a:lnTo>
                  <a:lnTo>
                    <a:pt x="605" y="888"/>
                  </a:lnTo>
                  <a:lnTo>
                    <a:pt x="576" y="888"/>
                  </a:lnTo>
                  <a:lnTo>
                    <a:pt x="576" y="908"/>
                  </a:lnTo>
                  <a:lnTo>
                    <a:pt x="556" y="898"/>
                  </a:lnTo>
                  <a:lnTo>
                    <a:pt x="556" y="888"/>
                  </a:lnTo>
                  <a:lnTo>
                    <a:pt x="527" y="878"/>
                  </a:lnTo>
                  <a:lnTo>
                    <a:pt x="488" y="888"/>
                  </a:lnTo>
                  <a:lnTo>
                    <a:pt x="449" y="908"/>
                  </a:lnTo>
                  <a:lnTo>
                    <a:pt x="429" y="917"/>
                  </a:lnTo>
                  <a:lnTo>
                    <a:pt x="390" y="917"/>
                  </a:lnTo>
                  <a:lnTo>
                    <a:pt x="351" y="917"/>
                  </a:lnTo>
                  <a:lnTo>
                    <a:pt x="332" y="908"/>
                  </a:lnTo>
                  <a:lnTo>
                    <a:pt x="302" y="888"/>
                  </a:lnTo>
                  <a:lnTo>
                    <a:pt x="273" y="878"/>
                  </a:lnTo>
                  <a:lnTo>
                    <a:pt x="273" y="859"/>
                  </a:lnTo>
                  <a:lnTo>
                    <a:pt x="263" y="820"/>
                  </a:lnTo>
                  <a:lnTo>
                    <a:pt x="254" y="791"/>
                  </a:lnTo>
                  <a:lnTo>
                    <a:pt x="244" y="781"/>
                  </a:lnTo>
                  <a:lnTo>
                    <a:pt x="215" y="771"/>
                  </a:lnTo>
                  <a:lnTo>
                    <a:pt x="185" y="771"/>
                  </a:lnTo>
                  <a:lnTo>
                    <a:pt x="156" y="761"/>
                  </a:lnTo>
                  <a:lnTo>
                    <a:pt x="127" y="752"/>
                  </a:lnTo>
                  <a:lnTo>
                    <a:pt x="98" y="752"/>
                  </a:lnTo>
                  <a:lnTo>
                    <a:pt x="98" y="742"/>
                  </a:lnTo>
                  <a:lnTo>
                    <a:pt x="78" y="722"/>
                  </a:lnTo>
                  <a:lnTo>
                    <a:pt x="59" y="722"/>
                  </a:lnTo>
                  <a:lnTo>
                    <a:pt x="49" y="722"/>
                  </a:lnTo>
                  <a:lnTo>
                    <a:pt x="29" y="703"/>
                  </a:lnTo>
                  <a:lnTo>
                    <a:pt x="20" y="703"/>
                  </a:lnTo>
                  <a:lnTo>
                    <a:pt x="0" y="683"/>
                  </a:lnTo>
                  <a:lnTo>
                    <a:pt x="10" y="673"/>
                  </a:lnTo>
                  <a:lnTo>
                    <a:pt x="20" y="654"/>
                  </a:lnTo>
                  <a:lnTo>
                    <a:pt x="10" y="634"/>
                  </a:lnTo>
                  <a:lnTo>
                    <a:pt x="0" y="625"/>
                  </a:lnTo>
                  <a:lnTo>
                    <a:pt x="0" y="615"/>
                  </a:lnTo>
                  <a:lnTo>
                    <a:pt x="29" y="625"/>
                  </a:lnTo>
                  <a:lnTo>
                    <a:pt x="29" y="615"/>
                  </a:lnTo>
                  <a:lnTo>
                    <a:pt x="49" y="595"/>
                  </a:lnTo>
                  <a:lnTo>
                    <a:pt x="68" y="586"/>
                  </a:lnTo>
                  <a:lnTo>
                    <a:pt x="78" y="586"/>
                  </a:lnTo>
                  <a:lnTo>
                    <a:pt x="88" y="566"/>
                  </a:lnTo>
                  <a:lnTo>
                    <a:pt x="107" y="566"/>
                  </a:lnTo>
                  <a:lnTo>
                    <a:pt x="127" y="576"/>
                  </a:lnTo>
                  <a:lnTo>
                    <a:pt x="127" y="586"/>
                  </a:lnTo>
                  <a:lnTo>
                    <a:pt x="127" y="605"/>
                  </a:lnTo>
                  <a:lnTo>
                    <a:pt x="146" y="605"/>
                  </a:lnTo>
                  <a:lnTo>
                    <a:pt x="156" y="625"/>
                  </a:lnTo>
                  <a:lnTo>
                    <a:pt x="185" y="644"/>
                  </a:lnTo>
                  <a:lnTo>
                    <a:pt x="215" y="664"/>
                  </a:lnTo>
                  <a:lnTo>
                    <a:pt x="234" y="683"/>
                  </a:lnTo>
                  <a:lnTo>
                    <a:pt x="234" y="693"/>
                  </a:lnTo>
                  <a:lnTo>
                    <a:pt x="254" y="683"/>
                  </a:lnTo>
                  <a:lnTo>
                    <a:pt x="273" y="683"/>
                  </a:lnTo>
                  <a:lnTo>
                    <a:pt x="273" y="703"/>
                  </a:lnTo>
                  <a:lnTo>
                    <a:pt x="283" y="713"/>
                  </a:lnTo>
                  <a:lnTo>
                    <a:pt x="302" y="722"/>
                  </a:lnTo>
                  <a:lnTo>
                    <a:pt x="322" y="722"/>
                  </a:lnTo>
                  <a:lnTo>
                    <a:pt x="322" y="742"/>
                  </a:lnTo>
                  <a:lnTo>
                    <a:pt x="322" y="761"/>
                  </a:lnTo>
                  <a:lnTo>
                    <a:pt x="341" y="761"/>
                  </a:lnTo>
                  <a:lnTo>
                    <a:pt x="371" y="761"/>
                  </a:lnTo>
                  <a:lnTo>
                    <a:pt x="371" y="771"/>
                  </a:lnTo>
                  <a:lnTo>
                    <a:pt x="371" y="791"/>
                  </a:lnTo>
                  <a:lnTo>
                    <a:pt x="380" y="791"/>
                  </a:lnTo>
                  <a:lnTo>
                    <a:pt x="390" y="771"/>
                  </a:lnTo>
                  <a:lnTo>
                    <a:pt x="410" y="761"/>
                  </a:lnTo>
                  <a:lnTo>
                    <a:pt x="410" y="752"/>
                  </a:lnTo>
                  <a:lnTo>
                    <a:pt x="449" y="742"/>
                  </a:lnTo>
                  <a:lnTo>
                    <a:pt x="488" y="732"/>
                  </a:lnTo>
                  <a:lnTo>
                    <a:pt x="517" y="703"/>
                  </a:lnTo>
                  <a:lnTo>
                    <a:pt x="537" y="664"/>
                  </a:lnTo>
                  <a:lnTo>
                    <a:pt x="556" y="644"/>
                  </a:lnTo>
                  <a:lnTo>
                    <a:pt x="595" y="605"/>
                  </a:lnTo>
                  <a:lnTo>
                    <a:pt x="634" y="576"/>
                  </a:lnTo>
                  <a:lnTo>
                    <a:pt x="663" y="547"/>
                  </a:lnTo>
                  <a:lnTo>
                    <a:pt x="683" y="527"/>
                  </a:lnTo>
                  <a:lnTo>
                    <a:pt x="673" y="508"/>
                  </a:lnTo>
                  <a:lnTo>
                    <a:pt x="693" y="459"/>
                  </a:lnTo>
                  <a:lnTo>
                    <a:pt x="722" y="400"/>
                  </a:lnTo>
                  <a:lnTo>
                    <a:pt x="683" y="381"/>
                  </a:lnTo>
                  <a:lnTo>
                    <a:pt x="673" y="342"/>
                  </a:lnTo>
                </a:path>
              </a:pathLst>
            </a:custGeom>
            <a:solidFill>
              <a:srgbClr val="DBDBDB"/>
            </a:solidFill>
            <a:ln w="6350" cap="rnd">
              <a:solidFill>
                <a:srgbClr val="7F7E6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5" name="Freeform 116"/>
            <p:cNvSpPr>
              <a:spLocks/>
            </p:cNvSpPr>
            <p:nvPr/>
          </p:nvSpPr>
          <p:spPr bwMode="auto">
            <a:xfrm>
              <a:off x="5960" y="3112"/>
              <a:ext cx="917" cy="1152"/>
            </a:xfrm>
            <a:custGeom>
              <a:avLst/>
              <a:gdLst>
                <a:gd name="T0" fmla="*/ 49 w 917"/>
                <a:gd name="T1" fmla="*/ 1024 h 1152"/>
                <a:gd name="T2" fmla="*/ 39 w 917"/>
                <a:gd name="T3" fmla="*/ 936 h 1152"/>
                <a:gd name="T4" fmla="*/ 39 w 917"/>
                <a:gd name="T5" fmla="*/ 897 h 1152"/>
                <a:gd name="T6" fmla="*/ 156 w 917"/>
                <a:gd name="T7" fmla="*/ 858 h 1152"/>
                <a:gd name="T8" fmla="*/ 253 w 917"/>
                <a:gd name="T9" fmla="*/ 789 h 1152"/>
                <a:gd name="T10" fmla="*/ 341 w 917"/>
                <a:gd name="T11" fmla="*/ 731 h 1152"/>
                <a:gd name="T12" fmla="*/ 390 w 917"/>
                <a:gd name="T13" fmla="*/ 643 h 1152"/>
                <a:gd name="T14" fmla="*/ 371 w 917"/>
                <a:gd name="T15" fmla="*/ 594 h 1152"/>
                <a:gd name="T16" fmla="*/ 400 w 917"/>
                <a:gd name="T17" fmla="*/ 566 h 1152"/>
                <a:gd name="T18" fmla="*/ 458 w 917"/>
                <a:gd name="T19" fmla="*/ 488 h 1152"/>
                <a:gd name="T20" fmla="*/ 527 w 917"/>
                <a:gd name="T21" fmla="*/ 459 h 1152"/>
                <a:gd name="T22" fmla="*/ 468 w 917"/>
                <a:gd name="T23" fmla="*/ 381 h 1152"/>
                <a:gd name="T24" fmla="*/ 429 w 917"/>
                <a:gd name="T25" fmla="*/ 313 h 1152"/>
                <a:gd name="T26" fmla="*/ 390 w 917"/>
                <a:gd name="T27" fmla="*/ 235 h 1152"/>
                <a:gd name="T28" fmla="*/ 429 w 917"/>
                <a:gd name="T29" fmla="*/ 205 h 1152"/>
                <a:gd name="T30" fmla="*/ 497 w 917"/>
                <a:gd name="T31" fmla="*/ 186 h 1152"/>
                <a:gd name="T32" fmla="*/ 488 w 917"/>
                <a:gd name="T33" fmla="*/ 147 h 1152"/>
                <a:gd name="T34" fmla="*/ 449 w 917"/>
                <a:gd name="T35" fmla="*/ 117 h 1152"/>
                <a:gd name="T36" fmla="*/ 458 w 917"/>
                <a:gd name="T37" fmla="*/ 39 h 1152"/>
                <a:gd name="T38" fmla="*/ 536 w 917"/>
                <a:gd name="T39" fmla="*/ 20 h 1152"/>
                <a:gd name="T40" fmla="*/ 566 w 917"/>
                <a:gd name="T41" fmla="*/ 59 h 1152"/>
                <a:gd name="T42" fmla="*/ 575 w 917"/>
                <a:gd name="T43" fmla="*/ 88 h 1152"/>
                <a:gd name="T44" fmla="*/ 653 w 917"/>
                <a:gd name="T45" fmla="*/ 147 h 1152"/>
                <a:gd name="T46" fmla="*/ 692 w 917"/>
                <a:gd name="T47" fmla="*/ 215 h 1152"/>
                <a:gd name="T48" fmla="*/ 751 w 917"/>
                <a:gd name="T49" fmla="*/ 215 h 1152"/>
                <a:gd name="T50" fmla="*/ 809 w 917"/>
                <a:gd name="T51" fmla="*/ 254 h 1152"/>
                <a:gd name="T52" fmla="*/ 839 w 917"/>
                <a:gd name="T53" fmla="*/ 332 h 1152"/>
                <a:gd name="T54" fmla="*/ 878 w 917"/>
                <a:gd name="T55" fmla="*/ 371 h 1152"/>
                <a:gd name="T56" fmla="*/ 887 w 917"/>
                <a:gd name="T57" fmla="*/ 430 h 1152"/>
                <a:gd name="T58" fmla="*/ 839 w 917"/>
                <a:gd name="T59" fmla="*/ 547 h 1152"/>
                <a:gd name="T60" fmla="*/ 848 w 917"/>
                <a:gd name="T61" fmla="*/ 594 h 1152"/>
                <a:gd name="T62" fmla="*/ 878 w 917"/>
                <a:gd name="T63" fmla="*/ 663 h 1152"/>
                <a:gd name="T64" fmla="*/ 848 w 917"/>
                <a:gd name="T65" fmla="*/ 750 h 1152"/>
                <a:gd name="T66" fmla="*/ 829 w 917"/>
                <a:gd name="T67" fmla="*/ 848 h 1152"/>
                <a:gd name="T68" fmla="*/ 839 w 917"/>
                <a:gd name="T69" fmla="*/ 907 h 1152"/>
                <a:gd name="T70" fmla="*/ 761 w 917"/>
                <a:gd name="T71" fmla="*/ 985 h 1152"/>
                <a:gd name="T72" fmla="*/ 614 w 917"/>
                <a:gd name="T73" fmla="*/ 965 h 1152"/>
                <a:gd name="T74" fmla="*/ 488 w 917"/>
                <a:gd name="T75" fmla="*/ 965 h 1152"/>
                <a:gd name="T76" fmla="*/ 566 w 917"/>
                <a:gd name="T77" fmla="*/ 887 h 1152"/>
                <a:gd name="T78" fmla="*/ 546 w 917"/>
                <a:gd name="T79" fmla="*/ 848 h 1152"/>
                <a:gd name="T80" fmla="*/ 527 w 917"/>
                <a:gd name="T81" fmla="*/ 809 h 1152"/>
                <a:gd name="T82" fmla="*/ 458 w 917"/>
                <a:gd name="T83" fmla="*/ 809 h 1152"/>
                <a:gd name="T84" fmla="*/ 400 w 917"/>
                <a:gd name="T85" fmla="*/ 868 h 1152"/>
                <a:gd name="T86" fmla="*/ 351 w 917"/>
                <a:gd name="T87" fmla="*/ 907 h 1152"/>
                <a:gd name="T88" fmla="*/ 331 w 917"/>
                <a:gd name="T89" fmla="*/ 897 h 1152"/>
                <a:gd name="T90" fmla="*/ 322 w 917"/>
                <a:gd name="T91" fmla="*/ 936 h 1152"/>
                <a:gd name="T92" fmla="*/ 380 w 917"/>
                <a:gd name="T93" fmla="*/ 946 h 1152"/>
                <a:gd name="T94" fmla="*/ 478 w 917"/>
                <a:gd name="T95" fmla="*/ 936 h 1152"/>
                <a:gd name="T96" fmla="*/ 390 w 917"/>
                <a:gd name="T97" fmla="*/ 1072 h 1152"/>
                <a:gd name="T98" fmla="*/ 292 w 917"/>
                <a:gd name="T99" fmla="*/ 1121 h 1152"/>
                <a:gd name="T100" fmla="*/ 175 w 917"/>
                <a:gd name="T101" fmla="*/ 1141 h 1152"/>
                <a:gd name="T102" fmla="*/ 58 w 917"/>
                <a:gd name="T103" fmla="*/ 1121 h 11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17"/>
                <a:gd name="T157" fmla="*/ 0 h 1152"/>
                <a:gd name="T158" fmla="*/ 917 w 917"/>
                <a:gd name="T159" fmla="*/ 1152 h 11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17" h="1152">
                  <a:moveTo>
                    <a:pt x="10" y="1093"/>
                  </a:moveTo>
                  <a:lnTo>
                    <a:pt x="0" y="1074"/>
                  </a:lnTo>
                  <a:lnTo>
                    <a:pt x="10" y="1054"/>
                  </a:lnTo>
                  <a:lnTo>
                    <a:pt x="39" y="1035"/>
                  </a:lnTo>
                  <a:lnTo>
                    <a:pt x="49" y="1035"/>
                  </a:lnTo>
                  <a:lnTo>
                    <a:pt x="49" y="1015"/>
                  </a:lnTo>
                  <a:lnTo>
                    <a:pt x="29" y="1005"/>
                  </a:lnTo>
                  <a:lnTo>
                    <a:pt x="29" y="986"/>
                  </a:lnTo>
                  <a:lnTo>
                    <a:pt x="29" y="957"/>
                  </a:lnTo>
                  <a:lnTo>
                    <a:pt x="39" y="947"/>
                  </a:lnTo>
                  <a:lnTo>
                    <a:pt x="39" y="937"/>
                  </a:lnTo>
                  <a:lnTo>
                    <a:pt x="29" y="937"/>
                  </a:lnTo>
                  <a:lnTo>
                    <a:pt x="29" y="927"/>
                  </a:lnTo>
                  <a:lnTo>
                    <a:pt x="29" y="918"/>
                  </a:lnTo>
                  <a:lnTo>
                    <a:pt x="39" y="908"/>
                  </a:lnTo>
                  <a:lnTo>
                    <a:pt x="78" y="898"/>
                  </a:lnTo>
                  <a:lnTo>
                    <a:pt x="88" y="908"/>
                  </a:lnTo>
                  <a:lnTo>
                    <a:pt x="107" y="898"/>
                  </a:lnTo>
                  <a:lnTo>
                    <a:pt x="136" y="869"/>
                  </a:lnTo>
                  <a:lnTo>
                    <a:pt x="156" y="869"/>
                  </a:lnTo>
                  <a:lnTo>
                    <a:pt x="166" y="879"/>
                  </a:lnTo>
                  <a:lnTo>
                    <a:pt x="185" y="879"/>
                  </a:lnTo>
                  <a:lnTo>
                    <a:pt x="185" y="859"/>
                  </a:lnTo>
                  <a:lnTo>
                    <a:pt x="224" y="830"/>
                  </a:lnTo>
                  <a:lnTo>
                    <a:pt x="253" y="800"/>
                  </a:lnTo>
                  <a:lnTo>
                    <a:pt x="273" y="781"/>
                  </a:lnTo>
                  <a:lnTo>
                    <a:pt x="292" y="781"/>
                  </a:lnTo>
                  <a:lnTo>
                    <a:pt x="292" y="761"/>
                  </a:lnTo>
                  <a:lnTo>
                    <a:pt x="322" y="752"/>
                  </a:lnTo>
                  <a:lnTo>
                    <a:pt x="341" y="742"/>
                  </a:lnTo>
                  <a:lnTo>
                    <a:pt x="361" y="742"/>
                  </a:lnTo>
                  <a:lnTo>
                    <a:pt x="390" y="722"/>
                  </a:lnTo>
                  <a:lnTo>
                    <a:pt x="390" y="703"/>
                  </a:lnTo>
                  <a:lnTo>
                    <a:pt x="390" y="664"/>
                  </a:lnTo>
                  <a:lnTo>
                    <a:pt x="390" y="654"/>
                  </a:lnTo>
                  <a:lnTo>
                    <a:pt x="371" y="644"/>
                  </a:lnTo>
                  <a:lnTo>
                    <a:pt x="351" y="635"/>
                  </a:lnTo>
                  <a:lnTo>
                    <a:pt x="351" y="625"/>
                  </a:lnTo>
                  <a:lnTo>
                    <a:pt x="351" y="615"/>
                  </a:lnTo>
                  <a:lnTo>
                    <a:pt x="371" y="605"/>
                  </a:lnTo>
                  <a:lnTo>
                    <a:pt x="371" y="586"/>
                  </a:lnTo>
                  <a:lnTo>
                    <a:pt x="390" y="586"/>
                  </a:lnTo>
                  <a:lnTo>
                    <a:pt x="390" y="576"/>
                  </a:lnTo>
                  <a:lnTo>
                    <a:pt x="400" y="576"/>
                  </a:lnTo>
                  <a:lnTo>
                    <a:pt x="400" y="566"/>
                  </a:lnTo>
                  <a:lnTo>
                    <a:pt x="410" y="557"/>
                  </a:lnTo>
                  <a:lnTo>
                    <a:pt x="429" y="547"/>
                  </a:lnTo>
                  <a:lnTo>
                    <a:pt x="439" y="518"/>
                  </a:lnTo>
                  <a:lnTo>
                    <a:pt x="449" y="508"/>
                  </a:lnTo>
                  <a:lnTo>
                    <a:pt x="458" y="488"/>
                  </a:lnTo>
                  <a:lnTo>
                    <a:pt x="468" y="488"/>
                  </a:lnTo>
                  <a:lnTo>
                    <a:pt x="488" y="478"/>
                  </a:lnTo>
                  <a:lnTo>
                    <a:pt x="507" y="469"/>
                  </a:lnTo>
                  <a:lnTo>
                    <a:pt x="517" y="469"/>
                  </a:lnTo>
                  <a:lnTo>
                    <a:pt x="527" y="459"/>
                  </a:lnTo>
                  <a:lnTo>
                    <a:pt x="536" y="420"/>
                  </a:lnTo>
                  <a:lnTo>
                    <a:pt x="527" y="400"/>
                  </a:lnTo>
                  <a:lnTo>
                    <a:pt x="497" y="391"/>
                  </a:lnTo>
                  <a:lnTo>
                    <a:pt x="488" y="381"/>
                  </a:lnTo>
                  <a:lnTo>
                    <a:pt x="468" y="381"/>
                  </a:lnTo>
                  <a:lnTo>
                    <a:pt x="449" y="371"/>
                  </a:lnTo>
                  <a:lnTo>
                    <a:pt x="449" y="352"/>
                  </a:lnTo>
                  <a:lnTo>
                    <a:pt x="439" y="342"/>
                  </a:lnTo>
                  <a:lnTo>
                    <a:pt x="439" y="322"/>
                  </a:lnTo>
                  <a:lnTo>
                    <a:pt x="429" y="313"/>
                  </a:lnTo>
                  <a:lnTo>
                    <a:pt x="419" y="293"/>
                  </a:lnTo>
                  <a:lnTo>
                    <a:pt x="410" y="293"/>
                  </a:lnTo>
                  <a:lnTo>
                    <a:pt x="410" y="264"/>
                  </a:lnTo>
                  <a:lnTo>
                    <a:pt x="390" y="244"/>
                  </a:lnTo>
                  <a:lnTo>
                    <a:pt x="390" y="235"/>
                  </a:lnTo>
                  <a:lnTo>
                    <a:pt x="390" y="215"/>
                  </a:lnTo>
                  <a:lnTo>
                    <a:pt x="400" y="205"/>
                  </a:lnTo>
                  <a:lnTo>
                    <a:pt x="410" y="205"/>
                  </a:lnTo>
                  <a:lnTo>
                    <a:pt x="419" y="205"/>
                  </a:lnTo>
                  <a:lnTo>
                    <a:pt x="429" y="205"/>
                  </a:lnTo>
                  <a:lnTo>
                    <a:pt x="458" y="215"/>
                  </a:lnTo>
                  <a:lnTo>
                    <a:pt x="468" y="205"/>
                  </a:lnTo>
                  <a:lnTo>
                    <a:pt x="478" y="196"/>
                  </a:lnTo>
                  <a:lnTo>
                    <a:pt x="488" y="196"/>
                  </a:lnTo>
                  <a:lnTo>
                    <a:pt x="497" y="186"/>
                  </a:lnTo>
                  <a:lnTo>
                    <a:pt x="497" y="176"/>
                  </a:lnTo>
                  <a:lnTo>
                    <a:pt x="488" y="166"/>
                  </a:lnTo>
                  <a:lnTo>
                    <a:pt x="497" y="157"/>
                  </a:lnTo>
                  <a:lnTo>
                    <a:pt x="497" y="147"/>
                  </a:lnTo>
                  <a:lnTo>
                    <a:pt x="488" y="147"/>
                  </a:lnTo>
                  <a:lnTo>
                    <a:pt x="478" y="157"/>
                  </a:lnTo>
                  <a:lnTo>
                    <a:pt x="458" y="137"/>
                  </a:lnTo>
                  <a:lnTo>
                    <a:pt x="468" y="127"/>
                  </a:lnTo>
                  <a:lnTo>
                    <a:pt x="468" y="117"/>
                  </a:lnTo>
                  <a:lnTo>
                    <a:pt x="449" y="117"/>
                  </a:lnTo>
                  <a:lnTo>
                    <a:pt x="449" y="88"/>
                  </a:lnTo>
                  <a:lnTo>
                    <a:pt x="458" y="88"/>
                  </a:lnTo>
                  <a:lnTo>
                    <a:pt x="458" y="59"/>
                  </a:lnTo>
                  <a:lnTo>
                    <a:pt x="468" y="49"/>
                  </a:lnTo>
                  <a:lnTo>
                    <a:pt x="458" y="39"/>
                  </a:lnTo>
                  <a:lnTo>
                    <a:pt x="458" y="30"/>
                  </a:lnTo>
                  <a:lnTo>
                    <a:pt x="478" y="20"/>
                  </a:lnTo>
                  <a:lnTo>
                    <a:pt x="488" y="20"/>
                  </a:lnTo>
                  <a:lnTo>
                    <a:pt x="507" y="20"/>
                  </a:lnTo>
                  <a:lnTo>
                    <a:pt x="536" y="20"/>
                  </a:lnTo>
                  <a:lnTo>
                    <a:pt x="546" y="10"/>
                  </a:lnTo>
                  <a:lnTo>
                    <a:pt x="546" y="0"/>
                  </a:lnTo>
                  <a:lnTo>
                    <a:pt x="556" y="20"/>
                  </a:lnTo>
                  <a:lnTo>
                    <a:pt x="566" y="39"/>
                  </a:lnTo>
                  <a:lnTo>
                    <a:pt x="566" y="59"/>
                  </a:lnTo>
                  <a:lnTo>
                    <a:pt x="566" y="69"/>
                  </a:lnTo>
                  <a:lnTo>
                    <a:pt x="575" y="69"/>
                  </a:lnTo>
                  <a:lnTo>
                    <a:pt x="575" y="78"/>
                  </a:lnTo>
                  <a:lnTo>
                    <a:pt x="566" y="88"/>
                  </a:lnTo>
                  <a:lnTo>
                    <a:pt x="575" y="88"/>
                  </a:lnTo>
                  <a:lnTo>
                    <a:pt x="595" y="69"/>
                  </a:lnTo>
                  <a:lnTo>
                    <a:pt x="605" y="78"/>
                  </a:lnTo>
                  <a:lnTo>
                    <a:pt x="605" y="98"/>
                  </a:lnTo>
                  <a:lnTo>
                    <a:pt x="634" y="137"/>
                  </a:lnTo>
                  <a:lnTo>
                    <a:pt x="653" y="147"/>
                  </a:lnTo>
                  <a:lnTo>
                    <a:pt x="653" y="157"/>
                  </a:lnTo>
                  <a:lnTo>
                    <a:pt x="673" y="186"/>
                  </a:lnTo>
                  <a:lnTo>
                    <a:pt x="692" y="196"/>
                  </a:lnTo>
                  <a:lnTo>
                    <a:pt x="712" y="205"/>
                  </a:lnTo>
                  <a:lnTo>
                    <a:pt x="692" y="215"/>
                  </a:lnTo>
                  <a:lnTo>
                    <a:pt x="683" y="225"/>
                  </a:lnTo>
                  <a:lnTo>
                    <a:pt x="692" y="235"/>
                  </a:lnTo>
                  <a:lnTo>
                    <a:pt x="702" y="244"/>
                  </a:lnTo>
                  <a:lnTo>
                    <a:pt x="731" y="225"/>
                  </a:lnTo>
                  <a:lnTo>
                    <a:pt x="751" y="215"/>
                  </a:lnTo>
                  <a:lnTo>
                    <a:pt x="770" y="225"/>
                  </a:lnTo>
                  <a:lnTo>
                    <a:pt x="780" y="254"/>
                  </a:lnTo>
                  <a:lnTo>
                    <a:pt x="780" y="264"/>
                  </a:lnTo>
                  <a:lnTo>
                    <a:pt x="790" y="274"/>
                  </a:lnTo>
                  <a:lnTo>
                    <a:pt x="809" y="254"/>
                  </a:lnTo>
                  <a:lnTo>
                    <a:pt x="829" y="264"/>
                  </a:lnTo>
                  <a:lnTo>
                    <a:pt x="829" y="283"/>
                  </a:lnTo>
                  <a:lnTo>
                    <a:pt x="839" y="293"/>
                  </a:lnTo>
                  <a:lnTo>
                    <a:pt x="839" y="313"/>
                  </a:lnTo>
                  <a:lnTo>
                    <a:pt x="839" y="332"/>
                  </a:lnTo>
                  <a:lnTo>
                    <a:pt x="839" y="342"/>
                  </a:lnTo>
                  <a:lnTo>
                    <a:pt x="858" y="342"/>
                  </a:lnTo>
                  <a:lnTo>
                    <a:pt x="858" y="352"/>
                  </a:lnTo>
                  <a:lnTo>
                    <a:pt x="878" y="371"/>
                  </a:lnTo>
                  <a:lnTo>
                    <a:pt x="858" y="371"/>
                  </a:lnTo>
                  <a:lnTo>
                    <a:pt x="858" y="391"/>
                  </a:lnTo>
                  <a:lnTo>
                    <a:pt x="858" y="400"/>
                  </a:lnTo>
                  <a:lnTo>
                    <a:pt x="858" y="430"/>
                  </a:lnTo>
                  <a:lnTo>
                    <a:pt x="887" y="430"/>
                  </a:lnTo>
                  <a:lnTo>
                    <a:pt x="917" y="488"/>
                  </a:lnTo>
                  <a:lnTo>
                    <a:pt x="897" y="498"/>
                  </a:lnTo>
                  <a:lnTo>
                    <a:pt x="878" y="508"/>
                  </a:lnTo>
                  <a:lnTo>
                    <a:pt x="848" y="527"/>
                  </a:lnTo>
                  <a:lnTo>
                    <a:pt x="839" y="547"/>
                  </a:lnTo>
                  <a:lnTo>
                    <a:pt x="819" y="566"/>
                  </a:lnTo>
                  <a:lnTo>
                    <a:pt x="809" y="605"/>
                  </a:lnTo>
                  <a:lnTo>
                    <a:pt x="829" y="605"/>
                  </a:lnTo>
                  <a:lnTo>
                    <a:pt x="848" y="596"/>
                  </a:lnTo>
                  <a:lnTo>
                    <a:pt x="848" y="605"/>
                  </a:lnTo>
                  <a:lnTo>
                    <a:pt x="868" y="615"/>
                  </a:lnTo>
                  <a:lnTo>
                    <a:pt x="868" y="635"/>
                  </a:lnTo>
                  <a:lnTo>
                    <a:pt x="878" y="644"/>
                  </a:lnTo>
                  <a:lnTo>
                    <a:pt x="878" y="654"/>
                  </a:lnTo>
                  <a:lnTo>
                    <a:pt x="878" y="674"/>
                  </a:lnTo>
                  <a:lnTo>
                    <a:pt x="868" y="683"/>
                  </a:lnTo>
                  <a:lnTo>
                    <a:pt x="858" y="703"/>
                  </a:lnTo>
                  <a:lnTo>
                    <a:pt x="848" y="722"/>
                  </a:lnTo>
                  <a:lnTo>
                    <a:pt x="848" y="742"/>
                  </a:lnTo>
                  <a:lnTo>
                    <a:pt x="848" y="761"/>
                  </a:lnTo>
                  <a:lnTo>
                    <a:pt x="848" y="791"/>
                  </a:lnTo>
                  <a:lnTo>
                    <a:pt x="839" y="820"/>
                  </a:lnTo>
                  <a:lnTo>
                    <a:pt x="839" y="830"/>
                  </a:lnTo>
                  <a:lnTo>
                    <a:pt x="829" y="839"/>
                  </a:lnTo>
                  <a:lnTo>
                    <a:pt x="829" y="859"/>
                  </a:lnTo>
                  <a:lnTo>
                    <a:pt x="839" y="869"/>
                  </a:lnTo>
                  <a:lnTo>
                    <a:pt x="848" y="879"/>
                  </a:lnTo>
                  <a:lnTo>
                    <a:pt x="848" y="898"/>
                  </a:lnTo>
                  <a:lnTo>
                    <a:pt x="839" y="908"/>
                  </a:lnTo>
                  <a:lnTo>
                    <a:pt x="839" y="918"/>
                  </a:lnTo>
                  <a:lnTo>
                    <a:pt x="809" y="927"/>
                  </a:lnTo>
                  <a:lnTo>
                    <a:pt x="790" y="957"/>
                  </a:lnTo>
                  <a:lnTo>
                    <a:pt x="770" y="976"/>
                  </a:lnTo>
                  <a:lnTo>
                    <a:pt x="770" y="996"/>
                  </a:lnTo>
                  <a:lnTo>
                    <a:pt x="761" y="996"/>
                  </a:lnTo>
                  <a:lnTo>
                    <a:pt x="722" y="996"/>
                  </a:lnTo>
                  <a:lnTo>
                    <a:pt x="683" y="986"/>
                  </a:lnTo>
                  <a:lnTo>
                    <a:pt x="653" y="976"/>
                  </a:lnTo>
                  <a:lnTo>
                    <a:pt x="624" y="966"/>
                  </a:lnTo>
                  <a:lnTo>
                    <a:pt x="614" y="976"/>
                  </a:lnTo>
                  <a:lnTo>
                    <a:pt x="605" y="996"/>
                  </a:lnTo>
                  <a:lnTo>
                    <a:pt x="585" y="996"/>
                  </a:lnTo>
                  <a:lnTo>
                    <a:pt x="556" y="986"/>
                  </a:lnTo>
                  <a:lnTo>
                    <a:pt x="527" y="976"/>
                  </a:lnTo>
                  <a:lnTo>
                    <a:pt x="488" y="976"/>
                  </a:lnTo>
                  <a:lnTo>
                    <a:pt x="478" y="947"/>
                  </a:lnTo>
                  <a:lnTo>
                    <a:pt x="497" y="937"/>
                  </a:lnTo>
                  <a:lnTo>
                    <a:pt x="517" y="927"/>
                  </a:lnTo>
                  <a:lnTo>
                    <a:pt x="556" y="918"/>
                  </a:lnTo>
                  <a:lnTo>
                    <a:pt x="566" y="898"/>
                  </a:lnTo>
                  <a:lnTo>
                    <a:pt x="575" y="888"/>
                  </a:lnTo>
                  <a:lnTo>
                    <a:pt x="556" y="888"/>
                  </a:lnTo>
                  <a:lnTo>
                    <a:pt x="536" y="888"/>
                  </a:lnTo>
                  <a:lnTo>
                    <a:pt x="536" y="859"/>
                  </a:lnTo>
                  <a:lnTo>
                    <a:pt x="546" y="859"/>
                  </a:lnTo>
                  <a:lnTo>
                    <a:pt x="566" y="859"/>
                  </a:lnTo>
                  <a:lnTo>
                    <a:pt x="566" y="839"/>
                  </a:lnTo>
                  <a:lnTo>
                    <a:pt x="556" y="839"/>
                  </a:lnTo>
                  <a:lnTo>
                    <a:pt x="546" y="820"/>
                  </a:lnTo>
                  <a:lnTo>
                    <a:pt x="527" y="820"/>
                  </a:lnTo>
                  <a:lnTo>
                    <a:pt x="517" y="810"/>
                  </a:lnTo>
                  <a:lnTo>
                    <a:pt x="507" y="800"/>
                  </a:lnTo>
                  <a:lnTo>
                    <a:pt x="488" y="800"/>
                  </a:lnTo>
                  <a:lnTo>
                    <a:pt x="478" y="810"/>
                  </a:lnTo>
                  <a:lnTo>
                    <a:pt x="458" y="820"/>
                  </a:lnTo>
                  <a:lnTo>
                    <a:pt x="458" y="830"/>
                  </a:lnTo>
                  <a:lnTo>
                    <a:pt x="449" y="839"/>
                  </a:lnTo>
                  <a:lnTo>
                    <a:pt x="410" y="839"/>
                  </a:lnTo>
                  <a:lnTo>
                    <a:pt x="390" y="859"/>
                  </a:lnTo>
                  <a:lnTo>
                    <a:pt x="400" y="879"/>
                  </a:lnTo>
                  <a:lnTo>
                    <a:pt x="410" y="879"/>
                  </a:lnTo>
                  <a:lnTo>
                    <a:pt x="390" y="888"/>
                  </a:lnTo>
                  <a:lnTo>
                    <a:pt x="380" y="888"/>
                  </a:lnTo>
                  <a:lnTo>
                    <a:pt x="361" y="898"/>
                  </a:lnTo>
                  <a:lnTo>
                    <a:pt x="351" y="918"/>
                  </a:lnTo>
                  <a:lnTo>
                    <a:pt x="341" y="927"/>
                  </a:lnTo>
                  <a:lnTo>
                    <a:pt x="341" y="937"/>
                  </a:lnTo>
                  <a:lnTo>
                    <a:pt x="331" y="937"/>
                  </a:lnTo>
                  <a:lnTo>
                    <a:pt x="331" y="918"/>
                  </a:lnTo>
                  <a:lnTo>
                    <a:pt x="331" y="908"/>
                  </a:lnTo>
                  <a:lnTo>
                    <a:pt x="322" y="908"/>
                  </a:lnTo>
                  <a:lnTo>
                    <a:pt x="322" y="918"/>
                  </a:lnTo>
                  <a:lnTo>
                    <a:pt x="322" y="937"/>
                  </a:lnTo>
                  <a:lnTo>
                    <a:pt x="322" y="947"/>
                  </a:lnTo>
                  <a:lnTo>
                    <a:pt x="322" y="957"/>
                  </a:lnTo>
                  <a:lnTo>
                    <a:pt x="341" y="966"/>
                  </a:lnTo>
                  <a:lnTo>
                    <a:pt x="351" y="976"/>
                  </a:lnTo>
                  <a:lnTo>
                    <a:pt x="371" y="957"/>
                  </a:lnTo>
                  <a:lnTo>
                    <a:pt x="380" y="957"/>
                  </a:lnTo>
                  <a:lnTo>
                    <a:pt x="390" y="976"/>
                  </a:lnTo>
                  <a:lnTo>
                    <a:pt x="400" y="976"/>
                  </a:lnTo>
                  <a:lnTo>
                    <a:pt x="439" y="966"/>
                  </a:lnTo>
                  <a:lnTo>
                    <a:pt x="449" y="947"/>
                  </a:lnTo>
                  <a:lnTo>
                    <a:pt x="478" y="947"/>
                  </a:lnTo>
                  <a:lnTo>
                    <a:pt x="488" y="976"/>
                  </a:lnTo>
                  <a:lnTo>
                    <a:pt x="458" y="986"/>
                  </a:lnTo>
                  <a:lnTo>
                    <a:pt x="410" y="1044"/>
                  </a:lnTo>
                  <a:lnTo>
                    <a:pt x="410" y="1074"/>
                  </a:lnTo>
                  <a:lnTo>
                    <a:pt x="390" y="1083"/>
                  </a:lnTo>
                  <a:lnTo>
                    <a:pt x="371" y="1083"/>
                  </a:lnTo>
                  <a:lnTo>
                    <a:pt x="351" y="1093"/>
                  </a:lnTo>
                  <a:lnTo>
                    <a:pt x="331" y="1113"/>
                  </a:lnTo>
                  <a:lnTo>
                    <a:pt x="302" y="1122"/>
                  </a:lnTo>
                  <a:lnTo>
                    <a:pt x="292" y="1132"/>
                  </a:lnTo>
                  <a:lnTo>
                    <a:pt x="273" y="1152"/>
                  </a:lnTo>
                  <a:lnTo>
                    <a:pt x="244" y="1152"/>
                  </a:lnTo>
                  <a:lnTo>
                    <a:pt x="224" y="1152"/>
                  </a:lnTo>
                  <a:lnTo>
                    <a:pt x="195" y="1152"/>
                  </a:lnTo>
                  <a:lnTo>
                    <a:pt x="175" y="1152"/>
                  </a:lnTo>
                  <a:lnTo>
                    <a:pt x="156" y="1152"/>
                  </a:lnTo>
                  <a:lnTo>
                    <a:pt x="146" y="1142"/>
                  </a:lnTo>
                  <a:lnTo>
                    <a:pt x="88" y="1152"/>
                  </a:lnTo>
                  <a:lnTo>
                    <a:pt x="68" y="1142"/>
                  </a:lnTo>
                  <a:lnTo>
                    <a:pt x="58" y="1132"/>
                  </a:lnTo>
                  <a:lnTo>
                    <a:pt x="39" y="1122"/>
                  </a:lnTo>
                  <a:lnTo>
                    <a:pt x="29" y="1113"/>
                  </a:lnTo>
                  <a:lnTo>
                    <a:pt x="19" y="1093"/>
                  </a:lnTo>
                  <a:lnTo>
                    <a:pt x="10" y="1093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Freeform 115"/>
            <p:cNvSpPr>
              <a:spLocks/>
            </p:cNvSpPr>
            <p:nvPr/>
          </p:nvSpPr>
          <p:spPr bwMode="auto">
            <a:xfrm>
              <a:off x="6613" y="3093"/>
              <a:ext cx="1120" cy="761"/>
            </a:xfrm>
            <a:custGeom>
              <a:avLst/>
              <a:gdLst>
                <a:gd name="T0" fmla="*/ 225 w 1122"/>
                <a:gd name="T1" fmla="*/ 390 h 761"/>
                <a:gd name="T2" fmla="*/ 205 w 1122"/>
                <a:gd name="T3" fmla="*/ 439 h 761"/>
                <a:gd name="T4" fmla="*/ 332 w 1122"/>
                <a:gd name="T5" fmla="*/ 478 h 761"/>
                <a:gd name="T6" fmla="*/ 400 w 1122"/>
                <a:gd name="T7" fmla="*/ 458 h 761"/>
                <a:gd name="T8" fmla="*/ 478 w 1122"/>
                <a:gd name="T9" fmla="*/ 478 h 761"/>
                <a:gd name="T10" fmla="*/ 537 w 1122"/>
                <a:gd name="T11" fmla="*/ 468 h 761"/>
                <a:gd name="T12" fmla="*/ 576 w 1122"/>
                <a:gd name="T13" fmla="*/ 488 h 761"/>
                <a:gd name="T14" fmla="*/ 615 w 1122"/>
                <a:gd name="T15" fmla="*/ 537 h 761"/>
                <a:gd name="T16" fmla="*/ 654 w 1122"/>
                <a:gd name="T17" fmla="*/ 576 h 761"/>
                <a:gd name="T18" fmla="*/ 693 w 1122"/>
                <a:gd name="T19" fmla="*/ 615 h 761"/>
                <a:gd name="T20" fmla="*/ 742 w 1122"/>
                <a:gd name="T21" fmla="*/ 693 h 761"/>
                <a:gd name="T22" fmla="*/ 800 w 1122"/>
                <a:gd name="T23" fmla="*/ 741 h 761"/>
                <a:gd name="T24" fmla="*/ 869 w 1122"/>
                <a:gd name="T25" fmla="*/ 751 h 761"/>
                <a:gd name="T26" fmla="*/ 937 w 1122"/>
                <a:gd name="T27" fmla="*/ 741 h 761"/>
                <a:gd name="T28" fmla="*/ 986 w 1122"/>
                <a:gd name="T29" fmla="*/ 741 h 761"/>
                <a:gd name="T30" fmla="*/ 1064 w 1122"/>
                <a:gd name="T31" fmla="*/ 751 h 761"/>
                <a:gd name="T32" fmla="*/ 1083 w 1122"/>
                <a:gd name="T33" fmla="*/ 693 h 761"/>
                <a:gd name="T34" fmla="*/ 1073 w 1122"/>
                <a:gd name="T35" fmla="*/ 624 h 761"/>
                <a:gd name="T36" fmla="*/ 1044 w 1122"/>
                <a:gd name="T37" fmla="*/ 585 h 761"/>
                <a:gd name="T38" fmla="*/ 986 w 1122"/>
                <a:gd name="T39" fmla="*/ 556 h 761"/>
                <a:gd name="T40" fmla="*/ 956 w 1122"/>
                <a:gd name="T41" fmla="*/ 507 h 761"/>
                <a:gd name="T42" fmla="*/ 976 w 1122"/>
                <a:gd name="T43" fmla="*/ 458 h 761"/>
                <a:gd name="T44" fmla="*/ 1005 w 1122"/>
                <a:gd name="T45" fmla="*/ 410 h 761"/>
                <a:gd name="T46" fmla="*/ 1015 w 1122"/>
                <a:gd name="T47" fmla="*/ 380 h 761"/>
                <a:gd name="T48" fmla="*/ 1044 w 1122"/>
                <a:gd name="T49" fmla="*/ 341 h 761"/>
                <a:gd name="T50" fmla="*/ 1025 w 1122"/>
                <a:gd name="T51" fmla="*/ 283 h 761"/>
                <a:gd name="T52" fmla="*/ 1064 w 1122"/>
                <a:gd name="T53" fmla="*/ 273 h 761"/>
                <a:gd name="T54" fmla="*/ 1112 w 1122"/>
                <a:gd name="T55" fmla="*/ 224 h 761"/>
                <a:gd name="T56" fmla="*/ 1083 w 1122"/>
                <a:gd name="T57" fmla="*/ 166 h 761"/>
                <a:gd name="T58" fmla="*/ 1034 w 1122"/>
                <a:gd name="T59" fmla="*/ 176 h 761"/>
                <a:gd name="T60" fmla="*/ 976 w 1122"/>
                <a:gd name="T61" fmla="*/ 215 h 761"/>
                <a:gd name="T62" fmla="*/ 927 w 1122"/>
                <a:gd name="T63" fmla="*/ 254 h 761"/>
                <a:gd name="T64" fmla="*/ 898 w 1122"/>
                <a:gd name="T65" fmla="*/ 273 h 761"/>
                <a:gd name="T66" fmla="*/ 849 w 1122"/>
                <a:gd name="T67" fmla="*/ 215 h 761"/>
                <a:gd name="T68" fmla="*/ 781 w 1122"/>
                <a:gd name="T69" fmla="*/ 224 h 761"/>
                <a:gd name="T70" fmla="*/ 800 w 1122"/>
                <a:gd name="T71" fmla="*/ 156 h 761"/>
                <a:gd name="T72" fmla="*/ 830 w 1122"/>
                <a:gd name="T73" fmla="*/ 68 h 761"/>
                <a:gd name="T74" fmla="*/ 849 w 1122"/>
                <a:gd name="T75" fmla="*/ 39 h 761"/>
                <a:gd name="T76" fmla="*/ 849 w 1122"/>
                <a:gd name="T77" fmla="*/ 29 h 761"/>
                <a:gd name="T78" fmla="*/ 800 w 1122"/>
                <a:gd name="T79" fmla="*/ 10 h 761"/>
                <a:gd name="T80" fmla="*/ 634 w 1122"/>
                <a:gd name="T81" fmla="*/ 68 h 761"/>
                <a:gd name="T82" fmla="*/ 595 w 1122"/>
                <a:gd name="T83" fmla="*/ 127 h 761"/>
                <a:gd name="T84" fmla="*/ 517 w 1122"/>
                <a:gd name="T85" fmla="*/ 136 h 761"/>
                <a:gd name="T86" fmla="*/ 488 w 1122"/>
                <a:gd name="T87" fmla="*/ 156 h 761"/>
                <a:gd name="T88" fmla="*/ 430 w 1122"/>
                <a:gd name="T89" fmla="*/ 176 h 761"/>
                <a:gd name="T90" fmla="*/ 391 w 1122"/>
                <a:gd name="T91" fmla="*/ 166 h 761"/>
                <a:gd name="T92" fmla="*/ 303 w 1122"/>
                <a:gd name="T93" fmla="*/ 176 h 761"/>
                <a:gd name="T94" fmla="*/ 225 w 1122"/>
                <a:gd name="T95" fmla="*/ 146 h 761"/>
                <a:gd name="T96" fmla="*/ 166 w 1122"/>
                <a:gd name="T97" fmla="*/ 166 h 761"/>
                <a:gd name="T98" fmla="*/ 108 w 1122"/>
                <a:gd name="T99" fmla="*/ 146 h 761"/>
                <a:gd name="T100" fmla="*/ 20 w 1122"/>
                <a:gd name="T101" fmla="*/ 146 h 761"/>
                <a:gd name="T102" fmla="*/ 49 w 1122"/>
                <a:gd name="T103" fmla="*/ 215 h 761"/>
                <a:gd name="T104" fmla="*/ 39 w 1122"/>
                <a:gd name="T105" fmla="*/ 254 h 761"/>
                <a:gd name="T106" fmla="*/ 117 w 1122"/>
                <a:gd name="T107" fmla="*/ 244 h 761"/>
                <a:gd name="T108" fmla="*/ 156 w 1122"/>
                <a:gd name="T109" fmla="*/ 273 h 761"/>
                <a:gd name="T110" fmla="*/ 186 w 1122"/>
                <a:gd name="T111" fmla="*/ 332 h 76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22"/>
                <a:gd name="T169" fmla="*/ 0 h 761"/>
                <a:gd name="T170" fmla="*/ 1122 w 1122"/>
                <a:gd name="T171" fmla="*/ 761 h 76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22" h="761">
                  <a:moveTo>
                    <a:pt x="205" y="361"/>
                  </a:moveTo>
                  <a:lnTo>
                    <a:pt x="205" y="371"/>
                  </a:lnTo>
                  <a:lnTo>
                    <a:pt x="225" y="380"/>
                  </a:lnTo>
                  <a:lnTo>
                    <a:pt x="225" y="390"/>
                  </a:lnTo>
                  <a:lnTo>
                    <a:pt x="205" y="390"/>
                  </a:lnTo>
                  <a:lnTo>
                    <a:pt x="205" y="410"/>
                  </a:lnTo>
                  <a:lnTo>
                    <a:pt x="205" y="419"/>
                  </a:lnTo>
                  <a:lnTo>
                    <a:pt x="205" y="439"/>
                  </a:lnTo>
                  <a:lnTo>
                    <a:pt x="234" y="449"/>
                  </a:lnTo>
                  <a:lnTo>
                    <a:pt x="264" y="497"/>
                  </a:lnTo>
                  <a:lnTo>
                    <a:pt x="303" y="488"/>
                  </a:lnTo>
                  <a:lnTo>
                    <a:pt x="332" y="478"/>
                  </a:lnTo>
                  <a:lnTo>
                    <a:pt x="352" y="458"/>
                  </a:lnTo>
                  <a:lnTo>
                    <a:pt x="361" y="458"/>
                  </a:lnTo>
                  <a:lnTo>
                    <a:pt x="381" y="458"/>
                  </a:lnTo>
                  <a:lnTo>
                    <a:pt x="400" y="458"/>
                  </a:lnTo>
                  <a:lnTo>
                    <a:pt x="430" y="458"/>
                  </a:lnTo>
                  <a:lnTo>
                    <a:pt x="439" y="478"/>
                  </a:lnTo>
                  <a:lnTo>
                    <a:pt x="459" y="478"/>
                  </a:lnTo>
                  <a:lnTo>
                    <a:pt x="478" y="478"/>
                  </a:lnTo>
                  <a:lnTo>
                    <a:pt x="478" y="458"/>
                  </a:lnTo>
                  <a:lnTo>
                    <a:pt x="498" y="458"/>
                  </a:lnTo>
                  <a:lnTo>
                    <a:pt x="517" y="468"/>
                  </a:lnTo>
                  <a:lnTo>
                    <a:pt x="537" y="468"/>
                  </a:lnTo>
                  <a:lnTo>
                    <a:pt x="547" y="47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86" y="497"/>
                  </a:lnTo>
                  <a:lnTo>
                    <a:pt x="595" y="517"/>
                  </a:lnTo>
                  <a:lnTo>
                    <a:pt x="605" y="527"/>
                  </a:lnTo>
                  <a:lnTo>
                    <a:pt x="615" y="537"/>
                  </a:lnTo>
                  <a:lnTo>
                    <a:pt x="625" y="556"/>
                  </a:lnTo>
                  <a:lnTo>
                    <a:pt x="644" y="556"/>
                  </a:lnTo>
                  <a:lnTo>
                    <a:pt x="654" y="566"/>
                  </a:lnTo>
                  <a:lnTo>
                    <a:pt x="654" y="576"/>
                  </a:lnTo>
                  <a:lnTo>
                    <a:pt x="664" y="585"/>
                  </a:lnTo>
                  <a:lnTo>
                    <a:pt x="683" y="595"/>
                  </a:lnTo>
                  <a:lnTo>
                    <a:pt x="683" y="615"/>
                  </a:lnTo>
                  <a:lnTo>
                    <a:pt x="693" y="615"/>
                  </a:lnTo>
                  <a:lnTo>
                    <a:pt x="703" y="634"/>
                  </a:lnTo>
                  <a:lnTo>
                    <a:pt x="732" y="663"/>
                  </a:lnTo>
                  <a:lnTo>
                    <a:pt x="742" y="673"/>
                  </a:lnTo>
                  <a:lnTo>
                    <a:pt x="742" y="693"/>
                  </a:lnTo>
                  <a:lnTo>
                    <a:pt x="771" y="702"/>
                  </a:lnTo>
                  <a:lnTo>
                    <a:pt x="781" y="722"/>
                  </a:lnTo>
                  <a:lnTo>
                    <a:pt x="790" y="741"/>
                  </a:lnTo>
                  <a:lnTo>
                    <a:pt x="800" y="741"/>
                  </a:lnTo>
                  <a:lnTo>
                    <a:pt x="810" y="761"/>
                  </a:lnTo>
                  <a:lnTo>
                    <a:pt x="830" y="761"/>
                  </a:lnTo>
                  <a:lnTo>
                    <a:pt x="859" y="751"/>
                  </a:lnTo>
                  <a:lnTo>
                    <a:pt x="869" y="751"/>
                  </a:lnTo>
                  <a:lnTo>
                    <a:pt x="888" y="732"/>
                  </a:lnTo>
                  <a:lnTo>
                    <a:pt x="898" y="732"/>
                  </a:lnTo>
                  <a:lnTo>
                    <a:pt x="917" y="741"/>
                  </a:lnTo>
                  <a:lnTo>
                    <a:pt x="937" y="741"/>
                  </a:lnTo>
                  <a:lnTo>
                    <a:pt x="947" y="732"/>
                  </a:lnTo>
                  <a:lnTo>
                    <a:pt x="956" y="732"/>
                  </a:lnTo>
                  <a:lnTo>
                    <a:pt x="976" y="732"/>
                  </a:lnTo>
                  <a:lnTo>
                    <a:pt x="986" y="741"/>
                  </a:lnTo>
                  <a:lnTo>
                    <a:pt x="1005" y="751"/>
                  </a:lnTo>
                  <a:lnTo>
                    <a:pt x="1034" y="761"/>
                  </a:lnTo>
                  <a:lnTo>
                    <a:pt x="1044" y="751"/>
                  </a:lnTo>
                  <a:lnTo>
                    <a:pt x="1064" y="751"/>
                  </a:lnTo>
                  <a:lnTo>
                    <a:pt x="1064" y="722"/>
                  </a:lnTo>
                  <a:lnTo>
                    <a:pt x="1064" y="712"/>
                  </a:lnTo>
                  <a:lnTo>
                    <a:pt x="1073" y="693"/>
                  </a:lnTo>
                  <a:lnTo>
                    <a:pt x="1083" y="693"/>
                  </a:lnTo>
                  <a:lnTo>
                    <a:pt x="1083" y="673"/>
                  </a:lnTo>
                  <a:lnTo>
                    <a:pt x="1073" y="654"/>
                  </a:lnTo>
                  <a:lnTo>
                    <a:pt x="1064" y="644"/>
                  </a:lnTo>
                  <a:lnTo>
                    <a:pt x="1073" y="624"/>
                  </a:lnTo>
                  <a:lnTo>
                    <a:pt x="1064" y="615"/>
                  </a:lnTo>
                  <a:lnTo>
                    <a:pt x="1044" y="605"/>
                  </a:lnTo>
                  <a:lnTo>
                    <a:pt x="1044" y="595"/>
                  </a:lnTo>
                  <a:lnTo>
                    <a:pt x="1044" y="585"/>
                  </a:lnTo>
                  <a:lnTo>
                    <a:pt x="1025" y="576"/>
                  </a:lnTo>
                  <a:lnTo>
                    <a:pt x="1005" y="585"/>
                  </a:lnTo>
                  <a:lnTo>
                    <a:pt x="986" y="566"/>
                  </a:lnTo>
                  <a:lnTo>
                    <a:pt x="986" y="556"/>
                  </a:lnTo>
                  <a:lnTo>
                    <a:pt x="956" y="556"/>
                  </a:lnTo>
                  <a:lnTo>
                    <a:pt x="956" y="537"/>
                  </a:lnTo>
                  <a:lnTo>
                    <a:pt x="947" y="517"/>
                  </a:lnTo>
                  <a:lnTo>
                    <a:pt x="956" y="507"/>
                  </a:lnTo>
                  <a:lnTo>
                    <a:pt x="966" y="488"/>
                  </a:lnTo>
                  <a:lnTo>
                    <a:pt x="966" y="468"/>
                  </a:lnTo>
                  <a:lnTo>
                    <a:pt x="976" y="468"/>
                  </a:lnTo>
                  <a:lnTo>
                    <a:pt x="976" y="458"/>
                  </a:lnTo>
                  <a:lnTo>
                    <a:pt x="966" y="449"/>
                  </a:lnTo>
                  <a:lnTo>
                    <a:pt x="956" y="429"/>
                  </a:lnTo>
                  <a:lnTo>
                    <a:pt x="986" y="429"/>
                  </a:lnTo>
                  <a:lnTo>
                    <a:pt x="1005" y="410"/>
                  </a:lnTo>
                  <a:lnTo>
                    <a:pt x="1005" y="400"/>
                  </a:lnTo>
                  <a:lnTo>
                    <a:pt x="1005" y="380"/>
                  </a:lnTo>
                  <a:lnTo>
                    <a:pt x="1015" y="380"/>
                  </a:lnTo>
                  <a:lnTo>
                    <a:pt x="1015" y="361"/>
                  </a:lnTo>
                  <a:lnTo>
                    <a:pt x="1015" y="351"/>
                  </a:lnTo>
                  <a:lnTo>
                    <a:pt x="1025" y="351"/>
                  </a:lnTo>
                  <a:lnTo>
                    <a:pt x="1044" y="341"/>
                  </a:lnTo>
                  <a:lnTo>
                    <a:pt x="1064" y="332"/>
                  </a:lnTo>
                  <a:lnTo>
                    <a:pt x="1054" y="312"/>
                  </a:lnTo>
                  <a:lnTo>
                    <a:pt x="1044" y="302"/>
                  </a:lnTo>
                  <a:lnTo>
                    <a:pt x="1025" y="283"/>
                  </a:lnTo>
                  <a:lnTo>
                    <a:pt x="1025" y="273"/>
                  </a:lnTo>
                  <a:lnTo>
                    <a:pt x="1034" y="273"/>
                  </a:lnTo>
                  <a:lnTo>
                    <a:pt x="1044" y="283"/>
                  </a:lnTo>
                  <a:lnTo>
                    <a:pt x="1064" y="273"/>
                  </a:lnTo>
                  <a:lnTo>
                    <a:pt x="1093" y="263"/>
                  </a:lnTo>
                  <a:lnTo>
                    <a:pt x="1122" y="263"/>
                  </a:lnTo>
                  <a:lnTo>
                    <a:pt x="1122" y="244"/>
                  </a:lnTo>
                  <a:lnTo>
                    <a:pt x="1112" y="224"/>
                  </a:lnTo>
                  <a:lnTo>
                    <a:pt x="1103" y="224"/>
                  </a:lnTo>
                  <a:lnTo>
                    <a:pt x="1093" y="205"/>
                  </a:lnTo>
                  <a:lnTo>
                    <a:pt x="1093" y="185"/>
                  </a:lnTo>
                  <a:lnTo>
                    <a:pt x="1083" y="166"/>
                  </a:lnTo>
                  <a:lnTo>
                    <a:pt x="1064" y="156"/>
                  </a:lnTo>
                  <a:lnTo>
                    <a:pt x="1044" y="146"/>
                  </a:lnTo>
                  <a:lnTo>
                    <a:pt x="1034" y="176"/>
                  </a:lnTo>
                  <a:lnTo>
                    <a:pt x="1025" y="185"/>
                  </a:lnTo>
                  <a:lnTo>
                    <a:pt x="1005" y="185"/>
                  </a:lnTo>
                  <a:lnTo>
                    <a:pt x="976" y="195"/>
                  </a:lnTo>
                  <a:lnTo>
                    <a:pt x="976" y="215"/>
                  </a:lnTo>
                  <a:lnTo>
                    <a:pt x="966" y="224"/>
                  </a:lnTo>
                  <a:lnTo>
                    <a:pt x="966" y="234"/>
                  </a:lnTo>
                  <a:lnTo>
                    <a:pt x="947" y="244"/>
                  </a:lnTo>
                  <a:lnTo>
                    <a:pt x="927" y="254"/>
                  </a:lnTo>
                  <a:lnTo>
                    <a:pt x="927" y="273"/>
                  </a:lnTo>
                  <a:lnTo>
                    <a:pt x="908" y="273"/>
                  </a:lnTo>
                  <a:lnTo>
                    <a:pt x="908" y="263"/>
                  </a:lnTo>
                  <a:lnTo>
                    <a:pt x="898" y="273"/>
                  </a:lnTo>
                  <a:lnTo>
                    <a:pt x="878" y="283"/>
                  </a:lnTo>
                  <a:lnTo>
                    <a:pt x="859" y="263"/>
                  </a:lnTo>
                  <a:lnTo>
                    <a:pt x="849" y="234"/>
                  </a:lnTo>
                  <a:lnTo>
                    <a:pt x="849" y="215"/>
                  </a:lnTo>
                  <a:lnTo>
                    <a:pt x="820" y="224"/>
                  </a:lnTo>
                  <a:lnTo>
                    <a:pt x="810" y="234"/>
                  </a:lnTo>
                  <a:lnTo>
                    <a:pt x="790" y="234"/>
                  </a:lnTo>
                  <a:lnTo>
                    <a:pt x="781" y="224"/>
                  </a:lnTo>
                  <a:lnTo>
                    <a:pt x="790" y="195"/>
                  </a:lnTo>
                  <a:lnTo>
                    <a:pt x="800" y="176"/>
                  </a:lnTo>
                  <a:lnTo>
                    <a:pt x="800" y="166"/>
                  </a:lnTo>
                  <a:lnTo>
                    <a:pt x="800" y="156"/>
                  </a:lnTo>
                  <a:lnTo>
                    <a:pt x="800" y="136"/>
                  </a:lnTo>
                  <a:lnTo>
                    <a:pt x="810" y="117"/>
                  </a:lnTo>
                  <a:lnTo>
                    <a:pt x="820" y="88"/>
                  </a:lnTo>
                  <a:lnTo>
                    <a:pt x="830" y="68"/>
                  </a:lnTo>
                  <a:lnTo>
                    <a:pt x="849" y="58"/>
                  </a:lnTo>
                  <a:lnTo>
                    <a:pt x="839" y="49"/>
                  </a:lnTo>
                  <a:lnTo>
                    <a:pt x="839" y="39"/>
                  </a:lnTo>
                  <a:lnTo>
                    <a:pt x="849" y="39"/>
                  </a:lnTo>
                  <a:lnTo>
                    <a:pt x="839" y="29"/>
                  </a:lnTo>
                  <a:lnTo>
                    <a:pt x="849" y="29"/>
                  </a:lnTo>
                  <a:lnTo>
                    <a:pt x="859" y="19"/>
                  </a:lnTo>
                  <a:lnTo>
                    <a:pt x="830" y="10"/>
                  </a:lnTo>
                  <a:lnTo>
                    <a:pt x="810" y="0"/>
                  </a:lnTo>
                  <a:lnTo>
                    <a:pt x="800" y="10"/>
                  </a:lnTo>
                  <a:lnTo>
                    <a:pt x="771" y="19"/>
                  </a:lnTo>
                  <a:lnTo>
                    <a:pt x="712" y="39"/>
                  </a:lnTo>
                  <a:lnTo>
                    <a:pt x="664" y="58"/>
                  </a:lnTo>
                  <a:lnTo>
                    <a:pt x="634" y="68"/>
                  </a:lnTo>
                  <a:lnTo>
                    <a:pt x="595" y="88"/>
                  </a:lnTo>
                  <a:lnTo>
                    <a:pt x="595" y="107"/>
                  </a:lnTo>
                  <a:lnTo>
                    <a:pt x="605" y="117"/>
                  </a:lnTo>
                  <a:lnTo>
                    <a:pt x="595" y="127"/>
                  </a:lnTo>
                  <a:lnTo>
                    <a:pt x="556" y="136"/>
                  </a:lnTo>
                  <a:lnTo>
                    <a:pt x="537" y="136"/>
                  </a:lnTo>
                  <a:lnTo>
                    <a:pt x="527" y="136"/>
                  </a:lnTo>
                  <a:lnTo>
                    <a:pt x="517" y="136"/>
                  </a:lnTo>
                  <a:lnTo>
                    <a:pt x="517" y="156"/>
                  </a:lnTo>
                  <a:lnTo>
                    <a:pt x="498" y="156"/>
                  </a:lnTo>
                  <a:lnTo>
                    <a:pt x="498" y="146"/>
                  </a:lnTo>
                  <a:lnTo>
                    <a:pt x="488" y="156"/>
                  </a:lnTo>
                  <a:lnTo>
                    <a:pt x="478" y="156"/>
                  </a:lnTo>
                  <a:lnTo>
                    <a:pt x="459" y="156"/>
                  </a:lnTo>
                  <a:lnTo>
                    <a:pt x="449" y="166"/>
                  </a:lnTo>
                  <a:lnTo>
                    <a:pt x="430" y="176"/>
                  </a:lnTo>
                  <a:lnTo>
                    <a:pt x="420" y="166"/>
                  </a:lnTo>
                  <a:lnTo>
                    <a:pt x="410" y="156"/>
                  </a:lnTo>
                  <a:lnTo>
                    <a:pt x="400" y="166"/>
                  </a:lnTo>
                  <a:lnTo>
                    <a:pt x="391" y="166"/>
                  </a:lnTo>
                  <a:lnTo>
                    <a:pt x="361" y="166"/>
                  </a:lnTo>
                  <a:lnTo>
                    <a:pt x="332" y="176"/>
                  </a:lnTo>
                  <a:lnTo>
                    <a:pt x="313" y="185"/>
                  </a:lnTo>
                  <a:lnTo>
                    <a:pt x="303" y="176"/>
                  </a:lnTo>
                  <a:lnTo>
                    <a:pt x="283" y="156"/>
                  </a:lnTo>
                  <a:lnTo>
                    <a:pt x="264" y="146"/>
                  </a:lnTo>
                  <a:lnTo>
                    <a:pt x="244" y="146"/>
                  </a:lnTo>
                  <a:lnTo>
                    <a:pt x="225" y="146"/>
                  </a:lnTo>
                  <a:lnTo>
                    <a:pt x="195" y="146"/>
                  </a:lnTo>
                  <a:lnTo>
                    <a:pt x="186" y="146"/>
                  </a:lnTo>
                  <a:lnTo>
                    <a:pt x="186" y="166"/>
                  </a:lnTo>
                  <a:lnTo>
                    <a:pt x="166" y="166"/>
                  </a:lnTo>
                  <a:lnTo>
                    <a:pt x="147" y="156"/>
                  </a:lnTo>
                  <a:lnTo>
                    <a:pt x="137" y="136"/>
                  </a:lnTo>
                  <a:lnTo>
                    <a:pt x="117" y="156"/>
                  </a:lnTo>
                  <a:lnTo>
                    <a:pt x="108" y="146"/>
                  </a:lnTo>
                  <a:lnTo>
                    <a:pt x="88" y="136"/>
                  </a:lnTo>
                  <a:lnTo>
                    <a:pt x="69" y="136"/>
                  </a:lnTo>
                  <a:lnTo>
                    <a:pt x="49" y="136"/>
                  </a:lnTo>
                  <a:lnTo>
                    <a:pt x="20" y="146"/>
                  </a:lnTo>
                  <a:lnTo>
                    <a:pt x="10" y="156"/>
                  </a:lnTo>
                  <a:lnTo>
                    <a:pt x="0" y="176"/>
                  </a:lnTo>
                  <a:lnTo>
                    <a:pt x="20" y="205"/>
                  </a:lnTo>
                  <a:lnTo>
                    <a:pt x="49" y="215"/>
                  </a:lnTo>
                  <a:lnTo>
                    <a:pt x="59" y="224"/>
                  </a:lnTo>
                  <a:lnTo>
                    <a:pt x="39" y="234"/>
                  </a:lnTo>
                  <a:lnTo>
                    <a:pt x="30" y="244"/>
                  </a:lnTo>
                  <a:lnTo>
                    <a:pt x="39" y="254"/>
                  </a:lnTo>
                  <a:lnTo>
                    <a:pt x="49" y="263"/>
                  </a:lnTo>
                  <a:lnTo>
                    <a:pt x="78" y="244"/>
                  </a:lnTo>
                  <a:lnTo>
                    <a:pt x="108" y="234"/>
                  </a:lnTo>
                  <a:lnTo>
                    <a:pt x="117" y="244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37" y="293"/>
                  </a:lnTo>
                  <a:lnTo>
                    <a:pt x="156" y="273"/>
                  </a:lnTo>
                  <a:lnTo>
                    <a:pt x="176" y="283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86" y="332"/>
                  </a:lnTo>
                  <a:lnTo>
                    <a:pt x="186" y="351"/>
                  </a:lnTo>
                  <a:lnTo>
                    <a:pt x="186" y="361"/>
                  </a:lnTo>
                  <a:lnTo>
                    <a:pt x="205" y="361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17" name="Group 112"/>
            <p:cNvGrpSpPr>
              <a:grpSpLocks/>
            </p:cNvGrpSpPr>
            <p:nvPr/>
          </p:nvGrpSpPr>
          <p:grpSpPr bwMode="auto">
            <a:xfrm>
              <a:off x="6612" y="3093"/>
              <a:ext cx="1122" cy="761"/>
              <a:chOff x="6613" y="3093"/>
              <a:chExt cx="1122" cy="761"/>
            </a:xfrm>
          </p:grpSpPr>
          <p:sp>
            <p:nvSpPr>
              <p:cNvPr id="314" name="Freeform 114"/>
              <p:cNvSpPr>
                <a:spLocks/>
              </p:cNvSpPr>
              <p:nvPr/>
            </p:nvSpPr>
            <p:spPr bwMode="auto">
              <a:xfrm>
                <a:off x="6614" y="3093"/>
                <a:ext cx="1122" cy="762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  <a:lnTo>
                      <a:pt x="205" y="361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5" name="Freeform 113"/>
              <p:cNvSpPr>
                <a:spLocks/>
              </p:cNvSpPr>
              <p:nvPr/>
            </p:nvSpPr>
            <p:spPr bwMode="auto">
              <a:xfrm>
                <a:off x="6614" y="3093"/>
                <a:ext cx="1122" cy="762"/>
              </a:xfrm>
              <a:custGeom>
                <a:avLst/>
                <a:gdLst>
                  <a:gd name="T0" fmla="*/ 225 w 1122"/>
                  <a:gd name="T1" fmla="*/ 390 h 761"/>
                  <a:gd name="T2" fmla="*/ 205 w 1122"/>
                  <a:gd name="T3" fmla="*/ 439 h 761"/>
                  <a:gd name="T4" fmla="*/ 332 w 1122"/>
                  <a:gd name="T5" fmla="*/ 478 h 761"/>
                  <a:gd name="T6" fmla="*/ 400 w 1122"/>
                  <a:gd name="T7" fmla="*/ 458 h 761"/>
                  <a:gd name="T8" fmla="*/ 478 w 1122"/>
                  <a:gd name="T9" fmla="*/ 478 h 761"/>
                  <a:gd name="T10" fmla="*/ 537 w 1122"/>
                  <a:gd name="T11" fmla="*/ 468 h 761"/>
                  <a:gd name="T12" fmla="*/ 576 w 1122"/>
                  <a:gd name="T13" fmla="*/ 488 h 761"/>
                  <a:gd name="T14" fmla="*/ 615 w 1122"/>
                  <a:gd name="T15" fmla="*/ 537 h 761"/>
                  <a:gd name="T16" fmla="*/ 654 w 1122"/>
                  <a:gd name="T17" fmla="*/ 576 h 761"/>
                  <a:gd name="T18" fmla="*/ 693 w 1122"/>
                  <a:gd name="T19" fmla="*/ 615 h 761"/>
                  <a:gd name="T20" fmla="*/ 751 w 1122"/>
                  <a:gd name="T21" fmla="*/ 693 h 761"/>
                  <a:gd name="T22" fmla="*/ 800 w 1122"/>
                  <a:gd name="T23" fmla="*/ 741 h 761"/>
                  <a:gd name="T24" fmla="*/ 869 w 1122"/>
                  <a:gd name="T25" fmla="*/ 741 h 761"/>
                  <a:gd name="T26" fmla="*/ 937 w 1122"/>
                  <a:gd name="T27" fmla="*/ 741 h 761"/>
                  <a:gd name="T28" fmla="*/ 986 w 1122"/>
                  <a:gd name="T29" fmla="*/ 741 h 761"/>
                  <a:gd name="T30" fmla="*/ 1064 w 1122"/>
                  <a:gd name="T31" fmla="*/ 741 h 761"/>
                  <a:gd name="T32" fmla="*/ 1083 w 1122"/>
                  <a:gd name="T33" fmla="*/ 683 h 761"/>
                  <a:gd name="T34" fmla="*/ 1073 w 1122"/>
                  <a:gd name="T35" fmla="*/ 624 h 761"/>
                  <a:gd name="T36" fmla="*/ 1044 w 1122"/>
                  <a:gd name="T37" fmla="*/ 585 h 761"/>
                  <a:gd name="T38" fmla="*/ 986 w 1122"/>
                  <a:gd name="T39" fmla="*/ 556 h 761"/>
                  <a:gd name="T40" fmla="*/ 956 w 1122"/>
                  <a:gd name="T41" fmla="*/ 507 h 761"/>
                  <a:gd name="T42" fmla="*/ 976 w 1122"/>
                  <a:gd name="T43" fmla="*/ 458 h 761"/>
                  <a:gd name="T44" fmla="*/ 1005 w 1122"/>
                  <a:gd name="T45" fmla="*/ 410 h 761"/>
                  <a:gd name="T46" fmla="*/ 1015 w 1122"/>
                  <a:gd name="T47" fmla="*/ 380 h 761"/>
                  <a:gd name="T48" fmla="*/ 1044 w 1122"/>
                  <a:gd name="T49" fmla="*/ 341 h 761"/>
                  <a:gd name="T50" fmla="*/ 1025 w 1122"/>
                  <a:gd name="T51" fmla="*/ 283 h 761"/>
                  <a:gd name="T52" fmla="*/ 1064 w 1122"/>
                  <a:gd name="T53" fmla="*/ 263 h 761"/>
                  <a:gd name="T54" fmla="*/ 1112 w 1122"/>
                  <a:gd name="T55" fmla="*/ 224 h 761"/>
                  <a:gd name="T56" fmla="*/ 1083 w 1122"/>
                  <a:gd name="T57" fmla="*/ 166 h 761"/>
                  <a:gd name="T58" fmla="*/ 1034 w 1122"/>
                  <a:gd name="T59" fmla="*/ 176 h 761"/>
                  <a:gd name="T60" fmla="*/ 976 w 1122"/>
                  <a:gd name="T61" fmla="*/ 215 h 761"/>
                  <a:gd name="T62" fmla="*/ 927 w 1122"/>
                  <a:gd name="T63" fmla="*/ 254 h 761"/>
                  <a:gd name="T64" fmla="*/ 898 w 1122"/>
                  <a:gd name="T65" fmla="*/ 263 h 761"/>
                  <a:gd name="T66" fmla="*/ 849 w 1122"/>
                  <a:gd name="T67" fmla="*/ 215 h 761"/>
                  <a:gd name="T68" fmla="*/ 781 w 1122"/>
                  <a:gd name="T69" fmla="*/ 224 h 761"/>
                  <a:gd name="T70" fmla="*/ 800 w 1122"/>
                  <a:gd name="T71" fmla="*/ 156 h 761"/>
                  <a:gd name="T72" fmla="*/ 830 w 1122"/>
                  <a:gd name="T73" fmla="*/ 68 h 761"/>
                  <a:gd name="T74" fmla="*/ 849 w 1122"/>
                  <a:gd name="T75" fmla="*/ 39 h 761"/>
                  <a:gd name="T76" fmla="*/ 849 w 1122"/>
                  <a:gd name="T77" fmla="*/ 29 h 761"/>
                  <a:gd name="T78" fmla="*/ 800 w 1122"/>
                  <a:gd name="T79" fmla="*/ 10 h 761"/>
                  <a:gd name="T80" fmla="*/ 634 w 1122"/>
                  <a:gd name="T81" fmla="*/ 68 h 761"/>
                  <a:gd name="T82" fmla="*/ 595 w 1122"/>
                  <a:gd name="T83" fmla="*/ 127 h 761"/>
                  <a:gd name="T84" fmla="*/ 517 w 1122"/>
                  <a:gd name="T85" fmla="*/ 127 h 761"/>
                  <a:gd name="T86" fmla="*/ 488 w 1122"/>
                  <a:gd name="T87" fmla="*/ 146 h 761"/>
                  <a:gd name="T88" fmla="*/ 430 w 1122"/>
                  <a:gd name="T89" fmla="*/ 176 h 761"/>
                  <a:gd name="T90" fmla="*/ 391 w 1122"/>
                  <a:gd name="T91" fmla="*/ 166 h 761"/>
                  <a:gd name="T92" fmla="*/ 303 w 1122"/>
                  <a:gd name="T93" fmla="*/ 176 h 761"/>
                  <a:gd name="T94" fmla="*/ 225 w 1122"/>
                  <a:gd name="T95" fmla="*/ 146 h 761"/>
                  <a:gd name="T96" fmla="*/ 166 w 1122"/>
                  <a:gd name="T97" fmla="*/ 166 h 761"/>
                  <a:gd name="T98" fmla="*/ 98 w 1122"/>
                  <a:gd name="T99" fmla="*/ 146 h 761"/>
                  <a:gd name="T100" fmla="*/ 20 w 1122"/>
                  <a:gd name="T101" fmla="*/ 146 h 761"/>
                  <a:gd name="T102" fmla="*/ 49 w 1122"/>
                  <a:gd name="T103" fmla="*/ 215 h 761"/>
                  <a:gd name="T104" fmla="*/ 39 w 1122"/>
                  <a:gd name="T105" fmla="*/ 254 h 761"/>
                  <a:gd name="T106" fmla="*/ 117 w 1122"/>
                  <a:gd name="T107" fmla="*/ 244 h 761"/>
                  <a:gd name="T108" fmla="*/ 156 w 1122"/>
                  <a:gd name="T109" fmla="*/ 273 h 761"/>
                  <a:gd name="T110" fmla="*/ 186 w 1122"/>
                  <a:gd name="T111" fmla="*/ 332 h 76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122"/>
                  <a:gd name="T169" fmla="*/ 0 h 761"/>
                  <a:gd name="T170" fmla="*/ 1122 w 1122"/>
                  <a:gd name="T171" fmla="*/ 761 h 76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122" h="761">
                    <a:moveTo>
                      <a:pt x="205" y="361"/>
                    </a:moveTo>
                    <a:lnTo>
                      <a:pt x="205" y="371"/>
                    </a:lnTo>
                    <a:lnTo>
                      <a:pt x="225" y="380"/>
                    </a:lnTo>
                    <a:lnTo>
                      <a:pt x="225" y="390"/>
                    </a:lnTo>
                    <a:lnTo>
                      <a:pt x="205" y="390"/>
                    </a:lnTo>
                    <a:lnTo>
                      <a:pt x="205" y="410"/>
                    </a:lnTo>
                    <a:lnTo>
                      <a:pt x="205" y="419"/>
                    </a:lnTo>
                    <a:lnTo>
                      <a:pt x="205" y="439"/>
                    </a:lnTo>
                    <a:lnTo>
                      <a:pt x="234" y="449"/>
                    </a:lnTo>
                    <a:lnTo>
                      <a:pt x="264" y="497"/>
                    </a:lnTo>
                    <a:lnTo>
                      <a:pt x="303" y="488"/>
                    </a:lnTo>
                    <a:lnTo>
                      <a:pt x="332" y="478"/>
                    </a:lnTo>
                    <a:lnTo>
                      <a:pt x="352" y="458"/>
                    </a:lnTo>
                    <a:lnTo>
                      <a:pt x="361" y="458"/>
                    </a:lnTo>
                    <a:lnTo>
                      <a:pt x="381" y="458"/>
                    </a:lnTo>
                    <a:lnTo>
                      <a:pt x="400" y="458"/>
                    </a:lnTo>
                    <a:lnTo>
                      <a:pt x="430" y="458"/>
                    </a:lnTo>
                    <a:lnTo>
                      <a:pt x="439" y="478"/>
                    </a:lnTo>
                    <a:lnTo>
                      <a:pt x="459" y="478"/>
                    </a:lnTo>
                    <a:lnTo>
                      <a:pt x="478" y="478"/>
                    </a:lnTo>
                    <a:lnTo>
                      <a:pt x="478" y="458"/>
                    </a:lnTo>
                    <a:lnTo>
                      <a:pt x="498" y="458"/>
                    </a:lnTo>
                    <a:lnTo>
                      <a:pt x="517" y="468"/>
                    </a:lnTo>
                    <a:lnTo>
                      <a:pt x="537" y="468"/>
                    </a:lnTo>
                    <a:lnTo>
                      <a:pt x="547" y="47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86" y="497"/>
                    </a:lnTo>
                    <a:lnTo>
                      <a:pt x="595" y="517"/>
                    </a:lnTo>
                    <a:lnTo>
                      <a:pt x="605" y="527"/>
                    </a:lnTo>
                    <a:lnTo>
                      <a:pt x="615" y="537"/>
                    </a:lnTo>
                    <a:lnTo>
                      <a:pt x="625" y="556"/>
                    </a:lnTo>
                    <a:lnTo>
                      <a:pt x="644" y="556"/>
                    </a:lnTo>
                    <a:lnTo>
                      <a:pt x="654" y="566"/>
                    </a:lnTo>
                    <a:lnTo>
                      <a:pt x="654" y="576"/>
                    </a:lnTo>
                    <a:lnTo>
                      <a:pt x="664" y="585"/>
                    </a:lnTo>
                    <a:lnTo>
                      <a:pt x="683" y="595"/>
                    </a:lnTo>
                    <a:lnTo>
                      <a:pt x="683" y="615"/>
                    </a:lnTo>
                    <a:lnTo>
                      <a:pt x="693" y="615"/>
                    </a:lnTo>
                    <a:lnTo>
                      <a:pt x="703" y="634"/>
                    </a:lnTo>
                    <a:lnTo>
                      <a:pt x="732" y="663"/>
                    </a:lnTo>
                    <a:lnTo>
                      <a:pt x="742" y="673"/>
                    </a:lnTo>
                    <a:lnTo>
                      <a:pt x="751" y="693"/>
                    </a:lnTo>
                    <a:lnTo>
                      <a:pt x="771" y="702"/>
                    </a:lnTo>
                    <a:lnTo>
                      <a:pt x="781" y="722"/>
                    </a:lnTo>
                    <a:lnTo>
                      <a:pt x="790" y="741"/>
                    </a:lnTo>
                    <a:lnTo>
                      <a:pt x="800" y="741"/>
                    </a:lnTo>
                    <a:lnTo>
                      <a:pt x="810" y="761"/>
                    </a:lnTo>
                    <a:lnTo>
                      <a:pt x="830" y="761"/>
                    </a:lnTo>
                    <a:lnTo>
                      <a:pt x="859" y="751"/>
                    </a:lnTo>
                    <a:lnTo>
                      <a:pt x="869" y="741"/>
                    </a:lnTo>
                    <a:lnTo>
                      <a:pt x="888" y="732"/>
                    </a:lnTo>
                    <a:lnTo>
                      <a:pt x="898" y="732"/>
                    </a:lnTo>
                    <a:lnTo>
                      <a:pt x="917" y="741"/>
                    </a:lnTo>
                    <a:lnTo>
                      <a:pt x="937" y="741"/>
                    </a:lnTo>
                    <a:lnTo>
                      <a:pt x="947" y="732"/>
                    </a:lnTo>
                    <a:lnTo>
                      <a:pt x="956" y="732"/>
                    </a:lnTo>
                    <a:lnTo>
                      <a:pt x="976" y="732"/>
                    </a:lnTo>
                    <a:lnTo>
                      <a:pt x="986" y="741"/>
                    </a:lnTo>
                    <a:lnTo>
                      <a:pt x="1005" y="751"/>
                    </a:lnTo>
                    <a:lnTo>
                      <a:pt x="1034" y="761"/>
                    </a:lnTo>
                    <a:lnTo>
                      <a:pt x="1054" y="751"/>
                    </a:lnTo>
                    <a:lnTo>
                      <a:pt x="1064" y="741"/>
                    </a:lnTo>
                    <a:lnTo>
                      <a:pt x="1064" y="722"/>
                    </a:lnTo>
                    <a:lnTo>
                      <a:pt x="1064" y="712"/>
                    </a:lnTo>
                    <a:lnTo>
                      <a:pt x="1073" y="693"/>
                    </a:lnTo>
                    <a:lnTo>
                      <a:pt x="1083" y="683"/>
                    </a:lnTo>
                    <a:lnTo>
                      <a:pt x="1083" y="673"/>
                    </a:lnTo>
                    <a:lnTo>
                      <a:pt x="1073" y="654"/>
                    </a:lnTo>
                    <a:lnTo>
                      <a:pt x="1064" y="644"/>
                    </a:lnTo>
                    <a:lnTo>
                      <a:pt x="1073" y="624"/>
                    </a:lnTo>
                    <a:lnTo>
                      <a:pt x="1064" y="615"/>
                    </a:lnTo>
                    <a:lnTo>
                      <a:pt x="1054" y="605"/>
                    </a:lnTo>
                    <a:lnTo>
                      <a:pt x="1054" y="595"/>
                    </a:lnTo>
                    <a:lnTo>
                      <a:pt x="1044" y="585"/>
                    </a:lnTo>
                    <a:lnTo>
                      <a:pt x="1025" y="576"/>
                    </a:lnTo>
                    <a:lnTo>
                      <a:pt x="1005" y="585"/>
                    </a:lnTo>
                    <a:lnTo>
                      <a:pt x="986" y="566"/>
                    </a:lnTo>
                    <a:lnTo>
                      <a:pt x="986" y="556"/>
                    </a:lnTo>
                    <a:lnTo>
                      <a:pt x="956" y="556"/>
                    </a:lnTo>
                    <a:lnTo>
                      <a:pt x="956" y="537"/>
                    </a:lnTo>
                    <a:lnTo>
                      <a:pt x="956" y="517"/>
                    </a:lnTo>
                    <a:lnTo>
                      <a:pt x="956" y="507"/>
                    </a:lnTo>
                    <a:lnTo>
                      <a:pt x="966" y="488"/>
                    </a:lnTo>
                    <a:lnTo>
                      <a:pt x="966" y="468"/>
                    </a:lnTo>
                    <a:lnTo>
                      <a:pt x="976" y="468"/>
                    </a:lnTo>
                    <a:lnTo>
                      <a:pt x="976" y="458"/>
                    </a:lnTo>
                    <a:lnTo>
                      <a:pt x="966" y="449"/>
                    </a:lnTo>
                    <a:lnTo>
                      <a:pt x="956" y="429"/>
                    </a:lnTo>
                    <a:lnTo>
                      <a:pt x="986" y="429"/>
                    </a:lnTo>
                    <a:lnTo>
                      <a:pt x="1005" y="410"/>
                    </a:lnTo>
                    <a:lnTo>
                      <a:pt x="1005" y="400"/>
                    </a:lnTo>
                    <a:lnTo>
                      <a:pt x="1005" y="380"/>
                    </a:lnTo>
                    <a:lnTo>
                      <a:pt x="1015" y="380"/>
                    </a:lnTo>
                    <a:lnTo>
                      <a:pt x="1015" y="361"/>
                    </a:lnTo>
                    <a:lnTo>
                      <a:pt x="1015" y="341"/>
                    </a:lnTo>
                    <a:lnTo>
                      <a:pt x="1025" y="341"/>
                    </a:lnTo>
                    <a:lnTo>
                      <a:pt x="1044" y="341"/>
                    </a:lnTo>
                    <a:lnTo>
                      <a:pt x="1064" y="322"/>
                    </a:lnTo>
                    <a:lnTo>
                      <a:pt x="1054" y="312"/>
                    </a:lnTo>
                    <a:lnTo>
                      <a:pt x="1044" y="302"/>
                    </a:lnTo>
                    <a:lnTo>
                      <a:pt x="1025" y="283"/>
                    </a:lnTo>
                    <a:lnTo>
                      <a:pt x="1025" y="273"/>
                    </a:lnTo>
                    <a:lnTo>
                      <a:pt x="1034" y="273"/>
                    </a:lnTo>
                    <a:lnTo>
                      <a:pt x="1044" y="283"/>
                    </a:lnTo>
                    <a:lnTo>
                      <a:pt x="1064" y="263"/>
                    </a:lnTo>
                    <a:lnTo>
                      <a:pt x="1093" y="263"/>
                    </a:lnTo>
                    <a:lnTo>
                      <a:pt x="1122" y="263"/>
                    </a:lnTo>
                    <a:lnTo>
                      <a:pt x="1122" y="244"/>
                    </a:lnTo>
                    <a:lnTo>
                      <a:pt x="1112" y="224"/>
                    </a:lnTo>
                    <a:lnTo>
                      <a:pt x="1103" y="224"/>
                    </a:lnTo>
                    <a:lnTo>
                      <a:pt x="1093" y="205"/>
                    </a:lnTo>
                    <a:lnTo>
                      <a:pt x="1093" y="185"/>
                    </a:lnTo>
                    <a:lnTo>
                      <a:pt x="1083" y="166"/>
                    </a:lnTo>
                    <a:lnTo>
                      <a:pt x="1064" y="146"/>
                    </a:lnTo>
                    <a:lnTo>
                      <a:pt x="1044" y="146"/>
                    </a:lnTo>
                    <a:lnTo>
                      <a:pt x="1034" y="176"/>
                    </a:lnTo>
                    <a:lnTo>
                      <a:pt x="1025" y="185"/>
                    </a:lnTo>
                    <a:lnTo>
                      <a:pt x="1005" y="185"/>
                    </a:lnTo>
                    <a:lnTo>
                      <a:pt x="976" y="195"/>
                    </a:lnTo>
                    <a:lnTo>
                      <a:pt x="976" y="215"/>
                    </a:lnTo>
                    <a:lnTo>
                      <a:pt x="966" y="224"/>
                    </a:lnTo>
                    <a:lnTo>
                      <a:pt x="966" y="234"/>
                    </a:lnTo>
                    <a:lnTo>
                      <a:pt x="947" y="244"/>
                    </a:lnTo>
                    <a:lnTo>
                      <a:pt x="927" y="254"/>
                    </a:lnTo>
                    <a:lnTo>
                      <a:pt x="927" y="273"/>
                    </a:lnTo>
                    <a:lnTo>
                      <a:pt x="908" y="273"/>
                    </a:lnTo>
                    <a:lnTo>
                      <a:pt x="908" y="263"/>
                    </a:lnTo>
                    <a:lnTo>
                      <a:pt x="898" y="263"/>
                    </a:lnTo>
                    <a:lnTo>
                      <a:pt x="878" y="283"/>
                    </a:lnTo>
                    <a:lnTo>
                      <a:pt x="859" y="263"/>
                    </a:lnTo>
                    <a:lnTo>
                      <a:pt x="849" y="234"/>
                    </a:lnTo>
                    <a:lnTo>
                      <a:pt x="849" y="215"/>
                    </a:lnTo>
                    <a:lnTo>
                      <a:pt x="820" y="224"/>
                    </a:lnTo>
                    <a:lnTo>
                      <a:pt x="810" y="234"/>
                    </a:lnTo>
                    <a:lnTo>
                      <a:pt x="790" y="234"/>
                    </a:lnTo>
                    <a:lnTo>
                      <a:pt x="781" y="224"/>
                    </a:lnTo>
                    <a:lnTo>
                      <a:pt x="790" y="195"/>
                    </a:lnTo>
                    <a:lnTo>
                      <a:pt x="800" y="176"/>
                    </a:lnTo>
                    <a:lnTo>
                      <a:pt x="800" y="166"/>
                    </a:lnTo>
                    <a:lnTo>
                      <a:pt x="800" y="156"/>
                    </a:lnTo>
                    <a:lnTo>
                      <a:pt x="800" y="127"/>
                    </a:lnTo>
                    <a:lnTo>
                      <a:pt x="810" y="117"/>
                    </a:lnTo>
                    <a:lnTo>
                      <a:pt x="820" y="88"/>
                    </a:lnTo>
                    <a:lnTo>
                      <a:pt x="830" y="68"/>
                    </a:lnTo>
                    <a:lnTo>
                      <a:pt x="849" y="58"/>
                    </a:lnTo>
                    <a:lnTo>
                      <a:pt x="839" y="49"/>
                    </a:lnTo>
                    <a:lnTo>
                      <a:pt x="839" y="39"/>
                    </a:lnTo>
                    <a:lnTo>
                      <a:pt x="849" y="39"/>
                    </a:lnTo>
                    <a:lnTo>
                      <a:pt x="839" y="29"/>
                    </a:lnTo>
                    <a:lnTo>
                      <a:pt x="849" y="29"/>
                    </a:lnTo>
                    <a:lnTo>
                      <a:pt x="859" y="19"/>
                    </a:lnTo>
                    <a:lnTo>
                      <a:pt x="830" y="10"/>
                    </a:lnTo>
                    <a:lnTo>
                      <a:pt x="810" y="0"/>
                    </a:lnTo>
                    <a:lnTo>
                      <a:pt x="800" y="10"/>
                    </a:lnTo>
                    <a:lnTo>
                      <a:pt x="771" y="19"/>
                    </a:lnTo>
                    <a:lnTo>
                      <a:pt x="712" y="39"/>
                    </a:lnTo>
                    <a:lnTo>
                      <a:pt x="664" y="58"/>
                    </a:lnTo>
                    <a:lnTo>
                      <a:pt x="634" y="68"/>
                    </a:lnTo>
                    <a:lnTo>
                      <a:pt x="595" y="88"/>
                    </a:lnTo>
                    <a:lnTo>
                      <a:pt x="605" y="107"/>
                    </a:lnTo>
                    <a:lnTo>
                      <a:pt x="605" y="117"/>
                    </a:lnTo>
                    <a:lnTo>
                      <a:pt x="595" y="127"/>
                    </a:lnTo>
                    <a:lnTo>
                      <a:pt x="556" y="127"/>
                    </a:lnTo>
                    <a:lnTo>
                      <a:pt x="537" y="136"/>
                    </a:lnTo>
                    <a:lnTo>
                      <a:pt x="527" y="127"/>
                    </a:lnTo>
                    <a:lnTo>
                      <a:pt x="517" y="127"/>
                    </a:lnTo>
                    <a:lnTo>
                      <a:pt x="517" y="146"/>
                    </a:lnTo>
                    <a:lnTo>
                      <a:pt x="498" y="146"/>
                    </a:lnTo>
                    <a:lnTo>
                      <a:pt x="488" y="146"/>
                    </a:lnTo>
                    <a:lnTo>
                      <a:pt x="478" y="156"/>
                    </a:lnTo>
                    <a:lnTo>
                      <a:pt x="459" y="156"/>
                    </a:lnTo>
                    <a:lnTo>
                      <a:pt x="449" y="166"/>
                    </a:lnTo>
                    <a:lnTo>
                      <a:pt x="430" y="176"/>
                    </a:lnTo>
                    <a:lnTo>
                      <a:pt x="420" y="166"/>
                    </a:lnTo>
                    <a:lnTo>
                      <a:pt x="410" y="156"/>
                    </a:lnTo>
                    <a:lnTo>
                      <a:pt x="400" y="166"/>
                    </a:lnTo>
                    <a:lnTo>
                      <a:pt x="391" y="166"/>
                    </a:lnTo>
                    <a:lnTo>
                      <a:pt x="361" y="166"/>
                    </a:lnTo>
                    <a:lnTo>
                      <a:pt x="332" y="176"/>
                    </a:lnTo>
                    <a:lnTo>
                      <a:pt x="313" y="185"/>
                    </a:lnTo>
                    <a:lnTo>
                      <a:pt x="303" y="176"/>
                    </a:lnTo>
                    <a:lnTo>
                      <a:pt x="283" y="156"/>
                    </a:lnTo>
                    <a:lnTo>
                      <a:pt x="264" y="146"/>
                    </a:lnTo>
                    <a:lnTo>
                      <a:pt x="244" y="146"/>
                    </a:lnTo>
                    <a:lnTo>
                      <a:pt x="225" y="146"/>
                    </a:lnTo>
                    <a:lnTo>
                      <a:pt x="205" y="146"/>
                    </a:lnTo>
                    <a:lnTo>
                      <a:pt x="186" y="146"/>
                    </a:lnTo>
                    <a:lnTo>
                      <a:pt x="186" y="166"/>
                    </a:lnTo>
                    <a:lnTo>
                      <a:pt x="166" y="166"/>
                    </a:lnTo>
                    <a:lnTo>
                      <a:pt x="147" y="146"/>
                    </a:lnTo>
                    <a:lnTo>
                      <a:pt x="137" y="136"/>
                    </a:lnTo>
                    <a:lnTo>
                      <a:pt x="117" y="146"/>
                    </a:lnTo>
                    <a:lnTo>
                      <a:pt x="98" y="146"/>
                    </a:lnTo>
                    <a:lnTo>
                      <a:pt x="88" y="127"/>
                    </a:lnTo>
                    <a:lnTo>
                      <a:pt x="69" y="136"/>
                    </a:lnTo>
                    <a:lnTo>
                      <a:pt x="49" y="136"/>
                    </a:lnTo>
                    <a:lnTo>
                      <a:pt x="20" y="146"/>
                    </a:lnTo>
                    <a:lnTo>
                      <a:pt x="10" y="156"/>
                    </a:lnTo>
                    <a:lnTo>
                      <a:pt x="0" y="176"/>
                    </a:lnTo>
                    <a:lnTo>
                      <a:pt x="20" y="205"/>
                    </a:lnTo>
                    <a:lnTo>
                      <a:pt x="49" y="215"/>
                    </a:lnTo>
                    <a:lnTo>
                      <a:pt x="59" y="224"/>
                    </a:lnTo>
                    <a:lnTo>
                      <a:pt x="39" y="234"/>
                    </a:lnTo>
                    <a:lnTo>
                      <a:pt x="30" y="244"/>
                    </a:lnTo>
                    <a:lnTo>
                      <a:pt x="39" y="254"/>
                    </a:lnTo>
                    <a:lnTo>
                      <a:pt x="49" y="263"/>
                    </a:lnTo>
                    <a:lnTo>
                      <a:pt x="78" y="244"/>
                    </a:lnTo>
                    <a:lnTo>
                      <a:pt x="98" y="234"/>
                    </a:lnTo>
                    <a:lnTo>
                      <a:pt x="117" y="244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93"/>
                    </a:lnTo>
                    <a:lnTo>
                      <a:pt x="156" y="273"/>
                    </a:lnTo>
                    <a:lnTo>
                      <a:pt x="176" y="283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86" y="332"/>
                    </a:lnTo>
                    <a:lnTo>
                      <a:pt x="186" y="351"/>
                    </a:lnTo>
                    <a:lnTo>
                      <a:pt x="186" y="361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18" name="Freeform 111"/>
            <p:cNvSpPr>
              <a:spLocks/>
            </p:cNvSpPr>
            <p:nvPr/>
          </p:nvSpPr>
          <p:spPr bwMode="auto">
            <a:xfrm>
              <a:off x="7237" y="2059"/>
              <a:ext cx="1112" cy="1883"/>
            </a:xfrm>
            <a:custGeom>
              <a:avLst/>
              <a:gdLst>
                <a:gd name="T0" fmla="*/ 419 w 1112"/>
                <a:gd name="T1" fmla="*/ 1639 h 1883"/>
                <a:gd name="T2" fmla="*/ 478 w 1112"/>
                <a:gd name="T3" fmla="*/ 1707 h 1883"/>
                <a:gd name="T4" fmla="*/ 565 w 1112"/>
                <a:gd name="T5" fmla="*/ 1678 h 1883"/>
                <a:gd name="T6" fmla="*/ 682 w 1112"/>
                <a:gd name="T7" fmla="*/ 1688 h 1883"/>
                <a:gd name="T8" fmla="*/ 760 w 1112"/>
                <a:gd name="T9" fmla="*/ 1678 h 1883"/>
                <a:gd name="T10" fmla="*/ 790 w 1112"/>
                <a:gd name="T11" fmla="*/ 1756 h 1883"/>
                <a:gd name="T12" fmla="*/ 800 w 1112"/>
                <a:gd name="T13" fmla="*/ 1873 h 1883"/>
                <a:gd name="T14" fmla="*/ 839 w 1112"/>
                <a:gd name="T15" fmla="*/ 1805 h 1883"/>
                <a:gd name="T16" fmla="*/ 917 w 1112"/>
                <a:gd name="T17" fmla="*/ 1795 h 1883"/>
                <a:gd name="T18" fmla="*/ 965 w 1112"/>
                <a:gd name="T19" fmla="*/ 1717 h 1883"/>
                <a:gd name="T20" fmla="*/ 975 w 1112"/>
                <a:gd name="T21" fmla="*/ 1639 h 1883"/>
                <a:gd name="T22" fmla="*/ 1004 w 1112"/>
                <a:gd name="T23" fmla="*/ 1551 h 1883"/>
                <a:gd name="T24" fmla="*/ 1073 w 1112"/>
                <a:gd name="T25" fmla="*/ 1590 h 1883"/>
                <a:gd name="T26" fmla="*/ 1102 w 1112"/>
                <a:gd name="T27" fmla="*/ 1600 h 1883"/>
                <a:gd name="T28" fmla="*/ 1092 w 1112"/>
                <a:gd name="T29" fmla="*/ 1405 h 1883"/>
                <a:gd name="T30" fmla="*/ 1053 w 1112"/>
                <a:gd name="T31" fmla="*/ 1317 h 1883"/>
                <a:gd name="T32" fmla="*/ 985 w 1112"/>
                <a:gd name="T33" fmla="*/ 1229 h 1883"/>
                <a:gd name="T34" fmla="*/ 956 w 1112"/>
                <a:gd name="T35" fmla="*/ 1131 h 1883"/>
                <a:gd name="T36" fmla="*/ 926 w 1112"/>
                <a:gd name="T37" fmla="*/ 1063 h 1883"/>
                <a:gd name="T38" fmla="*/ 878 w 1112"/>
                <a:gd name="T39" fmla="*/ 995 h 1883"/>
                <a:gd name="T40" fmla="*/ 800 w 1112"/>
                <a:gd name="T41" fmla="*/ 956 h 1883"/>
                <a:gd name="T42" fmla="*/ 682 w 1112"/>
                <a:gd name="T43" fmla="*/ 956 h 1883"/>
                <a:gd name="T44" fmla="*/ 673 w 1112"/>
                <a:gd name="T45" fmla="*/ 1014 h 1883"/>
                <a:gd name="T46" fmla="*/ 653 w 1112"/>
                <a:gd name="T47" fmla="*/ 1005 h 1883"/>
                <a:gd name="T48" fmla="*/ 604 w 1112"/>
                <a:gd name="T49" fmla="*/ 1092 h 1883"/>
                <a:gd name="T50" fmla="*/ 575 w 1112"/>
                <a:gd name="T51" fmla="*/ 1034 h 1883"/>
                <a:gd name="T52" fmla="*/ 556 w 1112"/>
                <a:gd name="T53" fmla="*/ 1034 h 1883"/>
                <a:gd name="T54" fmla="*/ 546 w 1112"/>
                <a:gd name="T55" fmla="*/ 1063 h 1883"/>
                <a:gd name="T56" fmla="*/ 487 w 1112"/>
                <a:gd name="T57" fmla="*/ 1024 h 1883"/>
                <a:gd name="T58" fmla="*/ 400 w 1112"/>
                <a:gd name="T59" fmla="*/ 1034 h 1883"/>
                <a:gd name="T60" fmla="*/ 429 w 1112"/>
                <a:gd name="T61" fmla="*/ 927 h 1883"/>
                <a:gd name="T62" fmla="*/ 468 w 1112"/>
                <a:gd name="T63" fmla="*/ 849 h 1883"/>
                <a:gd name="T64" fmla="*/ 478 w 1112"/>
                <a:gd name="T65" fmla="*/ 751 h 1883"/>
                <a:gd name="T66" fmla="*/ 487 w 1112"/>
                <a:gd name="T67" fmla="*/ 634 h 1883"/>
                <a:gd name="T68" fmla="*/ 497 w 1112"/>
                <a:gd name="T69" fmla="*/ 527 h 1883"/>
                <a:gd name="T70" fmla="*/ 517 w 1112"/>
                <a:gd name="T71" fmla="*/ 380 h 1883"/>
                <a:gd name="T72" fmla="*/ 634 w 1112"/>
                <a:gd name="T73" fmla="*/ 263 h 1883"/>
                <a:gd name="T74" fmla="*/ 702 w 1112"/>
                <a:gd name="T75" fmla="*/ 244 h 1883"/>
                <a:gd name="T76" fmla="*/ 682 w 1112"/>
                <a:gd name="T77" fmla="*/ 146 h 1883"/>
                <a:gd name="T78" fmla="*/ 585 w 1112"/>
                <a:gd name="T79" fmla="*/ 175 h 1883"/>
                <a:gd name="T80" fmla="*/ 565 w 1112"/>
                <a:gd name="T81" fmla="*/ 78 h 1883"/>
                <a:gd name="T82" fmla="*/ 400 w 1112"/>
                <a:gd name="T83" fmla="*/ 48 h 1883"/>
                <a:gd name="T84" fmla="*/ 361 w 1112"/>
                <a:gd name="T85" fmla="*/ 87 h 1883"/>
                <a:gd name="T86" fmla="*/ 253 w 1112"/>
                <a:gd name="T87" fmla="*/ 127 h 1883"/>
                <a:gd name="T88" fmla="*/ 205 w 1112"/>
                <a:gd name="T89" fmla="*/ 195 h 1883"/>
                <a:gd name="T90" fmla="*/ 185 w 1112"/>
                <a:gd name="T91" fmla="*/ 361 h 1883"/>
                <a:gd name="T92" fmla="*/ 244 w 1112"/>
                <a:gd name="T93" fmla="*/ 517 h 1883"/>
                <a:gd name="T94" fmla="*/ 146 w 1112"/>
                <a:gd name="T95" fmla="*/ 595 h 1883"/>
                <a:gd name="T96" fmla="*/ 48 w 1112"/>
                <a:gd name="T97" fmla="*/ 644 h 1883"/>
                <a:gd name="T98" fmla="*/ 19 w 1112"/>
                <a:gd name="T99" fmla="*/ 770 h 1883"/>
                <a:gd name="T100" fmla="*/ 29 w 1112"/>
                <a:gd name="T101" fmla="*/ 829 h 1883"/>
                <a:gd name="T102" fmla="*/ 87 w 1112"/>
                <a:gd name="T103" fmla="*/ 946 h 1883"/>
                <a:gd name="T104" fmla="*/ 87 w 1112"/>
                <a:gd name="T105" fmla="*/ 1073 h 1883"/>
                <a:gd name="T106" fmla="*/ 224 w 1112"/>
                <a:gd name="T107" fmla="*/ 1073 h 1883"/>
                <a:gd name="T108" fmla="*/ 185 w 1112"/>
                <a:gd name="T109" fmla="*/ 1151 h 1883"/>
                <a:gd name="T110" fmla="*/ 185 w 1112"/>
                <a:gd name="T111" fmla="*/ 1268 h 1883"/>
                <a:gd name="T112" fmla="*/ 283 w 1112"/>
                <a:gd name="T113" fmla="*/ 1307 h 1883"/>
                <a:gd name="T114" fmla="*/ 380 w 1112"/>
                <a:gd name="T115" fmla="*/ 1219 h 1883"/>
                <a:gd name="T116" fmla="*/ 468 w 1112"/>
                <a:gd name="T117" fmla="*/ 1239 h 1883"/>
                <a:gd name="T118" fmla="*/ 400 w 1112"/>
                <a:gd name="T119" fmla="*/ 1307 h 1883"/>
                <a:gd name="T120" fmla="*/ 390 w 1112"/>
                <a:gd name="T121" fmla="*/ 1395 h 1883"/>
                <a:gd name="T122" fmla="*/ 341 w 1112"/>
                <a:gd name="T123" fmla="*/ 1483 h 1883"/>
                <a:gd name="T124" fmla="*/ 331 w 1112"/>
                <a:gd name="T125" fmla="*/ 1590 h 188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2"/>
                <a:gd name="T190" fmla="*/ 0 h 1883"/>
                <a:gd name="T191" fmla="*/ 1112 w 1112"/>
                <a:gd name="T192" fmla="*/ 1883 h 188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2" h="1883">
                  <a:moveTo>
                    <a:pt x="331" y="1590"/>
                  </a:moveTo>
                  <a:lnTo>
                    <a:pt x="361" y="1590"/>
                  </a:lnTo>
                  <a:lnTo>
                    <a:pt x="361" y="1600"/>
                  </a:lnTo>
                  <a:lnTo>
                    <a:pt x="380" y="1619"/>
                  </a:lnTo>
                  <a:lnTo>
                    <a:pt x="400" y="1610"/>
                  </a:lnTo>
                  <a:lnTo>
                    <a:pt x="419" y="1619"/>
                  </a:lnTo>
                  <a:lnTo>
                    <a:pt x="419" y="1629"/>
                  </a:lnTo>
                  <a:lnTo>
                    <a:pt x="419" y="1639"/>
                  </a:lnTo>
                  <a:lnTo>
                    <a:pt x="439" y="1649"/>
                  </a:lnTo>
                  <a:lnTo>
                    <a:pt x="448" y="1658"/>
                  </a:lnTo>
                  <a:lnTo>
                    <a:pt x="439" y="1678"/>
                  </a:lnTo>
                  <a:lnTo>
                    <a:pt x="448" y="1688"/>
                  </a:lnTo>
                  <a:lnTo>
                    <a:pt x="458" y="1707"/>
                  </a:lnTo>
                  <a:lnTo>
                    <a:pt x="458" y="1727"/>
                  </a:lnTo>
                  <a:lnTo>
                    <a:pt x="478" y="1717"/>
                  </a:lnTo>
                  <a:lnTo>
                    <a:pt x="478" y="1707"/>
                  </a:lnTo>
                  <a:lnTo>
                    <a:pt x="507" y="1697"/>
                  </a:lnTo>
                  <a:lnTo>
                    <a:pt x="507" y="1678"/>
                  </a:lnTo>
                  <a:lnTo>
                    <a:pt x="526" y="1678"/>
                  </a:lnTo>
                  <a:lnTo>
                    <a:pt x="536" y="1678"/>
                  </a:lnTo>
                  <a:lnTo>
                    <a:pt x="536" y="1697"/>
                  </a:lnTo>
                  <a:lnTo>
                    <a:pt x="546" y="1678"/>
                  </a:lnTo>
                  <a:lnTo>
                    <a:pt x="565" y="1678"/>
                  </a:lnTo>
                  <a:lnTo>
                    <a:pt x="575" y="1668"/>
                  </a:lnTo>
                  <a:lnTo>
                    <a:pt x="595" y="1678"/>
                  </a:lnTo>
                  <a:lnTo>
                    <a:pt x="604" y="1678"/>
                  </a:lnTo>
                  <a:lnTo>
                    <a:pt x="614" y="1678"/>
                  </a:lnTo>
                  <a:lnTo>
                    <a:pt x="624" y="1688"/>
                  </a:lnTo>
                  <a:lnTo>
                    <a:pt x="643" y="1678"/>
                  </a:lnTo>
                  <a:lnTo>
                    <a:pt x="673" y="1688"/>
                  </a:lnTo>
                  <a:lnTo>
                    <a:pt x="682" y="1688"/>
                  </a:lnTo>
                  <a:lnTo>
                    <a:pt x="702" y="1678"/>
                  </a:lnTo>
                  <a:lnTo>
                    <a:pt x="702" y="1668"/>
                  </a:lnTo>
                  <a:lnTo>
                    <a:pt x="712" y="1668"/>
                  </a:lnTo>
                  <a:lnTo>
                    <a:pt x="721" y="1668"/>
                  </a:lnTo>
                  <a:lnTo>
                    <a:pt x="741" y="1658"/>
                  </a:lnTo>
                  <a:lnTo>
                    <a:pt x="751" y="1658"/>
                  </a:lnTo>
                  <a:lnTo>
                    <a:pt x="760" y="1668"/>
                  </a:lnTo>
                  <a:lnTo>
                    <a:pt x="760" y="1678"/>
                  </a:lnTo>
                  <a:lnTo>
                    <a:pt x="741" y="1678"/>
                  </a:lnTo>
                  <a:lnTo>
                    <a:pt x="731" y="1688"/>
                  </a:lnTo>
                  <a:lnTo>
                    <a:pt x="731" y="1697"/>
                  </a:lnTo>
                  <a:lnTo>
                    <a:pt x="760" y="1697"/>
                  </a:lnTo>
                  <a:lnTo>
                    <a:pt x="770" y="1727"/>
                  </a:lnTo>
                  <a:lnTo>
                    <a:pt x="780" y="1736"/>
                  </a:lnTo>
                  <a:lnTo>
                    <a:pt x="790" y="1746"/>
                  </a:lnTo>
                  <a:lnTo>
                    <a:pt x="790" y="1756"/>
                  </a:lnTo>
                  <a:lnTo>
                    <a:pt x="790" y="1775"/>
                  </a:lnTo>
                  <a:lnTo>
                    <a:pt x="790" y="1795"/>
                  </a:lnTo>
                  <a:lnTo>
                    <a:pt x="780" y="1805"/>
                  </a:lnTo>
                  <a:lnTo>
                    <a:pt x="780" y="1814"/>
                  </a:lnTo>
                  <a:lnTo>
                    <a:pt x="790" y="1834"/>
                  </a:lnTo>
                  <a:lnTo>
                    <a:pt x="790" y="1853"/>
                  </a:lnTo>
                  <a:lnTo>
                    <a:pt x="800" y="1873"/>
                  </a:lnTo>
                  <a:lnTo>
                    <a:pt x="800" y="1883"/>
                  </a:lnTo>
                  <a:lnTo>
                    <a:pt x="809" y="1863"/>
                  </a:lnTo>
                  <a:lnTo>
                    <a:pt x="829" y="1863"/>
                  </a:lnTo>
                  <a:lnTo>
                    <a:pt x="819" y="1844"/>
                  </a:lnTo>
                  <a:lnTo>
                    <a:pt x="829" y="1834"/>
                  </a:lnTo>
                  <a:lnTo>
                    <a:pt x="819" y="1814"/>
                  </a:lnTo>
                  <a:lnTo>
                    <a:pt x="829" y="1805"/>
                  </a:lnTo>
                  <a:lnTo>
                    <a:pt x="839" y="1805"/>
                  </a:lnTo>
                  <a:lnTo>
                    <a:pt x="848" y="1795"/>
                  </a:lnTo>
                  <a:lnTo>
                    <a:pt x="858" y="1795"/>
                  </a:lnTo>
                  <a:lnTo>
                    <a:pt x="868" y="1805"/>
                  </a:lnTo>
                  <a:lnTo>
                    <a:pt x="878" y="1805"/>
                  </a:lnTo>
                  <a:lnTo>
                    <a:pt x="887" y="1805"/>
                  </a:lnTo>
                  <a:lnTo>
                    <a:pt x="887" y="1795"/>
                  </a:lnTo>
                  <a:lnTo>
                    <a:pt x="897" y="1795"/>
                  </a:lnTo>
                  <a:lnTo>
                    <a:pt x="917" y="1795"/>
                  </a:lnTo>
                  <a:lnTo>
                    <a:pt x="926" y="1785"/>
                  </a:lnTo>
                  <a:lnTo>
                    <a:pt x="946" y="1785"/>
                  </a:lnTo>
                  <a:lnTo>
                    <a:pt x="956" y="1775"/>
                  </a:lnTo>
                  <a:lnTo>
                    <a:pt x="975" y="1775"/>
                  </a:lnTo>
                  <a:lnTo>
                    <a:pt x="985" y="1756"/>
                  </a:lnTo>
                  <a:lnTo>
                    <a:pt x="985" y="1746"/>
                  </a:lnTo>
                  <a:lnTo>
                    <a:pt x="965" y="1727"/>
                  </a:lnTo>
                  <a:lnTo>
                    <a:pt x="965" y="1717"/>
                  </a:lnTo>
                  <a:lnTo>
                    <a:pt x="985" y="1697"/>
                  </a:lnTo>
                  <a:lnTo>
                    <a:pt x="1014" y="1688"/>
                  </a:lnTo>
                  <a:lnTo>
                    <a:pt x="1024" y="1668"/>
                  </a:lnTo>
                  <a:lnTo>
                    <a:pt x="1024" y="1649"/>
                  </a:lnTo>
                  <a:lnTo>
                    <a:pt x="1014" y="1629"/>
                  </a:lnTo>
                  <a:lnTo>
                    <a:pt x="995" y="1629"/>
                  </a:lnTo>
                  <a:lnTo>
                    <a:pt x="975" y="1639"/>
                  </a:lnTo>
                  <a:lnTo>
                    <a:pt x="975" y="1619"/>
                  </a:lnTo>
                  <a:lnTo>
                    <a:pt x="956" y="1619"/>
                  </a:lnTo>
                  <a:lnTo>
                    <a:pt x="946" y="1600"/>
                  </a:lnTo>
                  <a:lnTo>
                    <a:pt x="956" y="1590"/>
                  </a:lnTo>
                  <a:lnTo>
                    <a:pt x="975" y="1561"/>
                  </a:lnTo>
                  <a:lnTo>
                    <a:pt x="985" y="1541"/>
                  </a:lnTo>
                  <a:lnTo>
                    <a:pt x="1004" y="1551"/>
                  </a:lnTo>
                  <a:lnTo>
                    <a:pt x="1024" y="1561"/>
                  </a:lnTo>
                  <a:lnTo>
                    <a:pt x="1034" y="1551"/>
                  </a:lnTo>
                  <a:lnTo>
                    <a:pt x="1024" y="1571"/>
                  </a:lnTo>
                  <a:lnTo>
                    <a:pt x="1024" y="1580"/>
                  </a:lnTo>
                  <a:lnTo>
                    <a:pt x="1043" y="1580"/>
                  </a:lnTo>
                  <a:lnTo>
                    <a:pt x="1063" y="1590"/>
                  </a:lnTo>
                  <a:lnTo>
                    <a:pt x="1073" y="1590"/>
                  </a:lnTo>
                  <a:lnTo>
                    <a:pt x="1053" y="1610"/>
                  </a:lnTo>
                  <a:lnTo>
                    <a:pt x="1073" y="1629"/>
                  </a:lnTo>
                  <a:lnTo>
                    <a:pt x="1082" y="1619"/>
                  </a:lnTo>
                  <a:lnTo>
                    <a:pt x="1092" y="1619"/>
                  </a:lnTo>
                  <a:lnTo>
                    <a:pt x="1112" y="1629"/>
                  </a:lnTo>
                  <a:lnTo>
                    <a:pt x="1112" y="1619"/>
                  </a:lnTo>
                  <a:lnTo>
                    <a:pt x="1102" y="1600"/>
                  </a:lnTo>
                  <a:lnTo>
                    <a:pt x="1102" y="1571"/>
                  </a:lnTo>
                  <a:lnTo>
                    <a:pt x="1102" y="1551"/>
                  </a:lnTo>
                  <a:lnTo>
                    <a:pt x="1112" y="1502"/>
                  </a:lnTo>
                  <a:lnTo>
                    <a:pt x="1112" y="1473"/>
                  </a:lnTo>
                  <a:lnTo>
                    <a:pt x="1112" y="1453"/>
                  </a:lnTo>
                  <a:lnTo>
                    <a:pt x="1102" y="1453"/>
                  </a:lnTo>
                  <a:lnTo>
                    <a:pt x="1102" y="1424"/>
                  </a:lnTo>
                  <a:lnTo>
                    <a:pt x="1092" y="1405"/>
                  </a:lnTo>
                  <a:lnTo>
                    <a:pt x="1082" y="1405"/>
                  </a:lnTo>
                  <a:lnTo>
                    <a:pt x="1082" y="1395"/>
                  </a:lnTo>
                  <a:lnTo>
                    <a:pt x="1073" y="1385"/>
                  </a:lnTo>
                  <a:lnTo>
                    <a:pt x="1082" y="1375"/>
                  </a:lnTo>
                  <a:lnTo>
                    <a:pt x="1073" y="1366"/>
                  </a:lnTo>
                  <a:lnTo>
                    <a:pt x="1063" y="1346"/>
                  </a:lnTo>
                  <a:lnTo>
                    <a:pt x="1053" y="1336"/>
                  </a:lnTo>
                  <a:lnTo>
                    <a:pt x="1053" y="1317"/>
                  </a:lnTo>
                  <a:lnTo>
                    <a:pt x="1034" y="1317"/>
                  </a:lnTo>
                  <a:lnTo>
                    <a:pt x="1034" y="1288"/>
                  </a:lnTo>
                  <a:lnTo>
                    <a:pt x="1024" y="1297"/>
                  </a:lnTo>
                  <a:lnTo>
                    <a:pt x="1014" y="1288"/>
                  </a:lnTo>
                  <a:lnTo>
                    <a:pt x="1014" y="1278"/>
                  </a:lnTo>
                  <a:lnTo>
                    <a:pt x="995" y="1258"/>
                  </a:lnTo>
                  <a:lnTo>
                    <a:pt x="995" y="1249"/>
                  </a:lnTo>
                  <a:lnTo>
                    <a:pt x="985" y="1229"/>
                  </a:lnTo>
                  <a:lnTo>
                    <a:pt x="985" y="1200"/>
                  </a:lnTo>
                  <a:lnTo>
                    <a:pt x="975" y="1190"/>
                  </a:lnTo>
                  <a:lnTo>
                    <a:pt x="965" y="1180"/>
                  </a:lnTo>
                  <a:lnTo>
                    <a:pt x="965" y="1170"/>
                  </a:lnTo>
                  <a:lnTo>
                    <a:pt x="965" y="1161"/>
                  </a:lnTo>
                  <a:lnTo>
                    <a:pt x="956" y="1151"/>
                  </a:lnTo>
                  <a:lnTo>
                    <a:pt x="956" y="1131"/>
                  </a:lnTo>
                  <a:lnTo>
                    <a:pt x="956" y="1122"/>
                  </a:lnTo>
                  <a:lnTo>
                    <a:pt x="956" y="1112"/>
                  </a:lnTo>
                  <a:lnTo>
                    <a:pt x="956" y="1092"/>
                  </a:lnTo>
                  <a:lnTo>
                    <a:pt x="965" y="1092"/>
                  </a:lnTo>
                  <a:lnTo>
                    <a:pt x="956" y="1083"/>
                  </a:lnTo>
                  <a:lnTo>
                    <a:pt x="946" y="1073"/>
                  </a:lnTo>
                  <a:lnTo>
                    <a:pt x="946" y="1063"/>
                  </a:lnTo>
                  <a:lnTo>
                    <a:pt x="926" y="1063"/>
                  </a:lnTo>
                  <a:lnTo>
                    <a:pt x="907" y="1053"/>
                  </a:lnTo>
                  <a:lnTo>
                    <a:pt x="907" y="1034"/>
                  </a:lnTo>
                  <a:lnTo>
                    <a:pt x="897" y="1024"/>
                  </a:lnTo>
                  <a:lnTo>
                    <a:pt x="887" y="1014"/>
                  </a:lnTo>
                  <a:lnTo>
                    <a:pt x="878" y="1005"/>
                  </a:lnTo>
                  <a:lnTo>
                    <a:pt x="868" y="1005"/>
                  </a:lnTo>
                  <a:lnTo>
                    <a:pt x="848" y="1005"/>
                  </a:lnTo>
                  <a:lnTo>
                    <a:pt x="878" y="995"/>
                  </a:lnTo>
                  <a:lnTo>
                    <a:pt x="878" y="975"/>
                  </a:lnTo>
                  <a:lnTo>
                    <a:pt x="868" y="966"/>
                  </a:lnTo>
                  <a:lnTo>
                    <a:pt x="848" y="966"/>
                  </a:lnTo>
                  <a:lnTo>
                    <a:pt x="829" y="966"/>
                  </a:lnTo>
                  <a:lnTo>
                    <a:pt x="829" y="956"/>
                  </a:lnTo>
                  <a:lnTo>
                    <a:pt x="800" y="956"/>
                  </a:lnTo>
                  <a:lnTo>
                    <a:pt x="780" y="956"/>
                  </a:lnTo>
                  <a:lnTo>
                    <a:pt x="770" y="956"/>
                  </a:lnTo>
                  <a:lnTo>
                    <a:pt x="751" y="936"/>
                  </a:lnTo>
                  <a:lnTo>
                    <a:pt x="741" y="936"/>
                  </a:lnTo>
                  <a:lnTo>
                    <a:pt x="721" y="936"/>
                  </a:lnTo>
                  <a:lnTo>
                    <a:pt x="712" y="936"/>
                  </a:lnTo>
                  <a:lnTo>
                    <a:pt x="702" y="927"/>
                  </a:lnTo>
                  <a:lnTo>
                    <a:pt x="682" y="956"/>
                  </a:lnTo>
                  <a:lnTo>
                    <a:pt x="673" y="966"/>
                  </a:lnTo>
                  <a:lnTo>
                    <a:pt x="643" y="966"/>
                  </a:lnTo>
                  <a:lnTo>
                    <a:pt x="653" y="975"/>
                  </a:lnTo>
                  <a:lnTo>
                    <a:pt x="653" y="985"/>
                  </a:lnTo>
                  <a:lnTo>
                    <a:pt x="663" y="995"/>
                  </a:lnTo>
                  <a:lnTo>
                    <a:pt x="673" y="1005"/>
                  </a:lnTo>
                  <a:lnTo>
                    <a:pt x="673" y="1014"/>
                  </a:lnTo>
                  <a:lnTo>
                    <a:pt x="682" y="1024"/>
                  </a:lnTo>
                  <a:lnTo>
                    <a:pt x="682" y="1034"/>
                  </a:lnTo>
                  <a:lnTo>
                    <a:pt x="682" y="1053"/>
                  </a:lnTo>
                  <a:lnTo>
                    <a:pt x="673" y="1053"/>
                  </a:lnTo>
                  <a:lnTo>
                    <a:pt x="663" y="1044"/>
                  </a:lnTo>
                  <a:lnTo>
                    <a:pt x="663" y="1024"/>
                  </a:lnTo>
                  <a:lnTo>
                    <a:pt x="663" y="1014"/>
                  </a:lnTo>
                  <a:lnTo>
                    <a:pt x="653" y="1005"/>
                  </a:lnTo>
                  <a:lnTo>
                    <a:pt x="643" y="1005"/>
                  </a:lnTo>
                  <a:lnTo>
                    <a:pt x="643" y="1024"/>
                  </a:lnTo>
                  <a:lnTo>
                    <a:pt x="653" y="1034"/>
                  </a:lnTo>
                  <a:lnTo>
                    <a:pt x="643" y="1044"/>
                  </a:lnTo>
                  <a:lnTo>
                    <a:pt x="643" y="1063"/>
                  </a:lnTo>
                  <a:lnTo>
                    <a:pt x="634" y="1073"/>
                  </a:lnTo>
                  <a:lnTo>
                    <a:pt x="624" y="1083"/>
                  </a:lnTo>
                  <a:lnTo>
                    <a:pt x="604" y="1092"/>
                  </a:lnTo>
                  <a:lnTo>
                    <a:pt x="604" y="1073"/>
                  </a:lnTo>
                  <a:lnTo>
                    <a:pt x="614" y="1073"/>
                  </a:lnTo>
                  <a:lnTo>
                    <a:pt x="614" y="1044"/>
                  </a:lnTo>
                  <a:lnTo>
                    <a:pt x="624" y="1034"/>
                  </a:lnTo>
                  <a:lnTo>
                    <a:pt x="604" y="1034"/>
                  </a:lnTo>
                  <a:lnTo>
                    <a:pt x="595" y="1034"/>
                  </a:lnTo>
                  <a:lnTo>
                    <a:pt x="575" y="1034"/>
                  </a:lnTo>
                  <a:lnTo>
                    <a:pt x="585" y="1024"/>
                  </a:lnTo>
                  <a:lnTo>
                    <a:pt x="585" y="1014"/>
                  </a:lnTo>
                  <a:lnTo>
                    <a:pt x="585" y="1005"/>
                  </a:lnTo>
                  <a:lnTo>
                    <a:pt x="575" y="1014"/>
                  </a:lnTo>
                  <a:lnTo>
                    <a:pt x="565" y="1024"/>
                  </a:lnTo>
                  <a:lnTo>
                    <a:pt x="556" y="1034"/>
                  </a:lnTo>
                  <a:lnTo>
                    <a:pt x="575" y="1053"/>
                  </a:lnTo>
                  <a:lnTo>
                    <a:pt x="575" y="1063"/>
                  </a:lnTo>
                  <a:lnTo>
                    <a:pt x="575" y="1073"/>
                  </a:lnTo>
                  <a:lnTo>
                    <a:pt x="565" y="1073"/>
                  </a:lnTo>
                  <a:lnTo>
                    <a:pt x="565" y="1083"/>
                  </a:lnTo>
                  <a:lnTo>
                    <a:pt x="556" y="1083"/>
                  </a:lnTo>
                  <a:lnTo>
                    <a:pt x="546" y="1073"/>
                  </a:lnTo>
                  <a:lnTo>
                    <a:pt x="546" y="1063"/>
                  </a:lnTo>
                  <a:lnTo>
                    <a:pt x="546" y="1053"/>
                  </a:lnTo>
                  <a:lnTo>
                    <a:pt x="536" y="1044"/>
                  </a:lnTo>
                  <a:lnTo>
                    <a:pt x="536" y="1034"/>
                  </a:lnTo>
                  <a:lnTo>
                    <a:pt x="526" y="1014"/>
                  </a:lnTo>
                  <a:lnTo>
                    <a:pt x="517" y="1005"/>
                  </a:lnTo>
                  <a:lnTo>
                    <a:pt x="507" y="1005"/>
                  </a:lnTo>
                  <a:lnTo>
                    <a:pt x="497" y="1005"/>
                  </a:lnTo>
                  <a:lnTo>
                    <a:pt x="487" y="1024"/>
                  </a:lnTo>
                  <a:lnTo>
                    <a:pt x="478" y="1024"/>
                  </a:lnTo>
                  <a:lnTo>
                    <a:pt x="458" y="1044"/>
                  </a:lnTo>
                  <a:lnTo>
                    <a:pt x="439" y="1044"/>
                  </a:lnTo>
                  <a:lnTo>
                    <a:pt x="429" y="1044"/>
                  </a:lnTo>
                  <a:lnTo>
                    <a:pt x="419" y="1044"/>
                  </a:lnTo>
                  <a:lnTo>
                    <a:pt x="409" y="1034"/>
                  </a:lnTo>
                  <a:lnTo>
                    <a:pt x="400" y="1034"/>
                  </a:lnTo>
                  <a:lnTo>
                    <a:pt x="400" y="1014"/>
                  </a:lnTo>
                  <a:lnTo>
                    <a:pt x="409" y="1005"/>
                  </a:lnTo>
                  <a:lnTo>
                    <a:pt x="419" y="995"/>
                  </a:lnTo>
                  <a:lnTo>
                    <a:pt x="429" y="985"/>
                  </a:lnTo>
                  <a:lnTo>
                    <a:pt x="429" y="975"/>
                  </a:lnTo>
                  <a:lnTo>
                    <a:pt x="439" y="956"/>
                  </a:lnTo>
                  <a:lnTo>
                    <a:pt x="429" y="936"/>
                  </a:lnTo>
                  <a:lnTo>
                    <a:pt x="429" y="927"/>
                  </a:lnTo>
                  <a:lnTo>
                    <a:pt x="439" y="917"/>
                  </a:lnTo>
                  <a:lnTo>
                    <a:pt x="439" y="907"/>
                  </a:lnTo>
                  <a:lnTo>
                    <a:pt x="448" y="907"/>
                  </a:lnTo>
                  <a:lnTo>
                    <a:pt x="448" y="897"/>
                  </a:lnTo>
                  <a:lnTo>
                    <a:pt x="448" y="888"/>
                  </a:lnTo>
                  <a:lnTo>
                    <a:pt x="458" y="868"/>
                  </a:lnTo>
                  <a:lnTo>
                    <a:pt x="458" y="858"/>
                  </a:lnTo>
                  <a:lnTo>
                    <a:pt x="468" y="849"/>
                  </a:lnTo>
                  <a:lnTo>
                    <a:pt x="468" y="839"/>
                  </a:lnTo>
                  <a:lnTo>
                    <a:pt x="478" y="819"/>
                  </a:lnTo>
                  <a:lnTo>
                    <a:pt x="478" y="809"/>
                  </a:lnTo>
                  <a:lnTo>
                    <a:pt x="468" y="800"/>
                  </a:lnTo>
                  <a:lnTo>
                    <a:pt x="478" y="780"/>
                  </a:lnTo>
                  <a:lnTo>
                    <a:pt x="478" y="770"/>
                  </a:lnTo>
                  <a:lnTo>
                    <a:pt x="468" y="770"/>
                  </a:lnTo>
                  <a:lnTo>
                    <a:pt x="478" y="751"/>
                  </a:lnTo>
                  <a:lnTo>
                    <a:pt x="478" y="741"/>
                  </a:lnTo>
                  <a:lnTo>
                    <a:pt x="468" y="712"/>
                  </a:lnTo>
                  <a:lnTo>
                    <a:pt x="478" y="702"/>
                  </a:lnTo>
                  <a:lnTo>
                    <a:pt x="478" y="692"/>
                  </a:lnTo>
                  <a:lnTo>
                    <a:pt x="478" y="683"/>
                  </a:lnTo>
                  <a:lnTo>
                    <a:pt x="478" y="673"/>
                  </a:lnTo>
                  <a:lnTo>
                    <a:pt x="487" y="653"/>
                  </a:lnTo>
                  <a:lnTo>
                    <a:pt x="487" y="634"/>
                  </a:lnTo>
                  <a:lnTo>
                    <a:pt x="497" y="634"/>
                  </a:lnTo>
                  <a:lnTo>
                    <a:pt x="497" y="614"/>
                  </a:lnTo>
                  <a:lnTo>
                    <a:pt x="497" y="595"/>
                  </a:lnTo>
                  <a:lnTo>
                    <a:pt x="507" y="585"/>
                  </a:lnTo>
                  <a:lnTo>
                    <a:pt x="517" y="566"/>
                  </a:lnTo>
                  <a:lnTo>
                    <a:pt x="507" y="556"/>
                  </a:lnTo>
                  <a:lnTo>
                    <a:pt x="497" y="546"/>
                  </a:lnTo>
                  <a:lnTo>
                    <a:pt x="497" y="527"/>
                  </a:lnTo>
                  <a:lnTo>
                    <a:pt x="497" y="497"/>
                  </a:lnTo>
                  <a:lnTo>
                    <a:pt x="507" y="488"/>
                  </a:lnTo>
                  <a:lnTo>
                    <a:pt x="517" y="458"/>
                  </a:lnTo>
                  <a:lnTo>
                    <a:pt x="517" y="448"/>
                  </a:lnTo>
                  <a:lnTo>
                    <a:pt x="517" y="439"/>
                  </a:lnTo>
                  <a:lnTo>
                    <a:pt x="507" y="419"/>
                  </a:lnTo>
                  <a:lnTo>
                    <a:pt x="507" y="400"/>
                  </a:lnTo>
                  <a:lnTo>
                    <a:pt x="517" y="380"/>
                  </a:lnTo>
                  <a:lnTo>
                    <a:pt x="526" y="361"/>
                  </a:lnTo>
                  <a:lnTo>
                    <a:pt x="536" y="331"/>
                  </a:lnTo>
                  <a:lnTo>
                    <a:pt x="556" y="331"/>
                  </a:lnTo>
                  <a:lnTo>
                    <a:pt x="565" y="322"/>
                  </a:lnTo>
                  <a:lnTo>
                    <a:pt x="575" y="302"/>
                  </a:lnTo>
                  <a:lnTo>
                    <a:pt x="595" y="292"/>
                  </a:lnTo>
                  <a:lnTo>
                    <a:pt x="614" y="283"/>
                  </a:lnTo>
                  <a:lnTo>
                    <a:pt x="634" y="263"/>
                  </a:lnTo>
                  <a:lnTo>
                    <a:pt x="643" y="253"/>
                  </a:lnTo>
                  <a:lnTo>
                    <a:pt x="653" y="244"/>
                  </a:lnTo>
                  <a:lnTo>
                    <a:pt x="663" y="244"/>
                  </a:lnTo>
                  <a:lnTo>
                    <a:pt x="673" y="253"/>
                  </a:lnTo>
                  <a:lnTo>
                    <a:pt x="682" y="253"/>
                  </a:lnTo>
                  <a:lnTo>
                    <a:pt x="692" y="263"/>
                  </a:lnTo>
                  <a:lnTo>
                    <a:pt x="692" y="244"/>
                  </a:lnTo>
                  <a:lnTo>
                    <a:pt x="702" y="244"/>
                  </a:lnTo>
                  <a:lnTo>
                    <a:pt x="682" y="224"/>
                  </a:lnTo>
                  <a:lnTo>
                    <a:pt x="682" y="214"/>
                  </a:lnTo>
                  <a:lnTo>
                    <a:pt x="692" y="214"/>
                  </a:lnTo>
                  <a:lnTo>
                    <a:pt x="702" y="205"/>
                  </a:lnTo>
                  <a:lnTo>
                    <a:pt x="702" y="195"/>
                  </a:lnTo>
                  <a:lnTo>
                    <a:pt x="692" y="175"/>
                  </a:lnTo>
                  <a:lnTo>
                    <a:pt x="682" y="166"/>
                  </a:lnTo>
                  <a:lnTo>
                    <a:pt x="682" y="146"/>
                  </a:lnTo>
                  <a:lnTo>
                    <a:pt x="663" y="156"/>
                  </a:lnTo>
                  <a:lnTo>
                    <a:pt x="643" y="156"/>
                  </a:lnTo>
                  <a:lnTo>
                    <a:pt x="634" y="156"/>
                  </a:lnTo>
                  <a:lnTo>
                    <a:pt x="634" y="146"/>
                  </a:lnTo>
                  <a:lnTo>
                    <a:pt x="614" y="146"/>
                  </a:lnTo>
                  <a:lnTo>
                    <a:pt x="614" y="166"/>
                  </a:lnTo>
                  <a:lnTo>
                    <a:pt x="604" y="166"/>
                  </a:lnTo>
                  <a:lnTo>
                    <a:pt x="585" y="175"/>
                  </a:lnTo>
                  <a:lnTo>
                    <a:pt x="575" y="175"/>
                  </a:lnTo>
                  <a:lnTo>
                    <a:pt x="575" y="156"/>
                  </a:lnTo>
                  <a:lnTo>
                    <a:pt x="565" y="156"/>
                  </a:lnTo>
                  <a:lnTo>
                    <a:pt x="565" y="146"/>
                  </a:lnTo>
                  <a:lnTo>
                    <a:pt x="565" y="117"/>
                  </a:lnTo>
                  <a:lnTo>
                    <a:pt x="575" y="107"/>
                  </a:lnTo>
                  <a:lnTo>
                    <a:pt x="575" y="87"/>
                  </a:lnTo>
                  <a:lnTo>
                    <a:pt x="565" y="78"/>
                  </a:lnTo>
                  <a:lnTo>
                    <a:pt x="575" y="58"/>
                  </a:lnTo>
                  <a:lnTo>
                    <a:pt x="546" y="39"/>
                  </a:lnTo>
                  <a:lnTo>
                    <a:pt x="517" y="9"/>
                  </a:lnTo>
                  <a:lnTo>
                    <a:pt x="458" y="0"/>
                  </a:lnTo>
                  <a:lnTo>
                    <a:pt x="448" y="9"/>
                  </a:lnTo>
                  <a:lnTo>
                    <a:pt x="419" y="19"/>
                  </a:lnTo>
                  <a:lnTo>
                    <a:pt x="409" y="29"/>
                  </a:lnTo>
                  <a:lnTo>
                    <a:pt x="400" y="48"/>
                  </a:lnTo>
                  <a:lnTo>
                    <a:pt x="400" y="58"/>
                  </a:lnTo>
                  <a:lnTo>
                    <a:pt x="400" y="78"/>
                  </a:lnTo>
                  <a:lnTo>
                    <a:pt x="390" y="78"/>
                  </a:lnTo>
                  <a:lnTo>
                    <a:pt x="380" y="68"/>
                  </a:lnTo>
                  <a:lnTo>
                    <a:pt x="380" y="58"/>
                  </a:lnTo>
                  <a:lnTo>
                    <a:pt x="370" y="68"/>
                  </a:lnTo>
                  <a:lnTo>
                    <a:pt x="370" y="78"/>
                  </a:lnTo>
                  <a:lnTo>
                    <a:pt x="361" y="87"/>
                  </a:lnTo>
                  <a:lnTo>
                    <a:pt x="351" y="68"/>
                  </a:lnTo>
                  <a:lnTo>
                    <a:pt x="331" y="87"/>
                  </a:lnTo>
                  <a:lnTo>
                    <a:pt x="341" y="107"/>
                  </a:lnTo>
                  <a:lnTo>
                    <a:pt x="331" y="117"/>
                  </a:lnTo>
                  <a:lnTo>
                    <a:pt x="312" y="127"/>
                  </a:lnTo>
                  <a:lnTo>
                    <a:pt x="292" y="117"/>
                  </a:lnTo>
                  <a:lnTo>
                    <a:pt x="273" y="127"/>
                  </a:lnTo>
                  <a:lnTo>
                    <a:pt x="253" y="127"/>
                  </a:lnTo>
                  <a:lnTo>
                    <a:pt x="234" y="117"/>
                  </a:lnTo>
                  <a:lnTo>
                    <a:pt x="224" y="136"/>
                  </a:lnTo>
                  <a:lnTo>
                    <a:pt x="214" y="127"/>
                  </a:lnTo>
                  <a:lnTo>
                    <a:pt x="205" y="117"/>
                  </a:lnTo>
                  <a:lnTo>
                    <a:pt x="195" y="127"/>
                  </a:lnTo>
                  <a:lnTo>
                    <a:pt x="205" y="136"/>
                  </a:lnTo>
                  <a:lnTo>
                    <a:pt x="195" y="156"/>
                  </a:lnTo>
                  <a:lnTo>
                    <a:pt x="205" y="195"/>
                  </a:lnTo>
                  <a:lnTo>
                    <a:pt x="214" y="205"/>
                  </a:lnTo>
                  <a:lnTo>
                    <a:pt x="214" y="234"/>
                  </a:lnTo>
                  <a:lnTo>
                    <a:pt x="205" y="253"/>
                  </a:lnTo>
                  <a:lnTo>
                    <a:pt x="195" y="273"/>
                  </a:lnTo>
                  <a:lnTo>
                    <a:pt x="195" y="292"/>
                  </a:lnTo>
                  <a:lnTo>
                    <a:pt x="185" y="302"/>
                  </a:lnTo>
                  <a:lnTo>
                    <a:pt x="185" y="331"/>
                  </a:lnTo>
                  <a:lnTo>
                    <a:pt x="185" y="361"/>
                  </a:lnTo>
                  <a:lnTo>
                    <a:pt x="214" y="380"/>
                  </a:lnTo>
                  <a:lnTo>
                    <a:pt x="224" y="419"/>
                  </a:lnTo>
                  <a:lnTo>
                    <a:pt x="234" y="439"/>
                  </a:lnTo>
                  <a:lnTo>
                    <a:pt x="253" y="439"/>
                  </a:lnTo>
                  <a:lnTo>
                    <a:pt x="253" y="458"/>
                  </a:lnTo>
                  <a:lnTo>
                    <a:pt x="253" y="478"/>
                  </a:lnTo>
                  <a:lnTo>
                    <a:pt x="244" y="478"/>
                  </a:lnTo>
                  <a:lnTo>
                    <a:pt x="244" y="517"/>
                  </a:lnTo>
                  <a:lnTo>
                    <a:pt x="234" y="527"/>
                  </a:lnTo>
                  <a:lnTo>
                    <a:pt x="214" y="546"/>
                  </a:lnTo>
                  <a:lnTo>
                    <a:pt x="195" y="546"/>
                  </a:lnTo>
                  <a:lnTo>
                    <a:pt x="185" y="556"/>
                  </a:lnTo>
                  <a:lnTo>
                    <a:pt x="165" y="556"/>
                  </a:lnTo>
                  <a:lnTo>
                    <a:pt x="156" y="556"/>
                  </a:lnTo>
                  <a:lnTo>
                    <a:pt x="146" y="575"/>
                  </a:lnTo>
                  <a:lnTo>
                    <a:pt x="146" y="595"/>
                  </a:lnTo>
                  <a:lnTo>
                    <a:pt x="146" y="614"/>
                  </a:lnTo>
                  <a:lnTo>
                    <a:pt x="136" y="614"/>
                  </a:lnTo>
                  <a:lnTo>
                    <a:pt x="117" y="624"/>
                  </a:lnTo>
                  <a:lnTo>
                    <a:pt x="107" y="624"/>
                  </a:lnTo>
                  <a:lnTo>
                    <a:pt x="97" y="644"/>
                  </a:lnTo>
                  <a:lnTo>
                    <a:pt x="78" y="634"/>
                  </a:lnTo>
                  <a:lnTo>
                    <a:pt x="68" y="644"/>
                  </a:lnTo>
                  <a:lnTo>
                    <a:pt x="48" y="644"/>
                  </a:lnTo>
                  <a:lnTo>
                    <a:pt x="29" y="653"/>
                  </a:lnTo>
                  <a:lnTo>
                    <a:pt x="29" y="683"/>
                  </a:lnTo>
                  <a:lnTo>
                    <a:pt x="29" y="702"/>
                  </a:lnTo>
                  <a:lnTo>
                    <a:pt x="19" y="712"/>
                  </a:lnTo>
                  <a:lnTo>
                    <a:pt x="29" y="761"/>
                  </a:lnTo>
                  <a:lnTo>
                    <a:pt x="19" y="761"/>
                  </a:lnTo>
                  <a:lnTo>
                    <a:pt x="19" y="770"/>
                  </a:lnTo>
                  <a:lnTo>
                    <a:pt x="29" y="780"/>
                  </a:lnTo>
                  <a:lnTo>
                    <a:pt x="29" y="790"/>
                  </a:lnTo>
                  <a:lnTo>
                    <a:pt x="29" y="800"/>
                  </a:lnTo>
                  <a:lnTo>
                    <a:pt x="29" y="809"/>
                  </a:lnTo>
                  <a:lnTo>
                    <a:pt x="9" y="809"/>
                  </a:lnTo>
                  <a:lnTo>
                    <a:pt x="0" y="809"/>
                  </a:lnTo>
                  <a:lnTo>
                    <a:pt x="9" y="819"/>
                  </a:lnTo>
                  <a:lnTo>
                    <a:pt x="29" y="829"/>
                  </a:lnTo>
                  <a:lnTo>
                    <a:pt x="39" y="839"/>
                  </a:lnTo>
                  <a:lnTo>
                    <a:pt x="58" y="849"/>
                  </a:lnTo>
                  <a:lnTo>
                    <a:pt x="48" y="868"/>
                  </a:lnTo>
                  <a:lnTo>
                    <a:pt x="39" y="897"/>
                  </a:lnTo>
                  <a:lnTo>
                    <a:pt x="39" y="917"/>
                  </a:lnTo>
                  <a:lnTo>
                    <a:pt x="58" y="917"/>
                  </a:lnTo>
                  <a:lnTo>
                    <a:pt x="78" y="936"/>
                  </a:lnTo>
                  <a:lnTo>
                    <a:pt x="87" y="946"/>
                  </a:lnTo>
                  <a:lnTo>
                    <a:pt x="87" y="956"/>
                  </a:lnTo>
                  <a:lnTo>
                    <a:pt x="87" y="975"/>
                  </a:lnTo>
                  <a:lnTo>
                    <a:pt x="78" y="985"/>
                  </a:lnTo>
                  <a:lnTo>
                    <a:pt x="78" y="1005"/>
                  </a:lnTo>
                  <a:lnTo>
                    <a:pt x="78" y="1014"/>
                  </a:lnTo>
                  <a:lnTo>
                    <a:pt x="68" y="1034"/>
                  </a:lnTo>
                  <a:lnTo>
                    <a:pt x="68" y="1053"/>
                  </a:lnTo>
                  <a:lnTo>
                    <a:pt x="87" y="1073"/>
                  </a:lnTo>
                  <a:lnTo>
                    <a:pt x="146" y="1053"/>
                  </a:lnTo>
                  <a:lnTo>
                    <a:pt x="175" y="1044"/>
                  </a:lnTo>
                  <a:lnTo>
                    <a:pt x="185" y="1034"/>
                  </a:lnTo>
                  <a:lnTo>
                    <a:pt x="205" y="1044"/>
                  </a:lnTo>
                  <a:lnTo>
                    <a:pt x="234" y="1053"/>
                  </a:lnTo>
                  <a:lnTo>
                    <a:pt x="234" y="1063"/>
                  </a:lnTo>
                  <a:lnTo>
                    <a:pt x="214" y="1063"/>
                  </a:lnTo>
                  <a:lnTo>
                    <a:pt x="224" y="1073"/>
                  </a:lnTo>
                  <a:lnTo>
                    <a:pt x="214" y="1073"/>
                  </a:lnTo>
                  <a:lnTo>
                    <a:pt x="214" y="1083"/>
                  </a:lnTo>
                  <a:lnTo>
                    <a:pt x="224" y="1092"/>
                  </a:lnTo>
                  <a:lnTo>
                    <a:pt x="205" y="1102"/>
                  </a:lnTo>
                  <a:lnTo>
                    <a:pt x="195" y="1122"/>
                  </a:lnTo>
                  <a:lnTo>
                    <a:pt x="185" y="1151"/>
                  </a:lnTo>
                  <a:lnTo>
                    <a:pt x="175" y="1170"/>
                  </a:lnTo>
                  <a:lnTo>
                    <a:pt x="175" y="1190"/>
                  </a:lnTo>
                  <a:lnTo>
                    <a:pt x="175" y="1200"/>
                  </a:lnTo>
                  <a:lnTo>
                    <a:pt x="175" y="1210"/>
                  </a:lnTo>
                  <a:lnTo>
                    <a:pt x="165" y="1229"/>
                  </a:lnTo>
                  <a:lnTo>
                    <a:pt x="156" y="1258"/>
                  </a:lnTo>
                  <a:lnTo>
                    <a:pt x="165" y="1268"/>
                  </a:lnTo>
                  <a:lnTo>
                    <a:pt x="185" y="1268"/>
                  </a:lnTo>
                  <a:lnTo>
                    <a:pt x="195" y="1258"/>
                  </a:lnTo>
                  <a:lnTo>
                    <a:pt x="224" y="1249"/>
                  </a:lnTo>
                  <a:lnTo>
                    <a:pt x="234" y="1268"/>
                  </a:lnTo>
                  <a:lnTo>
                    <a:pt x="234" y="1297"/>
                  </a:lnTo>
                  <a:lnTo>
                    <a:pt x="253" y="1317"/>
                  </a:lnTo>
                  <a:lnTo>
                    <a:pt x="273" y="1307"/>
                  </a:lnTo>
                  <a:lnTo>
                    <a:pt x="283" y="1297"/>
                  </a:lnTo>
                  <a:lnTo>
                    <a:pt x="283" y="1307"/>
                  </a:lnTo>
                  <a:lnTo>
                    <a:pt x="302" y="1307"/>
                  </a:lnTo>
                  <a:lnTo>
                    <a:pt x="302" y="1288"/>
                  </a:lnTo>
                  <a:lnTo>
                    <a:pt x="322" y="1278"/>
                  </a:lnTo>
                  <a:lnTo>
                    <a:pt x="341" y="1268"/>
                  </a:lnTo>
                  <a:lnTo>
                    <a:pt x="341" y="1258"/>
                  </a:lnTo>
                  <a:lnTo>
                    <a:pt x="351" y="1249"/>
                  </a:lnTo>
                  <a:lnTo>
                    <a:pt x="351" y="1229"/>
                  </a:lnTo>
                  <a:lnTo>
                    <a:pt x="380" y="1219"/>
                  </a:lnTo>
                  <a:lnTo>
                    <a:pt x="400" y="1219"/>
                  </a:lnTo>
                  <a:lnTo>
                    <a:pt x="409" y="1210"/>
                  </a:lnTo>
                  <a:lnTo>
                    <a:pt x="419" y="1180"/>
                  </a:lnTo>
                  <a:lnTo>
                    <a:pt x="439" y="1190"/>
                  </a:lnTo>
                  <a:lnTo>
                    <a:pt x="458" y="1200"/>
                  </a:lnTo>
                  <a:lnTo>
                    <a:pt x="468" y="1219"/>
                  </a:lnTo>
                  <a:lnTo>
                    <a:pt x="468" y="1239"/>
                  </a:lnTo>
                  <a:lnTo>
                    <a:pt x="478" y="1258"/>
                  </a:lnTo>
                  <a:lnTo>
                    <a:pt x="487" y="1258"/>
                  </a:lnTo>
                  <a:lnTo>
                    <a:pt x="497" y="1278"/>
                  </a:lnTo>
                  <a:lnTo>
                    <a:pt x="497" y="1297"/>
                  </a:lnTo>
                  <a:lnTo>
                    <a:pt x="439" y="1307"/>
                  </a:lnTo>
                  <a:lnTo>
                    <a:pt x="419" y="1317"/>
                  </a:lnTo>
                  <a:lnTo>
                    <a:pt x="409" y="1307"/>
                  </a:lnTo>
                  <a:lnTo>
                    <a:pt x="400" y="1307"/>
                  </a:lnTo>
                  <a:lnTo>
                    <a:pt x="400" y="1317"/>
                  </a:lnTo>
                  <a:lnTo>
                    <a:pt x="419" y="1336"/>
                  </a:lnTo>
                  <a:lnTo>
                    <a:pt x="429" y="1346"/>
                  </a:lnTo>
                  <a:lnTo>
                    <a:pt x="439" y="1366"/>
                  </a:lnTo>
                  <a:lnTo>
                    <a:pt x="419" y="1375"/>
                  </a:lnTo>
                  <a:lnTo>
                    <a:pt x="400" y="1385"/>
                  </a:lnTo>
                  <a:lnTo>
                    <a:pt x="390" y="1385"/>
                  </a:lnTo>
                  <a:lnTo>
                    <a:pt x="390" y="1395"/>
                  </a:lnTo>
                  <a:lnTo>
                    <a:pt x="390" y="1414"/>
                  </a:lnTo>
                  <a:lnTo>
                    <a:pt x="380" y="1414"/>
                  </a:lnTo>
                  <a:lnTo>
                    <a:pt x="380" y="1434"/>
                  </a:lnTo>
                  <a:lnTo>
                    <a:pt x="380" y="1444"/>
                  </a:lnTo>
                  <a:lnTo>
                    <a:pt x="361" y="1463"/>
                  </a:lnTo>
                  <a:lnTo>
                    <a:pt x="331" y="1463"/>
                  </a:lnTo>
                  <a:lnTo>
                    <a:pt x="341" y="1483"/>
                  </a:lnTo>
                  <a:lnTo>
                    <a:pt x="351" y="1492"/>
                  </a:lnTo>
                  <a:lnTo>
                    <a:pt x="351" y="1502"/>
                  </a:lnTo>
                  <a:lnTo>
                    <a:pt x="341" y="1502"/>
                  </a:lnTo>
                  <a:lnTo>
                    <a:pt x="341" y="1522"/>
                  </a:lnTo>
                  <a:lnTo>
                    <a:pt x="331" y="1541"/>
                  </a:lnTo>
                  <a:lnTo>
                    <a:pt x="331" y="1551"/>
                  </a:lnTo>
                  <a:lnTo>
                    <a:pt x="331" y="1571"/>
                  </a:lnTo>
                  <a:lnTo>
                    <a:pt x="331" y="159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19" name="Group 108"/>
            <p:cNvGrpSpPr>
              <a:grpSpLocks/>
            </p:cNvGrpSpPr>
            <p:nvPr/>
          </p:nvGrpSpPr>
          <p:grpSpPr bwMode="auto">
            <a:xfrm>
              <a:off x="7237" y="2059"/>
              <a:ext cx="1112" cy="1883"/>
              <a:chOff x="7238" y="2059"/>
              <a:chExt cx="1112" cy="1883"/>
            </a:xfrm>
          </p:grpSpPr>
          <p:sp>
            <p:nvSpPr>
              <p:cNvPr id="312" name="Freeform 110"/>
              <p:cNvSpPr>
                <a:spLocks/>
              </p:cNvSpPr>
              <p:nvPr/>
            </p:nvSpPr>
            <p:spPr bwMode="auto">
              <a:xfrm>
                <a:off x="7238" y="2059"/>
                <a:ext cx="1112" cy="1883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331 w 1112"/>
                  <a:gd name="T125" fmla="*/ 1590 h 188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112"/>
                  <a:gd name="T190" fmla="*/ 0 h 1883"/>
                  <a:gd name="T191" fmla="*/ 1112 w 1112"/>
                  <a:gd name="T192" fmla="*/ 1883 h 188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  <a:lnTo>
                      <a:pt x="331" y="1590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3" name="Freeform 109"/>
              <p:cNvSpPr>
                <a:spLocks/>
              </p:cNvSpPr>
              <p:nvPr/>
            </p:nvSpPr>
            <p:spPr bwMode="auto">
              <a:xfrm>
                <a:off x="7238" y="2059"/>
                <a:ext cx="1112" cy="1883"/>
              </a:xfrm>
              <a:custGeom>
                <a:avLst/>
                <a:gdLst>
                  <a:gd name="T0" fmla="*/ 419 w 1112"/>
                  <a:gd name="T1" fmla="*/ 1639 h 1883"/>
                  <a:gd name="T2" fmla="*/ 478 w 1112"/>
                  <a:gd name="T3" fmla="*/ 1707 h 1883"/>
                  <a:gd name="T4" fmla="*/ 565 w 1112"/>
                  <a:gd name="T5" fmla="*/ 1678 h 1883"/>
                  <a:gd name="T6" fmla="*/ 682 w 1112"/>
                  <a:gd name="T7" fmla="*/ 1688 h 1883"/>
                  <a:gd name="T8" fmla="*/ 760 w 1112"/>
                  <a:gd name="T9" fmla="*/ 1688 h 1883"/>
                  <a:gd name="T10" fmla="*/ 790 w 1112"/>
                  <a:gd name="T11" fmla="*/ 1756 h 1883"/>
                  <a:gd name="T12" fmla="*/ 800 w 1112"/>
                  <a:gd name="T13" fmla="*/ 1873 h 1883"/>
                  <a:gd name="T14" fmla="*/ 839 w 1112"/>
                  <a:gd name="T15" fmla="*/ 1805 h 1883"/>
                  <a:gd name="T16" fmla="*/ 917 w 1112"/>
                  <a:gd name="T17" fmla="*/ 1795 h 1883"/>
                  <a:gd name="T18" fmla="*/ 965 w 1112"/>
                  <a:gd name="T19" fmla="*/ 1717 h 1883"/>
                  <a:gd name="T20" fmla="*/ 975 w 1112"/>
                  <a:gd name="T21" fmla="*/ 1639 h 1883"/>
                  <a:gd name="T22" fmla="*/ 1004 w 1112"/>
                  <a:gd name="T23" fmla="*/ 1551 h 1883"/>
                  <a:gd name="T24" fmla="*/ 1073 w 1112"/>
                  <a:gd name="T25" fmla="*/ 1590 h 1883"/>
                  <a:gd name="T26" fmla="*/ 1102 w 1112"/>
                  <a:gd name="T27" fmla="*/ 1600 h 1883"/>
                  <a:gd name="T28" fmla="*/ 1092 w 1112"/>
                  <a:gd name="T29" fmla="*/ 1405 h 1883"/>
                  <a:gd name="T30" fmla="*/ 1053 w 1112"/>
                  <a:gd name="T31" fmla="*/ 1327 h 1883"/>
                  <a:gd name="T32" fmla="*/ 975 w 1112"/>
                  <a:gd name="T33" fmla="*/ 1229 h 1883"/>
                  <a:gd name="T34" fmla="*/ 956 w 1112"/>
                  <a:gd name="T35" fmla="*/ 1131 h 1883"/>
                  <a:gd name="T36" fmla="*/ 926 w 1112"/>
                  <a:gd name="T37" fmla="*/ 1063 h 1883"/>
                  <a:gd name="T38" fmla="*/ 878 w 1112"/>
                  <a:gd name="T39" fmla="*/ 995 h 1883"/>
                  <a:gd name="T40" fmla="*/ 800 w 1112"/>
                  <a:gd name="T41" fmla="*/ 956 h 1883"/>
                  <a:gd name="T42" fmla="*/ 682 w 1112"/>
                  <a:gd name="T43" fmla="*/ 956 h 1883"/>
                  <a:gd name="T44" fmla="*/ 673 w 1112"/>
                  <a:gd name="T45" fmla="*/ 1014 h 1883"/>
                  <a:gd name="T46" fmla="*/ 653 w 1112"/>
                  <a:gd name="T47" fmla="*/ 1005 h 1883"/>
                  <a:gd name="T48" fmla="*/ 604 w 1112"/>
                  <a:gd name="T49" fmla="*/ 1092 h 1883"/>
                  <a:gd name="T50" fmla="*/ 575 w 1112"/>
                  <a:gd name="T51" fmla="*/ 1034 h 1883"/>
                  <a:gd name="T52" fmla="*/ 556 w 1112"/>
                  <a:gd name="T53" fmla="*/ 1034 h 1883"/>
                  <a:gd name="T54" fmla="*/ 546 w 1112"/>
                  <a:gd name="T55" fmla="*/ 1063 h 1883"/>
                  <a:gd name="T56" fmla="*/ 487 w 1112"/>
                  <a:gd name="T57" fmla="*/ 1024 h 1883"/>
                  <a:gd name="T58" fmla="*/ 400 w 1112"/>
                  <a:gd name="T59" fmla="*/ 1034 h 1883"/>
                  <a:gd name="T60" fmla="*/ 429 w 1112"/>
                  <a:gd name="T61" fmla="*/ 927 h 1883"/>
                  <a:gd name="T62" fmla="*/ 468 w 1112"/>
                  <a:gd name="T63" fmla="*/ 849 h 1883"/>
                  <a:gd name="T64" fmla="*/ 478 w 1112"/>
                  <a:gd name="T65" fmla="*/ 751 h 1883"/>
                  <a:gd name="T66" fmla="*/ 487 w 1112"/>
                  <a:gd name="T67" fmla="*/ 634 h 1883"/>
                  <a:gd name="T68" fmla="*/ 497 w 1112"/>
                  <a:gd name="T69" fmla="*/ 527 h 1883"/>
                  <a:gd name="T70" fmla="*/ 517 w 1112"/>
                  <a:gd name="T71" fmla="*/ 380 h 1883"/>
                  <a:gd name="T72" fmla="*/ 624 w 1112"/>
                  <a:gd name="T73" fmla="*/ 263 h 1883"/>
                  <a:gd name="T74" fmla="*/ 702 w 1112"/>
                  <a:gd name="T75" fmla="*/ 244 h 1883"/>
                  <a:gd name="T76" fmla="*/ 673 w 1112"/>
                  <a:gd name="T77" fmla="*/ 156 h 1883"/>
                  <a:gd name="T78" fmla="*/ 585 w 1112"/>
                  <a:gd name="T79" fmla="*/ 175 h 1883"/>
                  <a:gd name="T80" fmla="*/ 565 w 1112"/>
                  <a:gd name="T81" fmla="*/ 78 h 1883"/>
                  <a:gd name="T82" fmla="*/ 400 w 1112"/>
                  <a:gd name="T83" fmla="*/ 48 h 1883"/>
                  <a:gd name="T84" fmla="*/ 361 w 1112"/>
                  <a:gd name="T85" fmla="*/ 87 h 1883"/>
                  <a:gd name="T86" fmla="*/ 253 w 1112"/>
                  <a:gd name="T87" fmla="*/ 127 h 1883"/>
                  <a:gd name="T88" fmla="*/ 205 w 1112"/>
                  <a:gd name="T89" fmla="*/ 195 h 1883"/>
                  <a:gd name="T90" fmla="*/ 185 w 1112"/>
                  <a:gd name="T91" fmla="*/ 361 h 1883"/>
                  <a:gd name="T92" fmla="*/ 244 w 1112"/>
                  <a:gd name="T93" fmla="*/ 517 h 1883"/>
                  <a:gd name="T94" fmla="*/ 146 w 1112"/>
                  <a:gd name="T95" fmla="*/ 595 h 1883"/>
                  <a:gd name="T96" fmla="*/ 48 w 1112"/>
                  <a:gd name="T97" fmla="*/ 653 h 1883"/>
                  <a:gd name="T98" fmla="*/ 19 w 1112"/>
                  <a:gd name="T99" fmla="*/ 770 h 1883"/>
                  <a:gd name="T100" fmla="*/ 29 w 1112"/>
                  <a:gd name="T101" fmla="*/ 829 h 1883"/>
                  <a:gd name="T102" fmla="*/ 87 w 1112"/>
                  <a:gd name="T103" fmla="*/ 946 h 1883"/>
                  <a:gd name="T104" fmla="*/ 87 w 1112"/>
                  <a:gd name="T105" fmla="*/ 1073 h 1883"/>
                  <a:gd name="T106" fmla="*/ 224 w 1112"/>
                  <a:gd name="T107" fmla="*/ 1073 h 1883"/>
                  <a:gd name="T108" fmla="*/ 185 w 1112"/>
                  <a:gd name="T109" fmla="*/ 1151 h 1883"/>
                  <a:gd name="T110" fmla="*/ 185 w 1112"/>
                  <a:gd name="T111" fmla="*/ 1268 h 1883"/>
                  <a:gd name="T112" fmla="*/ 283 w 1112"/>
                  <a:gd name="T113" fmla="*/ 1307 h 1883"/>
                  <a:gd name="T114" fmla="*/ 380 w 1112"/>
                  <a:gd name="T115" fmla="*/ 1219 h 1883"/>
                  <a:gd name="T116" fmla="*/ 468 w 1112"/>
                  <a:gd name="T117" fmla="*/ 1239 h 1883"/>
                  <a:gd name="T118" fmla="*/ 400 w 1112"/>
                  <a:gd name="T119" fmla="*/ 1307 h 1883"/>
                  <a:gd name="T120" fmla="*/ 390 w 1112"/>
                  <a:gd name="T121" fmla="*/ 1405 h 1883"/>
                  <a:gd name="T122" fmla="*/ 341 w 1112"/>
                  <a:gd name="T123" fmla="*/ 1483 h 188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12"/>
                  <a:gd name="T187" fmla="*/ 0 h 1883"/>
                  <a:gd name="T188" fmla="*/ 1112 w 1112"/>
                  <a:gd name="T189" fmla="*/ 1883 h 188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12" h="1883">
                    <a:moveTo>
                      <a:pt x="331" y="1590"/>
                    </a:moveTo>
                    <a:lnTo>
                      <a:pt x="361" y="1590"/>
                    </a:lnTo>
                    <a:lnTo>
                      <a:pt x="361" y="1600"/>
                    </a:lnTo>
                    <a:lnTo>
                      <a:pt x="370" y="1619"/>
                    </a:lnTo>
                    <a:lnTo>
                      <a:pt x="400" y="1610"/>
                    </a:lnTo>
                    <a:lnTo>
                      <a:pt x="419" y="1619"/>
                    </a:lnTo>
                    <a:lnTo>
                      <a:pt x="419" y="1629"/>
                    </a:lnTo>
                    <a:lnTo>
                      <a:pt x="419" y="1639"/>
                    </a:lnTo>
                    <a:lnTo>
                      <a:pt x="439" y="1649"/>
                    </a:lnTo>
                    <a:lnTo>
                      <a:pt x="448" y="1658"/>
                    </a:lnTo>
                    <a:lnTo>
                      <a:pt x="439" y="1678"/>
                    </a:lnTo>
                    <a:lnTo>
                      <a:pt x="448" y="1688"/>
                    </a:lnTo>
                    <a:lnTo>
                      <a:pt x="458" y="1707"/>
                    </a:lnTo>
                    <a:lnTo>
                      <a:pt x="458" y="1727"/>
                    </a:lnTo>
                    <a:lnTo>
                      <a:pt x="478" y="1717"/>
                    </a:lnTo>
                    <a:lnTo>
                      <a:pt x="478" y="1707"/>
                    </a:lnTo>
                    <a:lnTo>
                      <a:pt x="507" y="1697"/>
                    </a:lnTo>
                    <a:lnTo>
                      <a:pt x="507" y="1678"/>
                    </a:lnTo>
                    <a:lnTo>
                      <a:pt x="526" y="1678"/>
                    </a:lnTo>
                    <a:lnTo>
                      <a:pt x="526" y="1688"/>
                    </a:lnTo>
                    <a:lnTo>
                      <a:pt x="536" y="1697"/>
                    </a:lnTo>
                    <a:lnTo>
                      <a:pt x="546" y="1678"/>
                    </a:lnTo>
                    <a:lnTo>
                      <a:pt x="565" y="1678"/>
                    </a:lnTo>
                    <a:lnTo>
                      <a:pt x="575" y="1668"/>
                    </a:lnTo>
                    <a:lnTo>
                      <a:pt x="595" y="1678"/>
                    </a:lnTo>
                    <a:lnTo>
                      <a:pt x="604" y="1678"/>
                    </a:lnTo>
                    <a:lnTo>
                      <a:pt x="614" y="1688"/>
                    </a:lnTo>
                    <a:lnTo>
                      <a:pt x="624" y="1688"/>
                    </a:lnTo>
                    <a:lnTo>
                      <a:pt x="643" y="1688"/>
                    </a:lnTo>
                    <a:lnTo>
                      <a:pt x="673" y="1688"/>
                    </a:lnTo>
                    <a:lnTo>
                      <a:pt x="682" y="1688"/>
                    </a:lnTo>
                    <a:lnTo>
                      <a:pt x="702" y="1678"/>
                    </a:lnTo>
                    <a:lnTo>
                      <a:pt x="702" y="1668"/>
                    </a:lnTo>
                    <a:lnTo>
                      <a:pt x="712" y="1668"/>
                    </a:lnTo>
                    <a:lnTo>
                      <a:pt x="721" y="1668"/>
                    </a:lnTo>
                    <a:lnTo>
                      <a:pt x="741" y="1658"/>
                    </a:lnTo>
                    <a:lnTo>
                      <a:pt x="751" y="1658"/>
                    </a:lnTo>
                    <a:lnTo>
                      <a:pt x="760" y="1668"/>
                    </a:lnTo>
                    <a:lnTo>
                      <a:pt x="760" y="1688"/>
                    </a:lnTo>
                    <a:lnTo>
                      <a:pt x="741" y="1688"/>
                    </a:lnTo>
                    <a:lnTo>
                      <a:pt x="731" y="1688"/>
                    </a:lnTo>
                    <a:lnTo>
                      <a:pt x="731" y="1697"/>
                    </a:lnTo>
                    <a:lnTo>
                      <a:pt x="760" y="1697"/>
                    </a:lnTo>
                    <a:lnTo>
                      <a:pt x="770" y="1727"/>
                    </a:lnTo>
                    <a:lnTo>
                      <a:pt x="780" y="1736"/>
                    </a:lnTo>
                    <a:lnTo>
                      <a:pt x="790" y="1746"/>
                    </a:lnTo>
                    <a:lnTo>
                      <a:pt x="790" y="1756"/>
                    </a:lnTo>
                    <a:lnTo>
                      <a:pt x="790" y="1775"/>
                    </a:lnTo>
                    <a:lnTo>
                      <a:pt x="790" y="1795"/>
                    </a:lnTo>
                    <a:lnTo>
                      <a:pt x="780" y="1805"/>
                    </a:lnTo>
                    <a:lnTo>
                      <a:pt x="780" y="1824"/>
                    </a:lnTo>
                    <a:lnTo>
                      <a:pt x="790" y="1834"/>
                    </a:lnTo>
                    <a:lnTo>
                      <a:pt x="790" y="1853"/>
                    </a:lnTo>
                    <a:lnTo>
                      <a:pt x="800" y="1873"/>
                    </a:lnTo>
                    <a:lnTo>
                      <a:pt x="800" y="1883"/>
                    </a:lnTo>
                    <a:lnTo>
                      <a:pt x="809" y="1863"/>
                    </a:lnTo>
                    <a:lnTo>
                      <a:pt x="829" y="1863"/>
                    </a:lnTo>
                    <a:lnTo>
                      <a:pt x="819" y="1844"/>
                    </a:lnTo>
                    <a:lnTo>
                      <a:pt x="829" y="1834"/>
                    </a:lnTo>
                    <a:lnTo>
                      <a:pt x="819" y="1814"/>
                    </a:lnTo>
                    <a:lnTo>
                      <a:pt x="829" y="1805"/>
                    </a:lnTo>
                    <a:lnTo>
                      <a:pt x="839" y="1805"/>
                    </a:lnTo>
                    <a:lnTo>
                      <a:pt x="848" y="1795"/>
                    </a:lnTo>
                    <a:lnTo>
                      <a:pt x="858" y="1795"/>
                    </a:lnTo>
                    <a:lnTo>
                      <a:pt x="868" y="1805"/>
                    </a:lnTo>
                    <a:lnTo>
                      <a:pt x="878" y="1805"/>
                    </a:lnTo>
                    <a:lnTo>
                      <a:pt x="887" y="1805"/>
                    </a:lnTo>
                    <a:lnTo>
                      <a:pt x="887" y="1795"/>
                    </a:lnTo>
                    <a:lnTo>
                      <a:pt x="897" y="1795"/>
                    </a:lnTo>
                    <a:lnTo>
                      <a:pt x="917" y="1795"/>
                    </a:lnTo>
                    <a:lnTo>
                      <a:pt x="926" y="1785"/>
                    </a:lnTo>
                    <a:lnTo>
                      <a:pt x="946" y="1785"/>
                    </a:lnTo>
                    <a:lnTo>
                      <a:pt x="956" y="1775"/>
                    </a:lnTo>
                    <a:lnTo>
                      <a:pt x="975" y="1775"/>
                    </a:lnTo>
                    <a:lnTo>
                      <a:pt x="975" y="1756"/>
                    </a:lnTo>
                    <a:lnTo>
                      <a:pt x="975" y="1746"/>
                    </a:lnTo>
                    <a:lnTo>
                      <a:pt x="965" y="1727"/>
                    </a:lnTo>
                    <a:lnTo>
                      <a:pt x="965" y="1717"/>
                    </a:lnTo>
                    <a:lnTo>
                      <a:pt x="975" y="1697"/>
                    </a:lnTo>
                    <a:lnTo>
                      <a:pt x="1014" y="1688"/>
                    </a:lnTo>
                    <a:lnTo>
                      <a:pt x="1024" y="1668"/>
                    </a:lnTo>
                    <a:lnTo>
                      <a:pt x="1024" y="1649"/>
                    </a:lnTo>
                    <a:lnTo>
                      <a:pt x="1014" y="1629"/>
                    </a:lnTo>
                    <a:lnTo>
                      <a:pt x="995" y="1629"/>
                    </a:lnTo>
                    <a:lnTo>
                      <a:pt x="975" y="1639"/>
                    </a:lnTo>
                    <a:lnTo>
                      <a:pt x="975" y="1619"/>
                    </a:lnTo>
                    <a:lnTo>
                      <a:pt x="956" y="1619"/>
                    </a:lnTo>
                    <a:lnTo>
                      <a:pt x="946" y="1600"/>
                    </a:lnTo>
                    <a:lnTo>
                      <a:pt x="956" y="1590"/>
                    </a:lnTo>
                    <a:lnTo>
                      <a:pt x="975" y="1561"/>
                    </a:lnTo>
                    <a:lnTo>
                      <a:pt x="975" y="1541"/>
                    </a:lnTo>
                    <a:lnTo>
                      <a:pt x="985" y="1541"/>
                    </a:lnTo>
                    <a:lnTo>
                      <a:pt x="1004" y="1551"/>
                    </a:lnTo>
                    <a:lnTo>
                      <a:pt x="1024" y="1561"/>
                    </a:lnTo>
                    <a:lnTo>
                      <a:pt x="1034" y="1551"/>
                    </a:lnTo>
                    <a:lnTo>
                      <a:pt x="1034" y="1571"/>
                    </a:lnTo>
                    <a:lnTo>
                      <a:pt x="1034" y="1580"/>
                    </a:lnTo>
                    <a:lnTo>
                      <a:pt x="1043" y="1580"/>
                    </a:lnTo>
                    <a:lnTo>
                      <a:pt x="1063" y="1590"/>
                    </a:lnTo>
                    <a:lnTo>
                      <a:pt x="1073" y="1590"/>
                    </a:lnTo>
                    <a:lnTo>
                      <a:pt x="1053" y="1610"/>
                    </a:lnTo>
                    <a:lnTo>
                      <a:pt x="1073" y="1629"/>
                    </a:lnTo>
                    <a:lnTo>
                      <a:pt x="1082" y="1619"/>
                    </a:lnTo>
                    <a:lnTo>
                      <a:pt x="1092" y="1619"/>
                    </a:lnTo>
                    <a:lnTo>
                      <a:pt x="1112" y="1629"/>
                    </a:lnTo>
                    <a:lnTo>
                      <a:pt x="1112" y="1619"/>
                    </a:lnTo>
                    <a:lnTo>
                      <a:pt x="1102" y="1600"/>
                    </a:lnTo>
                    <a:lnTo>
                      <a:pt x="1102" y="1571"/>
                    </a:lnTo>
                    <a:lnTo>
                      <a:pt x="1102" y="1551"/>
                    </a:lnTo>
                    <a:lnTo>
                      <a:pt x="1112" y="1502"/>
                    </a:lnTo>
                    <a:lnTo>
                      <a:pt x="1112" y="1473"/>
                    </a:lnTo>
                    <a:lnTo>
                      <a:pt x="1112" y="1453"/>
                    </a:lnTo>
                    <a:lnTo>
                      <a:pt x="1102" y="1453"/>
                    </a:lnTo>
                    <a:lnTo>
                      <a:pt x="1102" y="1424"/>
                    </a:lnTo>
                    <a:lnTo>
                      <a:pt x="1092" y="1405"/>
                    </a:lnTo>
                    <a:lnTo>
                      <a:pt x="1082" y="1405"/>
                    </a:lnTo>
                    <a:lnTo>
                      <a:pt x="1082" y="1395"/>
                    </a:lnTo>
                    <a:lnTo>
                      <a:pt x="1073" y="1385"/>
                    </a:lnTo>
                    <a:lnTo>
                      <a:pt x="1082" y="1375"/>
                    </a:lnTo>
                    <a:lnTo>
                      <a:pt x="1073" y="1366"/>
                    </a:lnTo>
                    <a:lnTo>
                      <a:pt x="1063" y="1346"/>
                    </a:lnTo>
                    <a:lnTo>
                      <a:pt x="1053" y="1336"/>
                    </a:lnTo>
                    <a:lnTo>
                      <a:pt x="1053" y="1327"/>
                    </a:lnTo>
                    <a:lnTo>
                      <a:pt x="1034" y="1317"/>
                    </a:lnTo>
                    <a:lnTo>
                      <a:pt x="1034" y="1288"/>
                    </a:lnTo>
                    <a:lnTo>
                      <a:pt x="1024" y="1297"/>
                    </a:lnTo>
                    <a:lnTo>
                      <a:pt x="1014" y="1288"/>
                    </a:lnTo>
                    <a:lnTo>
                      <a:pt x="1014" y="1278"/>
                    </a:lnTo>
                    <a:lnTo>
                      <a:pt x="995" y="1258"/>
                    </a:lnTo>
                    <a:lnTo>
                      <a:pt x="995" y="1249"/>
                    </a:lnTo>
                    <a:lnTo>
                      <a:pt x="975" y="1229"/>
                    </a:lnTo>
                    <a:lnTo>
                      <a:pt x="975" y="1210"/>
                    </a:lnTo>
                    <a:lnTo>
                      <a:pt x="975" y="1190"/>
                    </a:lnTo>
                    <a:lnTo>
                      <a:pt x="965" y="1180"/>
                    </a:lnTo>
                    <a:lnTo>
                      <a:pt x="965" y="1170"/>
                    </a:lnTo>
                    <a:lnTo>
                      <a:pt x="965" y="1161"/>
                    </a:lnTo>
                    <a:lnTo>
                      <a:pt x="956" y="1151"/>
                    </a:lnTo>
                    <a:lnTo>
                      <a:pt x="956" y="1131"/>
                    </a:lnTo>
                    <a:lnTo>
                      <a:pt x="956" y="1112"/>
                    </a:lnTo>
                    <a:lnTo>
                      <a:pt x="956" y="1092"/>
                    </a:lnTo>
                    <a:lnTo>
                      <a:pt x="965" y="1092"/>
                    </a:lnTo>
                    <a:lnTo>
                      <a:pt x="956" y="1083"/>
                    </a:lnTo>
                    <a:lnTo>
                      <a:pt x="946" y="1073"/>
                    </a:lnTo>
                    <a:lnTo>
                      <a:pt x="946" y="1063"/>
                    </a:lnTo>
                    <a:lnTo>
                      <a:pt x="926" y="1063"/>
                    </a:lnTo>
                    <a:lnTo>
                      <a:pt x="907" y="1053"/>
                    </a:lnTo>
                    <a:lnTo>
                      <a:pt x="907" y="1034"/>
                    </a:lnTo>
                    <a:lnTo>
                      <a:pt x="897" y="1024"/>
                    </a:lnTo>
                    <a:lnTo>
                      <a:pt x="887" y="1014"/>
                    </a:lnTo>
                    <a:lnTo>
                      <a:pt x="878" y="1005"/>
                    </a:lnTo>
                    <a:lnTo>
                      <a:pt x="868" y="1005"/>
                    </a:lnTo>
                    <a:lnTo>
                      <a:pt x="848" y="1005"/>
                    </a:lnTo>
                    <a:lnTo>
                      <a:pt x="878" y="995"/>
                    </a:lnTo>
                    <a:lnTo>
                      <a:pt x="878" y="975"/>
                    </a:lnTo>
                    <a:lnTo>
                      <a:pt x="868" y="966"/>
                    </a:lnTo>
                    <a:lnTo>
                      <a:pt x="848" y="966"/>
                    </a:lnTo>
                    <a:lnTo>
                      <a:pt x="829" y="966"/>
                    </a:lnTo>
                    <a:lnTo>
                      <a:pt x="829" y="956"/>
                    </a:lnTo>
                    <a:lnTo>
                      <a:pt x="800" y="956"/>
                    </a:lnTo>
                    <a:lnTo>
                      <a:pt x="780" y="956"/>
                    </a:lnTo>
                    <a:lnTo>
                      <a:pt x="770" y="956"/>
                    </a:lnTo>
                    <a:lnTo>
                      <a:pt x="751" y="936"/>
                    </a:lnTo>
                    <a:lnTo>
                      <a:pt x="741" y="936"/>
                    </a:lnTo>
                    <a:lnTo>
                      <a:pt x="721" y="936"/>
                    </a:lnTo>
                    <a:lnTo>
                      <a:pt x="712" y="936"/>
                    </a:lnTo>
                    <a:lnTo>
                      <a:pt x="702" y="927"/>
                    </a:lnTo>
                    <a:lnTo>
                      <a:pt x="682" y="956"/>
                    </a:lnTo>
                    <a:lnTo>
                      <a:pt x="673" y="966"/>
                    </a:lnTo>
                    <a:lnTo>
                      <a:pt x="643" y="966"/>
                    </a:lnTo>
                    <a:lnTo>
                      <a:pt x="653" y="975"/>
                    </a:lnTo>
                    <a:lnTo>
                      <a:pt x="653" y="985"/>
                    </a:lnTo>
                    <a:lnTo>
                      <a:pt x="663" y="995"/>
                    </a:lnTo>
                    <a:lnTo>
                      <a:pt x="673" y="1005"/>
                    </a:lnTo>
                    <a:lnTo>
                      <a:pt x="673" y="1014"/>
                    </a:lnTo>
                    <a:lnTo>
                      <a:pt x="673" y="1024"/>
                    </a:lnTo>
                    <a:lnTo>
                      <a:pt x="682" y="1034"/>
                    </a:lnTo>
                    <a:lnTo>
                      <a:pt x="673" y="1053"/>
                    </a:lnTo>
                    <a:lnTo>
                      <a:pt x="663" y="1044"/>
                    </a:lnTo>
                    <a:lnTo>
                      <a:pt x="663" y="1024"/>
                    </a:lnTo>
                    <a:lnTo>
                      <a:pt x="663" y="1014"/>
                    </a:lnTo>
                    <a:lnTo>
                      <a:pt x="653" y="1005"/>
                    </a:lnTo>
                    <a:lnTo>
                      <a:pt x="643" y="1005"/>
                    </a:lnTo>
                    <a:lnTo>
                      <a:pt x="643" y="1024"/>
                    </a:lnTo>
                    <a:lnTo>
                      <a:pt x="653" y="1034"/>
                    </a:lnTo>
                    <a:lnTo>
                      <a:pt x="643" y="1044"/>
                    </a:lnTo>
                    <a:lnTo>
                      <a:pt x="643" y="1063"/>
                    </a:lnTo>
                    <a:lnTo>
                      <a:pt x="634" y="1073"/>
                    </a:lnTo>
                    <a:lnTo>
                      <a:pt x="624" y="1083"/>
                    </a:lnTo>
                    <a:lnTo>
                      <a:pt x="604" y="1092"/>
                    </a:lnTo>
                    <a:lnTo>
                      <a:pt x="604" y="1073"/>
                    </a:lnTo>
                    <a:lnTo>
                      <a:pt x="614" y="1073"/>
                    </a:lnTo>
                    <a:lnTo>
                      <a:pt x="614" y="1044"/>
                    </a:lnTo>
                    <a:lnTo>
                      <a:pt x="624" y="1034"/>
                    </a:lnTo>
                    <a:lnTo>
                      <a:pt x="604" y="1034"/>
                    </a:lnTo>
                    <a:lnTo>
                      <a:pt x="595" y="1034"/>
                    </a:lnTo>
                    <a:lnTo>
                      <a:pt x="575" y="1034"/>
                    </a:lnTo>
                    <a:lnTo>
                      <a:pt x="585" y="1024"/>
                    </a:lnTo>
                    <a:lnTo>
                      <a:pt x="585" y="1014"/>
                    </a:lnTo>
                    <a:lnTo>
                      <a:pt x="585" y="1005"/>
                    </a:lnTo>
                    <a:lnTo>
                      <a:pt x="575" y="1014"/>
                    </a:lnTo>
                    <a:lnTo>
                      <a:pt x="565" y="1024"/>
                    </a:lnTo>
                    <a:lnTo>
                      <a:pt x="556" y="1034"/>
                    </a:lnTo>
                    <a:lnTo>
                      <a:pt x="575" y="1053"/>
                    </a:lnTo>
                    <a:lnTo>
                      <a:pt x="575" y="1063"/>
                    </a:lnTo>
                    <a:lnTo>
                      <a:pt x="575" y="1073"/>
                    </a:lnTo>
                    <a:lnTo>
                      <a:pt x="565" y="1073"/>
                    </a:lnTo>
                    <a:lnTo>
                      <a:pt x="565" y="1083"/>
                    </a:lnTo>
                    <a:lnTo>
                      <a:pt x="556" y="1083"/>
                    </a:lnTo>
                    <a:lnTo>
                      <a:pt x="546" y="1073"/>
                    </a:lnTo>
                    <a:lnTo>
                      <a:pt x="546" y="1063"/>
                    </a:lnTo>
                    <a:lnTo>
                      <a:pt x="546" y="1053"/>
                    </a:lnTo>
                    <a:lnTo>
                      <a:pt x="536" y="1044"/>
                    </a:lnTo>
                    <a:lnTo>
                      <a:pt x="526" y="1034"/>
                    </a:lnTo>
                    <a:lnTo>
                      <a:pt x="526" y="1014"/>
                    </a:lnTo>
                    <a:lnTo>
                      <a:pt x="517" y="1005"/>
                    </a:lnTo>
                    <a:lnTo>
                      <a:pt x="507" y="1005"/>
                    </a:lnTo>
                    <a:lnTo>
                      <a:pt x="497" y="1005"/>
                    </a:lnTo>
                    <a:lnTo>
                      <a:pt x="487" y="1024"/>
                    </a:lnTo>
                    <a:lnTo>
                      <a:pt x="478" y="1024"/>
                    </a:lnTo>
                    <a:lnTo>
                      <a:pt x="458" y="1044"/>
                    </a:lnTo>
                    <a:lnTo>
                      <a:pt x="439" y="1044"/>
                    </a:lnTo>
                    <a:lnTo>
                      <a:pt x="429" y="1044"/>
                    </a:lnTo>
                    <a:lnTo>
                      <a:pt x="419" y="1044"/>
                    </a:lnTo>
                    <a:lnTo>
                      <a:pt x="409" y="1034"/>
                    </a:lnTo>
                    <a:lnTo>
                      <a:pt x="400" y="1034"/>
                    </a:lnTo>
                    <a:lnTo>
                      <a:pt x="400" y="1014"/>
                    </a:lnTo>
                    <a:lnTo>
                      <a:pt x="409" y="1005"/>
                    </a:lnTo>
                    <a:lnTo>
                      <a:pt x="419" y="995"/>
                    </a:lnTo>
                    <a:lnTo>
                      <a:pt x="429" y="985"/>
                    </a:lnTo>
                    <a:lnTo>
                      <a:pt x="429" y="975"/>
                    </a:lnTo>
                    <a:lnTo>
                      <a:pt x="439" y="956"/>
                    </a:lnTo>
                    <a:lnTo>
                      <a:pt x="429" y="936"/>
                    </a:lnTo>
                    <a:lnTo>
                      <a:pt x="429" y="927"/>
                    </a:lnTo>
                    <a:lnTo>
                      <a:pt x="439" y="917"/>
                    </a:lnTo>
                    <a:lnTo>
                      <a:pt x="439" y="907"/>
                    </a:lnTo>
                    <a:lnTo>
                      <a:pt x="448" y="907"/>
                    </a:lnTo>
                    <a:lnTo>
                      <a:pt x="448" y="897"/>
                    </a:lnTo>
                    <a:lnTo>
                      <a:pt x="448" y="888"/>
                    </a:lnTo>
                    <a:lnTo>
                      <a:pt x="458" y="868"/>
                    </a:lnTo>
                    <a:lnTo>
                      <a:pt x="458" y="858"/>
                    </a:lnTo>
                    <a:lnTo>
                      <a:pt x="468" y="849"/>
                    </a:lnTo>
                    <a:lnTo>
                      <a:pt x="468" y="839"/>
                    </a:lnTo>
                    <a:lnTo>
                      <a:pt x="478" y="829"/>
                    </a:lnTo>
                    <a:lnTo>
                      <a:pt x="478" y="809"/>
                    </a:lnTo>
                    <a:lnTo>
                      <a:pt x="468" y="800"/>
                    </a:lnTo>
                    <a:lnTo>
                      <a:pt x="478" y="790"/>
                    </a:lnTo>
                    <a:lnTo>
                      <a:pt x="478" y="770"/>
                    </a:lnTo>
                    <a:lnTo>
                      <a:pt x="468" y="770"/>
                    </a:lnTo>
                    <a:lnTo>
                      <a:pt x="478" y="751"/>
                    </a:lnTo>
                    <a:lnTo>
                      <a:pt x="478" y="741"/>
                    </a:lnTo>
                    <a:lnTo>
                      <a:pt x="468" y="712"/>
                    </a:lnTo>
                    <a:lnTo>
                      <a:pt x="478" y="702"/>
                    </a:lnTo>
                    <a:lnTo>
                      <a:pt x="478" y="692"/>
                    </a:lnTo>
                    <a:lnTo>
                      <a:pt x="478" y="683"/>
                    </a:lnTo>
                    <a:lnTo>
                      <a:pt x="478" y="673"/>
                    </a:lnTo>
                    <a:lnTo>
                      <a:pt x="487" y="653"/>
                    </a:lnTo>
                    <a:lnTo>
                      <a:pt x="487" y="634"/>
                    </a:lnTo>
                    <a:lnTo>
                      <a:pt x="497" y="634"/>
                    </a:lnTo>
                    <a:lnTo>
                      <a:pt x="497" y="614"/>
                    </a:lnTo>
                    <a:lnTo>
                      <a:pt x="497" y="595"/>
                    </a:lnTo>
                    <a:lnTo>
                      <a:pt x="507" y="585"/>
                    </a:lnTo>
                    <a:lnTo>
                      <a:pt x="517" y="566"/>
                    </a:lnTo>
                    <a:lnTo>
                      <a:pt x="507" y="556"/>
                    </a:lnTo>
                    <a:lnTo>
                      <a:pt x="497" y="546"/>
                    </a:lnTo>
                    <a:lnTo>
                      <a:pt x="497" y="527"/>
                    </a:lnTo>
                    <a:lnTo>
                      <a:pt x="497" y="497"/>
                    </a:lnTo>
                    <a:lnTo>
                      <a:pt x="507" y="488"/>
                    </a:lnTo>
                    <a:lnTo>
                      <a:pt x="517" y="458"/>
                    </a:lnTo>
                    <a:lnTo>
                      <a:pt x="517" y="448"/>
                    </a:lnTo>
                    <a:lnTo>
                      <a:pt x="517" y="439"/>
                    </a:lnTo>
                    <a:lnTo>
                      <a:pt x="507" y="419"/>
                    </a:lnTo>
                    <a:lnTo>
                      <a:pt x="507" y="400"/>
                    </a:lnTo>
                    <a:lnTo>
                      <a:pt x="517" y="380"/>
                    </a:lnTo>
                    <a:lnTo>
                      <a:pt x="526" y="361"/>
                    </a:lnTo>
                    <a:lnTo>
                      <a:pt x="536" y="331"/>
                    </a:lnTo>
                    <a:lnTo>
                      <a:pt x="556" y="331"/>
                    </a:lnTo>
                    <a:lnTo>
                      <a:pt x="565" y="322"/>
                    </a:lnTo>
                    <a:lnTo>
                      <a:pt x="575" y="302"/>
                    </a:lnTo>
                    <a:lnTo>
                      <a:pt x="595" y="292"/>
                    </a:lnTo>
                    <a:lnTo>
                      <a:pt x="614" y="283"/>
                    </a:lnTo>
                    <a:lnTo>
                      <a:pt x="624" y="263"/>
                    </a:lnTo>
                    <a:lnTo>
                      <a:pt x="643" y="253"/>
                    </a:lnTo>
                    <a:lnTo>
                      <a:pt x="653" y="244"/>
                    </a:lnTo>
                    <a:lnTo>
                      <a:pt x="663" y="244"/>
                    </a:lnTo>
                    <a:lnTo>
                      <a:pt x="673" y="253"/>
                    </a:lnTo>
                    <a:lnTo>
                      <a:pt x="692" y="263"/>
                    </a:lnTo>
                    <a:lnTo>
                      <a:pt x="692" y="244"/>
                    </a:lnTo>
                    <a:lnTo>
                      <a:pt x="702" y="244"/>
                    </a:lnTo>
                    <a:lnTo>
                      <a:pt x="682" y="234"/>
                    </a:lnTo>
                    <a:lnTo>
                      <a:pt x="682" y="214"/>
                    </a:lnTo>
                    <a:lnTo>
                      <a:pt x="692" y="214"/>
                    </a:lnTo>
                    <a:lnTo>
                      <a:pt x="702" y="205"/>
                    </a:lnTo>
                    <a:lnTo>
                      <a:pt x="702" y="195"/>
                    </a:lnTo>
                    <a:lnTo>
                      <a:pt x="692" y="175"/>
                    </a:lnTo>
                    <a:lnTo>
                      <a:pt x="682" y="166"/>
                    </a:lnTo>
                    <a:lnTo>
                      <a:pt x="673" y="156"/>
                    </a:lnTo>
                    <a:lnTo>
                      <a:pt x="663" y="156"/>
                    </a:lnTo>
                    <a:lnTo>
                      <a:pt x="643" y="156"/>
                    </a:lnTo>
                    <a:lnTo>
                      <a:pt x="634" y="156"/>
                    </a:lnTo>
                    <a:lnTo>
                      <a:pt x="624" y="146"/>
                    </a:lnTo>
                    <a:lnTo>
                      <a:pt x="614" y="156"/>
                    </a:lnTo>
                    <a:lnTo>
                      <a:pt x="614" y="166"/>
                    </a:lnTo>
                    <a:lnTo>
                      <a:pt x="604" y="166"/>
                    </a:lnTo>
                    <a:lnTo>
                      <a:pt x="585" y="175"/>
                    </a:lnTo>
                    <a:lnTo>
                      <a:pt x="575" y="175"/>
                    </a:lnTo>
                    <a:lnTo>
                      <a:pt x="575" y="156"/>
                    </a:lnTo>
                    <a:lnTo>
                      <a:pt x="565" y="156"/>
                    </a:lnTo>
                    <a:lnTo>
                      <a:pt x="565" y="146"/>
                    </a:lnTo>
                    <a:lnTo>
                      <a:pt x="565" y="117"/>
                    </a:lnTo>
                    <a:lnTo>
                      <a:pt x="575" y="107"/>
                    </a:lnTo>
                    <a:lnTo>
                      <a:pt x="575" y="97"/>
                    </a:lnTo>
                    <a:lnTo>
                      <a:pt x="565" y="78"/>
                    </a:lnTo>
                    <a:lnTo>
                      <a:pt x="575" y="58"/>
                    </a:lnTo>
                    <a:lnTo>
                      <a:pt x="546" y="39"/>
                    </a:lnTo>
                    <a:lnTo>
                      <a:pt x="517" y="19"/>
                    </a:lnTo>
                    <a:lnTo>
                      <a:pt x="458" y="0"/>
                    </a:lnTo>
                    <a:lnTo>
                      <a:pt x="448" y="19"/>
                    </a:lnTo>
                    <a:lnTo>
                      <a:pt x="419" y="19"/>
                    </a:lnTo>
                    <a:lnTo>
                      <a:pt x="409" y="29"/>
                    </a:lnTo>
                    <a:lnTo>
                      <a:pt x="400" y="48"/>
                    </a:lnTo>
                    <a:lnTo>
                      <a:pt x="400" y="58"/>
                    </a:lnTo>
                    <a:lnTo>
                      <a:pt x="400" y="78"/>
                    </a:lnTo>
                    <a:lnTo>
                      <a:pt x="390" y="78"/>
                    </a:lnTo>
                    <a:lnTo>
                      <a:pt x="380" y="78"/>
                    </a:lnTo>
                    <a:lnTo>
                      <a:pt x="370" y="58"/>
                    </a:lnTo>
                    <a:lnTo>
                      <a:pt x="370" y="68"/>
                    </a:lnTo>
                    <a:lnTo>
                      <a:pt x="370" y="78"/>
                    </a:lnTo>
                    <a:lnTo>
                      <a:pt x="361" y="87"/>
                    </a:lnTo>
                    <a:lnTo>
                      <a:pt x="351" y="78"/>
                    </a:lnTo>
                    <a:lnTo>
                      <a:pt x="322" y="87"/>
                    </a:lnTo>
                    <a:lnTo>
                      <a:pt x="341" y="107"/>
                    </a:lnTo>
                    <a:lnTo>
                      <a:pt x="322" y="117"/>
                    </a:lnTo>
                    <a:lnTo>
                      <a:pt x="312" y="127"/>
                    </a:lnTo>
                    <a:lnTo>
                      <a:pt x="292" y="117"/>
                    </a:lnTo>
                    <a:lnTo>
                      <a:pt x="273" y="127"/>
                    </a:lnTo>
                    <a:lnTo>
                      <a:pt x="253" y="127"/>
                    </a:lnTo>
                    <a:lnTo>
                      <a:pt x="234" y="117"/>
                    </a:lnTo>
                    <a:lnTo>
                      <a:pt x="224" y="136"/>
                    </a:lnTo>
                    <a:lnTo>
                      <a:pt x="214" y="127"/>
                    </a:lnTo>
                    <a:lnTo>
                      <a:pt x="205" y="117"/>
                    </a:lnTo>
                    <a:lnTo>
                      <a:pt x="195" y="127"/>
                    </a:lnTo>
                    <a:lnTo>
                      <a:pt x="205" y="136"/>
                    </a:lnTo>
                    <a:lnTo>
                      <a:pt x="195" y="156"/>
                    </a:lnTo>
                    <a:lnTo>
                      <a:pt x="205" y="195"/>
                    </a:lnTo>
                    <a:lnTo>
                      <a:pt x="214" y="205"/>
                    </a:lnTo>
                    <a:lnTo>
                      <a:pt x="214" y="234"/>
                    </a:lnTo>
                    <a:lnTo>
                      <a:pt x="205" y="253"/>
                    </a:lnTo>
                    <a:lnTo>
                      <a:pt x="195" y="273"/>
                    </a:lnTo>
                    <a:lnTo>
                      <a:pt x="195" y="292"/>
                    </a:lnTo>
                    <a:lnTo>
                      <a:pt x="185" y="302"/>
                    </a:lnTo>
                    <a:lnTo>
                      <a:pt x="185" y="331"/>
                    </a:lnTo>
                    <a:lnTo>
                      <a:pt x="185" y="361"/>
                    </a:lnTo>
                    <a:lnTo>
                      <a:pt x="214" y="380"/>
                    </a:lnTo>
                    <a:lnTo>
                      <a:pt x="224" y="419"/>
                    </a:lnTo>
                    <a:lnTo>
                      <a:pt x="234" y="439"/>
                    </a:lnTo>
                    <a:lnTo>
                      <a:pt x="253" y="439"/>
                    </a:lnTo>
                    <a:lnTo>
                      <a:pt x="253" y="458"/>
                    </a:lnTo>
                    <a:lnTo>
                      <a:pt x="253" y="478"/>
                    </a:lnTo>
                    <a:lnTo>
                      <a:pt x="244" y="478"/>
                    </a:lnTo>
                    <a:lnTo>
                      <a:pt x="244" y="517"/>
                    </a:lnTo>
                    <a:lnTo>
                      <a:pt x="234" y="527"/>
                    </a:lnTo>
                    <a:lnTo>
                      <a:pt x="214" y="546"/>
                    </a:lnTo>
                    <a:lnTo>
                      <a:pt x="195" y="546"/>
                    </a:lnTo>
                    <a:lnTo>
                      <a:pt x="185" y="556"/>
                    </a:lnTo>
                    <a:lnTo>
                      <a:pt x="165" y="556"/>
                    </a:lnTo>
                    <a:lnTo>
                      <a:pt x="156" y="556"/>
                    </a:lnTo>
                    <a:lnTo>
                      <a:pt x="146" y="575"/>
                    </a:lnTo>
                    <a:lnTo>
                      <a:pt x="146" y="595"/>
                    </a:lnTo>
                    <a:lnTo>
                      <a:pt x="146" y="614"/>
                    </a:lnTo>
                    <a:lnTo>
                      <a:pt x="136" y="614"/>
                    </a:lnTo>
                    <a:lnTo>
                      <a:pt x="117" y="624"/>
                    </a:lnTo>
                    <a:lnTo>
                      <a:pt x="107" y="624"/>
                    </a:lnTo>
                    <a:lnTo>
                      <a:pt x="97" y="644"/>
                    </a:lnTo>
                    <a:lnTo>
                      <a:pt x="78" y="634"/>
                    </a:lnTo>
                    <a:lnTo>
                      <a:pt x="68" y="653"/>
                    </a:lnTo>
                    <a:lnTo>
                      <a:pt x="48" y="653"/>
                    </a:lnTo>
                    <a:lnTo>
                      <a:pt x="29" y="653"/>
                    </a:lnTo>
                    <a:lnTo>
                      <a:pt x="19" y="683"/>
                    </a:lnTo>
                    <a:lnTo>
                      <a:pt x="29" y="702"/>
                    </a:lnTo>
                    <a:lnTo>
                      <a:pt x="29" y="712"/>
                    </a:lnTo>
                    <a:lnTo>
                      <a:pt x="19" y="712"/>
                    </a:lnTo>
                    <a:lnTo>
                      <a:pt x="29" y="761"/>
                    </a:lnTo>
                    <a:lnTo>
                      <a:pt x="19" y="770"/>
                    </a:lnTo>
                    <a:lnTo>
                      <a:pt x="29" y="790"/>
                    </a:lnTo>
                    <a:lnTo>
                      <a:pt x="29" y="800"/>
                    </a:lnTo>
                    <a:lnTo>
                      <a:pt x="29" y="809"/>
                    </a:lnTo>
                    <a:lnTo>
                      <a:pt x="9" y="809"/>
                    </a:lnTo>
                    <a:lnTo>
                      <a:pt x="0" y="809"/>
                    </a:lnTo>
                    <a:lnTo>
                      <a:pt x="9" y="819"/>
                    </a:lnTo>
                    <a:lnTo>
                      <a:pt x="29" y="829"/>
                    </a:lnTo>
                    <a:lnTo>
                      <a:pt x="39" y="849"/>
                    </a:lnTo>
                    <a:lnTo>
                      <a:pt x="58" y="849"/>
                    </a:lnTo>
                    <a:lnTo>
                      <a:pt x="48" y="868"/>
                    </a:lnTo>
                    <a:lnTo>
                      <a:pt x="39" y="897"/>
                    </a:lnTo>
                    <a:lnTo>
                      <a:pt x="39" y="917"/>
                    </a:lnTo>
                    <a:lnTo>
                      <a:pt x="58" y="917"/>
                    </a:lnTo>
                    <a:lnTo>
                      <a:pt x="78" y="936"/>
                    </a:lnTo>
                    <a:lnTo>
                      <a:pt x="87" y="946"/>
                    </a:lnTo>
                    <a:lnTo>
                      <a:pt x="87" y="956"/>
                    </a:lnTo>
                    <a:lnTo>
                      <a:pt x="78" y="975"/>
                    </a:lnTo>
                    <a:lnTo>
                      <a:pt x="68" y="985"/>
                    </a:lnTo>
                    <a:lnTo>
                      <a:pt x="68" y="1005"/>
                    </a:lnTo>
                    <a:lnTo>
                      <a:pt x="78" y="1014"/>
                    </a:lnTo>
                    <a:lnTo>
                      <a:pt x="68" y="1034"/>
                    </a:lnTo>
                    <a:lnTo>
                      <a:pt x="68" y="1053"/>
                    </a:lnTo>
                    <a:lnTo>
                      <a:pt x="87" y="1073"/>
                    </a:lnTo>
                    <a:lnTo>
                      <a:pt x="146" y="1053"/>
                    </a:lnTo>
                    <a:lnTo>
                      <a:pt x="165" y="1044"/>
                    </a:lnTo>
                    <a:lnTo>
                      <a:pt x="185" y="1034"/>
                    </a:lnTo>
                    <a:lnTo>
                      <a:pt x="205" y="1044"/>
                    </a:lnTo>
                    <a:lnTo>
                      <a:pt x="234" y="1053"/>
                    </a:lnTo>
                    <a:lnTo>
                      <a:pt x="224" y="1063"/>
                    </a:lnTo>
                    <a:lnTo>
                      <a:pt x="214" y="1063"/>
                    </a:lnTo>
                    <a:lnTo>
                      <a:pt x="224" y="1073"/>
                    </a:lnTo>
                    <a:lnTo>
                      <a:pt x="214" y="1073"/>
                    </a:lnTo>
                    <a:lnTo>
                      <a:pt x="214" y="1083"/>
                    </a:lnTo>
                    <a:lnTo>
                      <a:pt x="224" y="1092"/>
                    </a:lnTo>
                    <a:lnTo>
                      <a:pt x="205" y="1102"/>
                    </a:lnTo>
                    <a:lnTo>
                      <a:pt x="195" y="1122"/>
                    </a:lnTo>
                    <a:lnTo>
                      <a:pt x="185" y="1151"/>
                    </a:lnTo>
                    <a:lnTo>
                      <a:pt x="175" y="1170"/>
                    </a:lnTo>
                    <a:lnTo>
                      <a:pt x="165" y="1190"/>
                    </a:lnTo>
                    <a:lnTo>
                      <a:pt x="175" y="1210"/>
                    </a:lnTo>
                    <a:lnTo>
                      <a:pt x="165" y="1229"/>
                    </a:lnTo>
                    <a:lnTo>
                      <a:pt x="156" y="1258"/>
                    </a:lnTo>
                    <a:lnTo>
                      <a:pt x="165" y="1268"/>
                    </a:lnTo>
                    <a:lnTo>
                      <a:pt x="185" y="1268"/>
                    </a:lnTo>
                    <a:lnTo>
                      <a:pt x="195" y="1258"/>
                    </a:lnTo>
                    <a:lnTo>
                      <a:pt x="224" y="1249"/>
                    </a:lnTo>
                    <a:lnTo>
                      <a:pt x="224" y="1268"/>
                    </a:lnTo>
                    <a:lnTo>
                      <a:pt x="234" y="1297"/>
                    </a:lnTo>
                    <a:lnTo>
                      <a:pt x="253" y="1317"/>
                    </a:lnTo>
                    <a:lnTo>
                      <a:pt x="273" y="1307"/>
                    </a:lnTo>
                    <a:lnTo>
                      <a:pt x="283" y="1297"/>
                    </a:lnTo>
                    <a:lnTo>
                      <a:pt x="283" y="1307"/>
                    </a:lnTo>
                    <a:lnTo>
                      <a:pt x="302" y="1307"/>
                    </a:lnTo>
                    <a:lnTo>
                      <a:pt x="302" y="1288"/>
                    </a:lnTo>
                    <a:lnTo>
                      <a:pt x="322" y="1288"/>
                    </a:lnTo>
                    <a:lnTo>
                      <a:pt x="341" y="1268"/>
                    </a:lnTo>
                    <a:lnTo>
                      <a:pt x="341" y="1258"/>
                    </a:lnTo>
                    <a:lnTo>
                      <a:pt x="351" y="1249"/>
                    </a:lnTo>
                    <a:lnTo>
                      <a:pt x="351" y="1229"/>
                    </a:lnTo>
                    <a:lnTo>
                      <a:pt x="380" y="1219"/>
                    </a:lnTo>
                    <a:lnTo>
                      <a:pt x="400" y="1219"/>
                    </a:lnTo>
                    <a:lnTo>
                      <a:pt x="409" y="1210"/>
                    </a:lnTo>
                    <a:lnTo>
                      <a:pt x="419" y="1180"/>
                    </a:lnTo>
                    <a:lnTo>
                      <a:pt x="439" y="1190"/>
                    </a:lnTo>
                    <a:lnTo>
                      <a:pt x="458" y="1200"/>
                    </a:lnTo>
                    <a:lnTo>
                      <a:pt x="458" y="1210"/>
                    </a:lnTo>
                    <a:lnTo>
                      <a:pt x="468" y="1219"/>
                    </a:lnTo>
                    <a:lnTo>
                      <a:pt x="468" y="1239"/>
                    </a:lnTo>
                    <a:lnTo>
                      <a:pt x="478" y="1258"/>
                    </a:lnTo>
                    <a:lnTo>
                      <a:pt x="487" y="1258"/>
                    </a:lnTo>
                    <a:lnTo>
                      <a:pt x="497" y="1278"/>
                    </a:lnTo>
                    <a:lnTo>
                      <a:pt x="497" y="1297"/>
                    </a:lnTo>
                    <a:lnTo>
                      <a:pt x="439" y="1307"/>
                    </a:lnTo>
                    <a:lnTo>
                      <a:pt x="419" y="1317"/>
                    </a:lnTo>
                    <a:lnTo>
                      <a:pt x="409" y="1307"/>
                    </a:lnTo>
                    <a:lnTo>
                      <a:pt x="400" y="1307"/>
                    </a:lnTo>
                    <a:lnTo>
                      <a:pt x="400" y="1317"/>
                    </a:lnTo>
                    <a:lnTo>
                      <a:pt x="419" y="1346"/>
                    </a:lnTo>
                    <a:lnTo>
                      <a:pt x="429" y="1346"/>
                    </a:lnTo>
                    <a:lnTo>
                      <a:pt x="439" y="1366"/>
                    </a:lnTo>
                    <a:lnTo>
                      <a:pt x="419" y="1375"/>
                    </a:lnTo>
                    <a:lnTo>
                      <a:pt x="400" y="1385"/>
                    </a:lnTo>
                    <a:lnTo>
                      <a:pt x="390" y="1385"/>
                    </a:lnTo>
                    <a:lnTo>
                      <a:pt x="390" y="1405"/>
                    </a:lnTo>
                    <a:lnTo>
                      <a:pt x="390" y="1414"/>
                    </a:lnTo>
                    <a:lnTo>
                      <a:pt x="380" y="1414"/>
                    </a:lnTo>
                    <a:lnTo>
                      <a:pt x="380" y="1434"/>
                    </a:lnTo>
                    <a:lnTo>
                      <a:pt x="370" y="1444"/>
                    </a:lnTo>
                    <a:lnTo>
                      <a:pt x="361" y="1463"/>
                    </a:lnTo>
                    <a:lnTo>
                      <a:pt x="331" y="1463"/>
                    </a:lnTo>
                    <a:lnTo>
                      <a:pt x="341" y="1483"/>
                    </a:lnTo>
                    <a:lnTo>
                      <a:pt x="351" y="1492"/>
                    </a:lnTo>
                    <a:lnTo>
                      <a:pt x="351" y="1502"/>
                    </a:lnTo>
                    <a:lnTo>
                      <a:pt x="341" y="1502"/>
                    </a:lnTo>
                    <a:lnTo>
                      <a:pt x="341" y="1522"/>
                    </a:lnTo>
                    <a:lnTo>
                      <a:pt x="331" y="1541"/>
                    </a:lnTo>
                    <a:lnTo>
                      <a:pt x="322" y="1551"/>
                    </a:lnTo>
                    <a:lnTo>
                      <a:pt x="331" y="1571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20" name="Freeform 107"/>
            <p:cNvSpPr>
              <a:spLocks/>
            </p:cNvSpPr>
            <p:nvPr/>
          </p:nvSpPr>
          <p:spPr bwMode="auto">
            <a:xfrm>
              <a:off x="7716" y="3006"/>
              <a:ext cx="29" cy="28"/>
            </a:xfrm>
            <a:custGeom>
              <a:avLst/>
              <a:gdLst>
                <a:gd name="T0" fmla="*/ 0 w 29"/>
                <a:gd name="T1" fmla="*/ 29 h 29"/>
                <a:gd name="T2" fmla="*/ 9 w 29"/>
                <a:gd name="T3" fmla="*/ 10 h 29"/>
                <a:gd name="T4" fmla="*/ 29 w 29"/>
                <a:gd name="T5" fmla="*/ 0 h 29"/>
                <a:gd name="T6" fmla="*/ 29 w 29"/>
                <a:gd name="T7" fmla="*/ 10 h 29"/>
                <a:gd name="T8" fmla="*/ 29 w 29"/>
                <a:gd name="T9" fmla="*/ 20 h 29"/>
                <a:gd name="T10" fmla="*/ 19 w 29"/>
                <a:gd name="T11" fmla="*/ 20 h 29"/>
                <a:gd name="T12" fmla="*/ 19 w 29"/>
                <a:gd name="T13" fmla="*/ 29 h 29"/>
                <a:gd name="T14" fmla="*/ 9 w 29"/>
                <a:gd name="T15" fmla="*/ 29 h 29"/>
                <a:gd name="T16" fmla="*/ 0 w 29"/>
                <a:gd name="T17" fmla="*/ 29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29"/>
                <a:gd name="T29" fmla="*/ 29 w 29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29">
                  <a:moveTo>
                    <a:pt x="0" y="29"/>
                  </a:moveTo>
                  <a:lnTo>
                    <a:pt x="9" y="10"/>
                  </a:lnTo>
                  <a:lnTo>
                    <a:pt x="29" y="0"/>
                  </a:lnTo>
                  <a:lnTo>
                    <a:pt x="29" y="10"/>
                  </a:lnTo>
                  <a:lnTo>
                    <a:pt x="29" y="20"/>
                  </a:lnTo>
                  <a:lnTo>
                    <a:pt x="19" y="20"/>
                  </a:lnTo>
                  <a:lnTo>
                    <a:pt x="19" y="29"/>
                  </a:lnTo>
                  <a:lnTo>
                    <a:pt x="9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21" name="Group 104"/>
            <p:cNvGrpSpPr>
              <a:grpSpLocks/>
            </p:cNvGrpSpPr>
            <p:nvPr/>
          </p:nvGrpSpPr>
          <p:grpSpPr bwMode="auto">
            <a:xfrm>
              <a:off x="7715" y="3005"/>
              <a:ext cx="29" cy="29"/>
              <a:chOff x="7716" y="3005"/>
              <a:chExt cx="29" cy="29"/>
            </a:xfrm>
          </p:grpSpPr>
          <p:sp>
            <p:nvSpPr>
              <p:cNvPr id="310" name="Freeform 106"/>
              <p:cNvSpPr>
                <a:spLocks/>
              </p:cNvSpPr>
              <p:nvPr/>
            </p:nvSpPr>
            <p:spPr bwMode="auto">
              <a:xfrm>
                <a:off x="7717" y="3004"/>
                <a:ext cx="29" cy="31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1" name="Freeform 105"/>
              <p:cNvSpPr>
                <a:spLocks/>
              </p:cNvSpPr>
              <p:nvPr/>
            </p:nvSpPr>
            <p:spPr bwMode="auto">
              <a:xfrm>
                <a:off x="7717" y="3004"/>
                <a:ext cx="29" cy="31"/>
              </a:xfrm>
              <a:custGeom>
                <a:avLst/>
                <a:gdLst>
                  <a:gd name="T0" fmla="*/ 0 w 29"/>
                  <a:gd name="T1" fmla="*/ 29 h 29"/>
                  <a:gd name="T2" fmla="*/ 9 w 29"/>
                  <a:gd name="T3" fmla="*/ 10 h 29"/>
                  <a:gd name="T4" fmla="*/ 29 w 29"/>
                  <a:gd name="T5" fmla="*/ 0 h 29"/>
                  <a:gd name="T6" fmla="*/ 29 w 29"/>
                  <a:gd name="T7" fmla="*/ 10 h 29"/>
                  <a:gd name="T8" fmla="*/ 29 w 29"/>
                  <a:gd name="T9" fmla="*/ 20 h 29"/>
                  <a:gd name="T10" fmla="*/ 19 w 29"/>
                  <a:gd name="T11" fmla="*/ 20 h 29"/>
                  <a:gd name="T12" fmla="*/ 19 w 29"/>
                  <a:gd name="T13" fmla="*/ 29 h 29"/>
                  <a:gd name="T14" fmla="*/ 9 w 29"/>
                  <a:gd name="T15" fmla="*/ 29 h 29"/>
                  <a:gd name="T16" fmla="*/ 0 w 29"/>
                  <a:gd name="T17" fmla="*/ 29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29"/>
                  <a:gd name="T29" fmla="*/ 29 w 29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29">
                    <a:moveTo>
                      <a:pt x="0" y="29"/>
                    </a:moveTo>
                    <a:lnTo>
                      <a:pt x="9" y="10"/>
                    </a:lnTo>
                    <a:lnTo>
                      <a:pt x="29" y="0"/>
                    </a:lnTo>
                    <a:lnTo>
                      <a:pt x="29" y="10"/>
                    </a:lnTo>
                    <a:lnTo>
                      <a:pt x="29" y="20"/>
                    </a:lnTo>
                    <a:lnTo>
                      <a:pt x="19" y="20"/>
                    </a:lnTo>
                    <a:lnTo>
                      <a:pt x="19" y="29"/>
                    </a:lnTo>
                    <a:lnTo>
                      <a:pt x="9" y="29"/>
                    </a:lnTo>
                    <a:lnTo>
                      <a:pt x="0" y="29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22" name="Freeform 103"/>
            <p:cNvSpPr>
              <a:spLocks/>
            </p:cNvSpPr>
            <p:nvPr/>
          </p:nvSpPr>
          <p:spPr bwMode="auto">
            <a:xfrm>
              <a:off x="7754" y="2978"/>
              <a:ext cx="58" cy="47"/>
            </a:xfrm>
            <a:custGeom>
              <a:avLst/>
              <a:gdLst>
                <a:gd name="T0" fmla="*/ 0 w 58"/>
                <a:gd name="T1" fmla="*/ 0 h 49"/>
                <a:gd name="T2" fmla="*/ 19 w 58"/>
                <a:gd name="T3" fmla="*/ 0 h 49"/>
                <a:gd name="T4" fmla="*/ 29 w 58"/>
                <a:gd name="T5" fmla="*/ 0 h 49"/>
                <a:gd name="T6" fmla="*/ 39 w 58"/>
                <a:gd name="T7" fmla="*/ 0 h 49"/>
                <a:gd name="T8" fmla="*/ 48 w 58"/>
                <a:gd name="T9" fmla="*/ 0 h 49"/>
                <a:gd name="T10" fmla="*/ 58 w 58"/>
                <a:gd name="T11" fmla="*/ 0 h 49"/>
                <a:gd name="T12" fmla="*/ 48 w 58"/>
                <a:gd name="T13" fmla="*/ 10 h 49"/>
                <a:gd name="T14" fmla="*/ 48 w 58"/>
                <a:gd name="T15" fmla="*/ 19 h 49"/>
                <a:gd name="T16" fmla="*/ 58 w 58"/>
                <a:gd name="T17" fmla="*/ 29 h 49"/>
                <a:gd name="T18" fmla="*/ 58 w 58"/>
                <a:gd name="T19" fmla="*/ 29 h 49"/>
                <a:gd name="T20" fmla="*/ 48 w 58"/>
                <a:gd name="T21" fmla="*/ 49 h 49"/>
                <a:gd name="T22" fmla="*/ 39 w 58"/>
                <a:gd name="T23" fmla="*/ 49 h 49"/>
                <a:gd name="T24" fmla="*/ 29 w 58"/>
                <a:gd name="T25" fmla="*/ 49 h 49"/>
                <a:gd name="T26" fmla="*/ 19 w 58"/>
                <a:gd name="T27" fmla="*/ 39 h 49"/>
                <a:gd name="T28" fmla="*/ 19 w 58"/>
                <a:gd name="T29" fmla="*/ 49 h 49"/>
                <a:gd name="T30" fmla="*/ 9 w 58"/>
                <a:gd name="T31" fmla="*/ 49 h 49"/>
                <a:gd name="T32" fmla="*/ 9 w 58"/>
                <a:gd name="T33" fmla="*/ 49 h 49"/>
                <a:gd name="T34" fmla="*/ 9 w 58"/>
                <a:gd name="T35" fmla="*/ 29 h 49"/>
                <a:gd name="T36" fmla="*/ 9 w 58"/>
                <a:gd name="T37" fmla="*/ 19 h 49"/>
                <a:gd name="T38" fmla="*/ 0 w 58"/>
                <a:gd name="T39" fmla="*/ 10 h 49"/>
                <a:gd name="T40" fmla="*/ 0 w 58"/>
                <a:gd name="T41" fmla="*/ 0 h 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8"/>
                <a:gd name="T64" fmla="*/ 0 h 49"/>
                <a:gd name="T65" fmla="*/ 58 w 58"/>
                <a:gd name="T66" fmla="*/ 49 h 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8" h="49">
                  <a:moveTo>
                    <a:pt x="0" y="0"/>
                  </a:moveTo>
                  <a:lnTo>
                    <a:pt x="19" y="0"/>
                  </a:lnTo>
                  <a:lnTo>
                    <a:pt x="29" y="0"/>
                  </a:lnTo>
                  <a:lnTo>
                    <a:pt x="39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48" y="10"/>
                  </a:lnTo>
                  <a:lnTo>
                    <a:pt x="48" y="19"/>
                  </a:lnTo>
                  <a:lnTo>
                    <a:pt x="58" y="29"/>
                  </a:lnTo>
                  <a:lnTo>
                    <a:pt x="48" y="49"/>
                  </a:lnTo>
                  <a:lnTo>
                    <a:pt x="39" y="49"/>
                  </a:lnTo>
                  <a:lnTo>
                    <a:pt x="29" y="49"/>
                  </a:lnTo>
                  <a:lnTo>
                    <a:pt x="19" y="39"/>
                  </a:lnTo>
                  <a:lnTo>
                    <a:pt x="19" y="49"/>
                  </a:lnTo>
                  <a:lnTo>
                    <a:pt x="9" y="49"/>
                  </a:lnTo>
                  <a:lnTo>
                    <a:pt x="9" y="29"/>
                  </a:lnTo>
                  <a:lnTo>
                    <a:pt x="9" y="19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23" name="Group 100"/>
            <p:cNvGrpSpPr>
              <a:grpSpLocks/>
            </p:cNvGrpSpPr>
            <p:nvPr/>
          </p:nvGrpSpPr>
          <p:grpSpPr bwMode="auto">
            <a:xfrm>
              <a:off x="7754" y="2976"/>
              <a:ext cx="58" cy="49"/>
              <a:chOff x="7755" y="2976"/>
              <a:chExt cx="58" cy="49"/>
            </a:xfrm>
          </p:grpSpPr>
          <p:sp>
            <p:nvSpPr>
              <p:cNvPr id="308" name="Freeform 102"/>
              <p:cNvSpPr>
                <a:spLocks/>
              </p:cNvSpPr>
              <p:nvPr/>
            </p:nvSpPr>
            <p:spPr bwMode="auto">
              <a:xfrm>
                <a:off x="7755" y="2976"/>
                <a:ext cx="58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9" name="Freeform 101"/>
              <p:cNvSpPr>
                <a:spLocks/>
              </p:cNvSpPr>
              <p:nvPr/>
            </p:nvSpPr>
            <p:spPr bwMode="auto">
              <a:xfrm>
                <a:off x="7755" y="2976"/>
                <a:ext cx="58" cy="49"/>
              </a:xfrm>
              <a:custGeom>
                <a:avLst/>
                <a:gdLst>
                  <a:gd name="T0" fmla="*/ 0 w 58"/>
                  <a:gd name="T1" fmla="*/ 0 h 49"/>
                  <a:gd name="T2" fmla="*/ 19 w 58"/>
                  <a:gd name="T3" fmla="*/ 0 h 49"/>
                  <a:gd name="T4" fmla="*/ 29 w 58"/>
                  <a:gd name="T5" fmla="*/ 0 h 49"/>
                  <a:gd name="T6" fmla="*/ 39 w 58"/>
                  <a:gd name="T7" fmla="*/ 0 h 49"/>
                  <a:gd name="T8" fmla="*/ 48 w 58"/>
                  <a:gd name="T9" fmla="*/ 0 h 49"/>
                  <a:gd name="T10" fmla="*/ 58 w 58"/>
                  <a:gd name="T11" fmla="*/ 0 h 49"/>
                  <a:gd name="T12" fmla="*/ 48 w 58"/>
                  <a:gd name="T13" fmla="*/ 10 h 49"/>
                  <a:gd name="T14" fmla="*/ 48 w 58"/>
                  <a:gd name="T15" fmla="*/ 19 h 49"/>
                  <a:gd name="T16" fmla="*/ 58 w 58"/>
                  <a:gd name="T17" fmla="*/ 29 h 49"/>
                  <a:gd name="T18" fmla="*/ 58 w 58"/>
                  <a:gd name="T19" fmla="*/ 29 h 49"/>
                  <a:gd name="T20" fmla="*/ 48 w 58"/>
                  <a:gd name="T21" fmla="*/ 49 h 49"/>
                  <a:gd name="T22" fmla="*/ 39 w 58"/>
                  <a:gd name="T23" fmla="*/ 49 h 49"/>
                  <a:gd name="T24" fmla="*/ 29 w 58"/>
                  <a:gd name="T25" fmla="*/ 49 h 49"/>
                  <a:gd name="T26" fmla="*/ 19 w 58"/>
                  <a:gd name="T27" fmla="*/ 39 h 49"/>
                  <a:gd name="T28" fmla="*/ 19 w 58"/>
                  <a:gd name="T29" fmla="*/ 49 h 49"/>
                  <a:gd name="T30" fmla="*/ 9 w 58"/>
                  <a:gd name="T31" fmla="*/ 49 h 49"/>
                  <a:gd name="T32" fmla="*/ 9 w 58"/>
                  <a:gd name="T33" fmla="*/ 49 h 49"/>
                  <a:gd name="T34" fmla="*/ 9 w 58"/>
                  <a:gd name="T35" fmla="*/ 39 h 49"/>
                  <a:gd name="T36" fmla="*/ 9 w 58"/>
                  <a:gd name="T37" fmla="*/ 19 h 49"/>
                  <a:gd name="T38" fmla="*/ 0 w 58"/>
                  <a:gd name="T39" fmla="*/ 10 h 49"/>
                  <a:gd name="T40" fmla="*/ 0 w 58"/>
                  <a:gd name="T41" fmla="*/ 0 h 4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8"/>
                  <a:gd name="T64" fmla="*/ 0 h 49"/>
                  <a:gd name="T65" fmla="*/ 58 w 58"/>
                  <a:gd name="T66" fmla="*/ 49 h 4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8" h="49">
                    <a:moveTo>
                      <a:pt x="0" y="0"/>
                    </a:moveTo>
                    <a:lnTo>
                      <a:pt x="19" y="0"/>
                    </a:lnTo>
                    <a:lnTo>
                      <a:pt x="29" y="0"/>
                    </a:lnTo>
                    <a:lnTo>
                      <a:pt x="39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48" y="10"/>
                    </a:lnTo>
                    <a:lnTo>
                      <a:pt x="48" y="19"/>
                    </a:lnTo>
                    <a:lnTo>
                      <a:pt x="58" y="29"/>
                    </a:lnTo>
                    <a:lnTo>
                      <a:pt x="48" y="49"/>
                    </a:lnTo>
                    <a:lnTo>
                      <a:pt x="39" y="49"/>
                    </a:lnTo>
                    <a:lnTo>
                      <a:pt x="29" y="49"/>
                    </a:lnTo>
                    <a:lnTo>
                      <a:pt x="19" y="39"/>
                    </a:lnTo>
                    <a:lnTo>
                      <a:pt x="19" y="49"/>
                    </a:lnTo>
                    <a:lnTo>
                      <a:pt x="9" y="49"/>
                    </a:lnTo>
                    <a:lnTo>
                      <a:pt x="9" y="39"/>
                    </a:lnTo>
                    <a:lnTo>
                      <a:pt x="9" y="19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24" name="Freeform 99"/>
            <p:cNvSpPr>
              <a:spLocks/>
            </p:cNvSpPr>
            <p:nvPr/>
          </p:nvSpPr>
          <p:spPr bwMode="auto">
            <a:xfrm>
              <a:off x="8083" y="2858"/>
              <a:ext cx="646" cy="818"/>
            </a:xfrm>
            <a:custGeom>
              <a:avLst/>
              <a:gdLst>
                <a:gd name="T0" fmla="*/ 127 w 644"/>
                <a:gd name="T1" fmla="*/ 273 h 819"/>
                <a:gd name="T2" fmla="*/ 147 w 644"/>
                <a:gd name="T3" fmla="*/ 292 h 819"/>
                <a:gd name="T4" fmla="*/ 176 w 644"/>
                <a:gd name="T5" fmla="*/ 302 h 819"/>
                <a:gd name="T6" fmla="*/ 215 w 644"/>
                <a:gd name="T7" fmla="*/ 331 h 819"/>
                <a:gd name="T8" fmla="*/ 234 w 644"/>
                <a:gd name="T9" fmla="*/ 370 h 819"/>
                <a:gd name="T10" fmla="*/ 293 w 644"/>
                <a:gd name="T11" fmla="*/ 439 h 819"/>
                <a:gd name="T12" fmla="*/ 332 w 644"/>
                <a:gd name="T13" fmla="*/ 507 h 819"/>
                <a:gd name="T14" fmla="*/ 351 w 644"/>
                <a:gd name="T15" fmla="*/ 566 h 819"/>
                <a:gd name="T16" fmla="*/ 410 w 644"/>
                <a:gd name="T17" fmla="*/ 595 h 819"/>
                <a:gd name="T18" fmla="*/ 439 w 644"/>
                <a:gd name="T19" fmla="*/ 624 h 819"/>
                <a:gd name="T20" fmla="*/ 459 w 644"/>
                <a:gd name="T21" fmla="*/ 683 h 819"/>
                <a:gd name="T22" fmla="*/ 488 w 644"/>
                <a:gd name="T23" fmla="*/ 722 h 819"/>
                <a:gd name="T24" fmla="*/ 527 w 644"/>
                <a:gd name="T25" fmla="*/ 780 h 819"/>
                <a:gd name="T26" fmla="*/ 556 w 644"/>
                <a:gd name="T27" fmla="*/ 810 h 819"/>
                <a:gd name="T28" fmla="*/ 566 w 644"/>
                <a:gd name="T29" fmla="*/ 800 h 819"/>
                <a:gd name="T30" fmla="*/ 547 w 644"/>
                <a:gd name="T31" fmla="*/ 741 h 819"/>
                <a:gd name="T32" fmla="*/ 547 w 644"/>
                <a:gd name="T33" fmla="*/ 712 h 819"/>
                <a:gd name="T34" fmla="*/ 605 w 644"/>
                <a:gd name="T35" fmla="*/ 702 h 819"/>
                <a:gd name="T36" fmla="*/ 634 w 644"/>
                <a:gd name="T37" fmla="*/ 731 h 819"/>
                <a:gd name="T38" fmla="*/ 644 w 644"/>
                <a:gd name="T39" fmla="*/ 722 h 819"/>
                <a:gd name="T40" fmla="*/ 625 w 644"/>
                <a:gd name="T41" fmla="*/ 692 h 819"/>
                <a:gd name="T42" fmla="*/ 595 w 644"/>
                <a:gd name="T43" fmla="*/ 663 h 819"/>
                <a:gd name="T44" fmla="*/ 576 w 644"/>
                <a:gd name="T45" fmla="*/ 673 h 819"/>
                <a:gd name="T46" fmla="*/ 537 w 644"/>
                <a:gd name="T47" fmla="*/ 653 h 819"/>
                <a:gd name="T48" fmla="*/ 478 w 644"/>
                <a:gd name="T49" fmla="*/ 624 h 819"/>
                <a:gd name="T50" fmla="*/ 429 w 644"/>
                <a:gd name="T51" fmla="*/ 546 h 819"/>
                <a:gd name="T52" fmla="*/ 410 w 644"/>
                <a:gd name="T53" fmla="*/ 488 h 819"/>
                <a:gd name="T54" fmla="*/ 410 w 644"/>
                <a:gd name="T55" fmla="*/ 449 h 819"/>
                <a:gd name="T56" fmla="*/ 449 w 644"/>
                <a:gd name="T57" fmla="*/ 429 h 819"/>
                <a:gd name="T58" fmla="*/ 527 w 644"/>
                <a:gd name="T59" fmla="*/ 439 h 819"/>
                <a:gd name="T60" fmla="*/ 527 w 644"/>
                <a:gd name="T61" fmla="*/ 429 h 819"/>
                <a:gd name="T62" fmla="*/ 488 w 644"/>
                <a:gd name="T63" fmla="*/ 419 h 819"/>
                <a:gd name="T64" fmla="*/ 449 w 644"/>
                <a:gd name="T65" fmla="*/ 380 h 819"/>
                <a:gd name="T66" fmla="*/ 429 w 644"/>
                <a:gd name="T67" fmla="*/ 361 h 819"/>
                <a:gd name="T68" fmla="*/ 390 w 644"/>
                <a:gd name="T69" fmla="*/ 341 h 819"/>
                <a:gd name="T70" fmla="*/ 322 w 644"/>
                <a:gd name="T71" fmla="*/ 292 h 819"/>
                <a:gd name="T72" fmla="*/ 283 w 644"/>
                <a:gd name="T73" fmla="*/ 273 h 819"/>
                <a:gd name="T74" fmla="*/ 254 w 644"/>
                <a:gd name="T75" fmla="*/ 244 h 819"/>
                <a:gd name="T76" fmla="*/ 234 w 644"/>
                <a:gd name="T77" fmla="*/ 234 h 819"/>
                <a:gd name="T78" fmla="*/ 225 w 644"/>
                <a:gd name="T79" fmla="*/ 214 h 819"/>
                <a:gd name="T80" fmla="*/ 205 w 644"/>
                <a:gd name="T81" fmla="*/ 205 h 819"/>
                <a:gd name="T82" fmla="*/ 195 w 644"/>
                <a:gd name="T83" fmla="*/ 185 h 819"/>
                <a:gd name="T84" fmla="*/ 176 w 644"/>
                <a:gd name="T85" fmla="*/ 156 h 819"/>
                <a:gd name="T86" fmla="*/ 186 w 644"/>
                <a:gd name="T87" fmla="*/ 156 h 819"/>
                <a:gd name="T88" fmla="*/ 147 w 644"/>
                <a:gd name="T89" fmla="*/ 117 h 819"/>
                <a:gd name="T90" fmla="*/ 117 w 644"/>
                <a:gd name="T91" fmla="*/ 97 h 819"/>
                <a:gd name="T92" fmla="*/ 137 w 644"/>
                <a:gd name="T93" fmla="*/ 97 h 819"/>
                <a:gd name="T94" fmla="*/ 88 w 644"/>
                <a:gd name="T95" fmla="*/ 78 h 819"/>
                <a:gd name="T96" fmla="*/ 59 w 644"/>
                <a:gd name="T97" fmla="*/ 39 h 819"/>
                <a:gd name="T98" fmla="*/ 30 w 644"/>
                <a:gd name="T99" fmla="*/ 19 h 819"/>
                <a:gd name="T100" fmla="*/ 10 w 644"/>
                <a:gd name="T101" fmla="*/ 19 h 819"/>
                <a:gd name="T102" fmla="*/ 0 w 644"/>
                <a:gd name="T103" fmla="*/ 39 h 819"/>
                <a:gd name="T104" fmla="*/ 30 w 644"/>
                <a:gd name="T105" fmla="*/ 58 h 819"/>
                <a:gd name="T106" fmla="*/ 59 w 644"/>
                <a:gd name="T107" fmla="*/ 68 h 819"/>
                <a:gd name="T108" fmla="*/ 69 w 644"/>
                <a:gd name="T109" fmla="*/ 78 h 819"/>
                <a:gd name="T110" fmla="*/ 69 w 644"/>
                <a:gd name="T111" fmla="*/ 88 h 819"/>
                <a:gd name="T112" fmla="*/ 59 w 644"/>
                <a:gd name="T113" fmla="*/ 117 h 819"/>
                <a:gd name="T114" fmla="*/ 39 w 644"/>
                <a:gd name="T115" fmla="*/ 117 h 819"/>
                <a:gd name="T116" fmla="*/ 49 w 644"/>
                <a:gd name="T117" fmla="*/ 156 h 819"/>
                <a:gd name="T118" fmla="*/ 78 w 644"/>
                <a:gd name="T119" fmla="*/ 185 h 819"/>
                <a:gd name="T120" fmla="*/ 98 w 644"/>
                <a:gd name="T121" fmla="*/ 234 h 81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44"/>
                <a:gd name="T184" fmla="*/ 0 h 819"/>
                <a:gd name="T185" fmla="*/ 644 w 644"/>
                <a:gd name="T186" fmla="*/ 819 h 81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44" h="819">
                  <a:moveTo>
                    <a:pt x="117" y="253"/>
                  </a:moveTo>
                  <a:lnTo>
                    <a:pt x="117" y="273"/>
                  </a:lnTo>
                  <a:lnTo>
                    <a:pt x="127" y="273"/>
                  </a:lnTo>
                  <a:lnTo>
                    <a:pt x="127" y="283"/>
                  </a:lnTo>
                  <a:lnTo>
                    <a:pt x="147" y="283"/>
                  </a:lnTo>
                  <a:lnTo>
                    <a:pt x="147" y="292"/>
                  </a:lnTo>
                  <a:lnTo>
                    <a:pt x="137" y="292"/>
                  </a:lnTo>
                  <a:lnTo>
                    <a:pt x="166" y="302"/>
                  </a:lnTo>
                  <a:lnTo>
                    <a:pt x="176" y="302"/>
                  </a:lnTo>
                  <a:lnTo>
                    <a:pt x="186" y="312"/>
                  </a:lnTo>
                  <a:lnTo>
                    <a:pt x="195" y="322"/>
                  </a:lnTo>
                  <a:lnTo>
                    <a:pt x="215" y="331"/>
                  </a:lnTo>
                  <a:lnTo>
                    <a:pt x="225" y="341"/>
                  </a:lnTo>
                  <a:lnTo>
                    <a:pt x="225" y="370"/>
                  </a:lnTo>
                  <a:lnTo>
                    <a:pt x="234" y="370"/>
                  </a:lnTo>
                  <a:lnTo>
                    <a:pt x="254" y="400"/>
                  </a:lnTo>
                  <a:lnTo>
                    <a:pt x="273" y="419"/>
                  </a:lnTo>
                  <a:lnTo>
                    <a:pt x="293" y="439"/>
                  </a:lnTo>
                  <a:lnTo>
                    <a:pt x="312" y="458"/>
                  </a:lnTo>
                  <a:lnTo>
                    <a:pt x="322" y="488"/>
                  </a:lnTo>
                  <a:lnTo>
                    <a:pt x="332" y="507"/>
                  </a:lnTo>
                  <a:lnTo>
                    <a:pt x="342" y="517"/>
                  </a:lnTo>
                  <a:lnTo>
                    <a:pt x="351" y="546"/>
                  </a:lnTo>
                  <a:lnTo>
                    <a:pt x="351" y="566"/>
                  </a:lnTo>
                  <a:lnTo>
                    <a:pt x="371" y="585"/>
                  </a:lnTo>
                  <a:lnTo>
                    <a:pt x="390" y="585"/>
                  </a:lnTo>
                  <a:lnTo>
                    <a:pt x="410" y="595"/>
                  </a:lnTo>
                  <a:lnTo>
                    <a:pt x="420" y="605"/>
                  </a:lnTo>
                  <a:lnTo>
                    <a:pt x="429" y="605"/>
                  </a:lnTo>
                  <a:lnTo>
                    <a:pt x="439" y="624"/>
                  </a:lnTo>
                  <a:lnTo>
                    <a:pt x="439" y="644"/>
                  </a:lnTo>
                  <a:lnTo>
                    <a:pt x="449" y="673"/>
                  </a:lnTo>
                  <a:lnTo>
                    <a:pt x="459" y="683"/>
                  </a:lnTo>
                  <a:lnTo>
                    <a:pt x="468" y="692"/>
                  </a:lnTo>
                  <a:lnTo>
                    <a:pt x="478" y="702"/>
                  </a:lnTo>
                  <a:lnTo>
                    <a:pt x="488" y="722"/>
                  </a:lnTo>
                  <a:lnTo>
                    <a:pt x="488" y="751"/>
                  </a:lnTo>
                  <a:lnTo>
                    <a:pt x="508" y="771"/>
                  </a:lnTo>
                  <a:lnTo>
                    <a:pt x="527" y="780"/>
                  </a:lnTo>
                  <a:lnTo>
                    <a:pt x="537" y="800"/>
                  </a:lnTo>
                  <a:lnTo>
                    <a:pt x="547" y="810"/>
                  </a:lnTo>
                  <a:lnTo>
                    <a:pt x="556" y="810"/>
                  </a:lnTo>
                  <a:lnTo>
                    <a:pt x="576" y="819"/>
                  </a:lnTo>
                  <a:lnTo>
                    <a:pt x="576" y="810"/>
                  </a:lnTo>
                  <a:lnTo>
                    <a:pt x="566" y="800"/>
                  </a:lnTo>
                  <a:lnTo>
                    <a:pt x="566" y="780"/>
                  </a:lnTo>
                  <a:lnTo>
                    <a:pt x="556" y="771"/>
                  </a:lnTo>
                  <a:lnTo>
                    <a:pt x="547" y="741"/>
                  </a:lnTo>
                  <a:lnTo>
                    <a:pt x="537" y="731"/>
                  </a:lnTo>
                  <a:lnTo>
                    <a:pt x="547" y="712"/>
                  </a:lnTo>
                  <a:lnTo>
                    <a:pt x="566" y="712"/>
                  </a:lnTo>
                  <a:lnTo>
                    <a:pt x="586" y="702"/>
                  </a:lnTo>
                  <a:lnTo>
                    <a:pt x="605" y="702"/>
                  </a:lnTo>
                  <a:lnTo>
                    <a:pt x="615" y="712"/>
                  </a:lnTo>
                  <a:lnTo>
                    <a:pt x="634" y="722"/>
                  </a:lnTo>
                  <a:lnTo>
                    <a:pt x="634" y="731"/>
                  </a:lnTo>
                  <a:lnTo>
                    <a:pt x="644" y="741"/>
                  </a:lnTo>
                  <a:lnTo>
                    <a:pt x="644" y="731"/>
                  </a:lnTo>
                  <a:lnTo>
                    <a:pt x="644" y="722"/>
                  </a:lnTo>
                  <a:lnTo>
                    <a:pt x="644" y="702"/>
                  </a:lnTo>
                  <a:lnTo>
                    <a:pt x="634" y="702"/>
                  </a:lnTo>
                  <a:lnTo>
                    <a:pt x="625" y="692"/>
                  </a:lnTo>
                  <a:lnTo>
                    <a:pt x="615" y="683"/>
                  </a:lnTo>
                  <a:lnTo>
                    <a:pt x="605" y="673"/>
                  </a:lnTo>
                  <a:lnTo>
                    <a:pt x="595" y="663"/>
                  </a:lnTo>
                  <a:lnTo>
                    <a:pt x="586" y="673"/>
                  </a:lnTo>
                  <a:lnTo>
                    <a:pt x="576" y="673"/>
                  </a:lnTo>
                  <a:lnTo>
                    <a:pt x="566" y="673"/>
                  </a:lnTo>
                  <a:lnTo>
                    <a:pt x="556" y="653"/>
                  </a:lnTo>
                  <a:lnTo>
                    <a:pt x="537" y="653"/>
                  </a:lnTo>
                  <a:lnTo>
                    <a:pt x="517" y="644"/>
                  </a:lnTo>
                  <a:lnTo>
                    <a:pt x="488" y="644"/>
                  </a:lnTo>
                  <a:lnTo>
                    <a:pt x="478" y="624"/>
                  </a:lnTo>
                  <a:lnTo>
                    <a:pt x="459" y="595"/>
                  </a:lnTo>
                  <a:lnTo>
                    <a:pt x="439" y="566"/>
                  </a:lnTo>
                  <a:lnTo>
                    <a:pt x="429" y="546"/>
                  </a:lnTo>
                  <a:lnTo>
                    <a:pt x="429" y="517"/>
                  </a:lnTo>
                  <a:lnTo>
                    <a:pt x="420" y="497"/>
                  </a:lnTo>
                  <a:lnTo>
                    <a:pt x="410" y="488"/>
                  </a:lnTo>
                  <a:lnTo>
                    <a:pt x="400" y="478"/>
                  </a:lnTo>
                  <a:lnTo>
                    <a:pt x="400" y="468"/>
                  </a:lnTo>
                  <a:lnTo>
                    <a:pt x="410" y="449"/>
                  </a:lnTo>
                  <a:lnTo>
                    <a:pt x="410" y="439"/>
                  </a:lnTo>
                  <a:lnTo>
                    <a:pt x="429" y="429"/>
                  </a:lnTo>
                  <a:lnTo>
                    <a:pt x="449" y="429"/>
                  </a:lnTo>
                  <a:lnTo>
                    <a:pt x="478" y="429"/>
                  </a:lnTo>
                  <a:lnTo>
                    <a:pt x="517" y="429"/>
                  </a:lnTo>
                  <a:lnTo>
                    <a:pt x="527" y="439"/>
                  </a:lnTo>
                  <a:lnTo>
                    <a:pt x="537" y="449"/>
                  </a:lnTo>
                  <a:lnTo>
                    <a:pt x="537" y="439"/>
                  </a:lnTo>
                  <a:lnTo>
                    <a:pt x="527" y="429"/>
                  </a:lnTo>
                  <a:lnTo>
                    <a:pt x="517" y="419"/>
                  </a:lnTo>
                  <a:lnTo>
                    <a:pt x="498" y="419"/>
                  </a:lnTo>
                  <a:lnTo>
                    <a:pt x="488" y="419"/>
                  </a:lnTo>
                  <a:lnTo>
                    <a:pt x="478" y="410"/>
                  </a:lnTo>
                  <a:lnTo>
                    <a:pt x="468" y="400"/>
                  </a:lnTo>
                  <a:lnTo>
                    <a:pt x="449" y="380"/>
                  </a:lnTo>
                  <a:lnTo>
                    <a:pt x="439" y="380"/>
                  </a:lnTo>
                  <a:lnTo>
                    <a:pt x="429" y="370"/>
                  </a:lnTo>
                  <a:lnTo>
                    <a:pt x="429" y="361"/>
                  </a:lnTo>
                  <a:lnTo>
                    <a:pt x="410" y="361"/>
                  </a:lnTo>
                  <a:lnTo>
                    <a:pt x="400" y="351"/>
                  </a:lnTo>
                  <a:lnTo>
                    <a:pt x="390" y="341"/>
                  </a:lnTo>
                  <a:lnTo>
                    <a:pt x="371" y="331"/>
                  </a:lnTo>
                  <a:lnTo>
                    <a:pt x="342" y="312"/>
                  </a:lnTo>
                  <a:lnTo>
                    <a:pt x="322" y="292"/>
                  </a:lnTo>
                  <a:lnTo>
                    <a:pt x="293" y="273"/>
                  </a:lnTo>
                  <a:lnTo>
                    <a:pt x="283" y="263"/>
                  </a:lnTo>
                  <a:lnTo>
                    <a:pt x="283" y="273"/>
                  </a:lnTo>
                  <a:lnTo>
                    <a:pt x="273" y="263"/>
                  </a:lnTo>
                  <a:lnTo>
                    <a:pt x="273" y="253"/>
                  </a:lnTo>
                  <a:lnTo>
                    <a:pt x="254" y="244"/>
                  </a:lnTo>
                  <a:lnTo>
                    <a:pt x="244" y="244"/>
                  </a:lnTo>
                  <a:lnTo>
                    <a:pt x="234" y="234"/>
                  </a:lnTo>
                  <a:lnTo>
                    <a:pt x="234" y="224"/>
                  </a:lnTo>
                  <a:lnTo>
                    <a:pt x="225" y="214"/>
                  </a:lnTo>
                  <a:lnTo>
                    <a:pt x="215" y="214"/>
                  </a:lnTo>
                  <a:lnTo>
                    <a:pt x="205" y="214"/>
                  </a:lnTo>
                  <a:lnTo>
                    <a:pt x="205" y="205"/>
                  </a:lnTo>
                  <a:lnTo>
                    <a:pt x="195" y="205"/>
                  </a:lnTo>
                  <a:lnTo>
                    <a:pt x="195" y="195"/>
                  </a:lnTo>
                  <a:lnTo>
                    <a:pt x="195" y="185"/>
                  </a:lnTo>
                  <a:lnTo>
                    <a:pt x="186" y="185"/>
                  </a:lnTo>
                  <a:lnTo>
                    <a:pt x="176" y="185"/>
                  </a:lnTo>
                  <a:lnTo>
                    <a:pt x="176" y="156"/>
                  </a:lnTo>
                  <a:lnTo>
                    <a:pt x="186" y="166"/>
                  </a:lnTo>
                  <a:lnTo>
                    <a:pt x="186" y="156"/>
                  </a:lnTo>
                  <a:lnTo>
                    <a:pt x="176" y="146"/>
                  </a:lnTo>
                  <a:lnTo>
                    <a:pt x="166" y="127"/>
                  </a:lnTo>
                  <a:lnTo>
                    <a:pt x="147" y="117"/>
                  </a:lnTo>
                  <a:lnTo>
                    <a:pt x="127" y="117"/>
                  </a:lnTo>
                  <a:lnTo>
                    <a:pt x="117" y="107"/>
                  </a:lnTo>
                  <a:lnTo>
                    <a:pt x="117" y="97"/>
                  </a:lnTo>
                  <a:lnTo>
                    <a:pt x="117" y="88"/>
                  </a:lnTo>
                  <a:lnTo>
                    <a:pt x="127" y="97"/>
                  </a:lnTo>
                  <a:lnTo>
                    <a:pt x="137" y="97"/>
                  </a:lnTo>
                  <a:lnTo>
                    <a:pt x="127" y="88"/>
                  </a:lnTo>
                  <a:lnTo>
                    <a:pt x="108" y="78"/>
                  </a:lnTo>
                  <a:lnTo>
                    <a:pt x="88" y="78"/>
                  </a:lnTo>
                  <a:lnTo>
                    <a:pt x="88" y="68"/>
                  </a:lnTo>
                  <a:lnTo>
                    <a:pt x="69" y="49"/>
                  </a:lnTo>
                  <a:lnTo>
                    <a:pt x="59" y="39"/>
                  </a:lnTo>
                  <a:lnTo>
                    <a:pt x="59" y="19"/>
                  </a:lnTo>
                  <a:lnTo>
                    <a:pt x="49" y="19"/>
                  </a:lnTo>
                  <a:lnTo>
                    <a:pt x="30" y="19"/>
                  </a:lnTo>
                  <a:lnTo>
                    <a:pt x="2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10" y="29"/>
                  </a:lnTo>
                  <a:lnTo>
                    <a:pt x="0" y="39"/>
                  </a:lnTo>
                  <a:lnTo>
                    <a:pt x="10" y="39"/>
                  </a:lnTo>
                  <a:lnTo>
                    <a:pt x="20" y="39"/>
                  </a:lnTo>
                  <a:lnTo>
                    <a:pt x="30" y="58"/>
                  </a:lnTo>
                  <a:lnTo>
                    <a:pt x="49" y="58"/>
                  </a:lnTo>
                  <a:lnTo>
                    <a:pt x="59" y="58"/>
                  </a:lnTo>
                  <a:lnTo>
                    <a:pt x="59" y="68"/>
                  </a:lnTo>
                  <a:lnTo>
                    <a:pt x="69" y="68"/>
                  </a:lnTo>
                  <a:lnTo>
                    <a:pt x="69" y="78"/>
                  </a:lnTo>
                  <a:lnTo>
                    <a:pt x="59" y="88"/>
                  </a:lnTo>
                  <a:lnTo>
                    <a:pt x="69" y="88"/>
                  </a:lnTo>
                  <a:lnTo>
                    <a:pt x="69" y="97"/>
                  </a:lnTo>
                  <a:lnTo>
                    <a:pt x="69" y="117"/>
                  </a:lnTo>
                  <a:lnTo>
                    <a:pt x="59" y="117"/>
                  </a:lnTo>
                  <a:lnTo>
                    <a:pt x="49" y="107"/>
                  </a:lnTo>
                  <a:lnTo>
                    <a:pt x="39" y="107"/>
                  </a:lnTo>
                  <a:lnTo>
                    <a:pt x="39" y="117"/>
                  </a:lnTo>
                  <a:lnTo>
                    <a:pt x="30" y="127"/>
                  </a:lnTo>
                  <a:lnTo>
                    <a:pt x="39" y="146"/>
                  </a:lnTo>
                  <a:lnTo>
                    <a:pt x="49" y="156"/>
                  </a:lnTo>
                  <a:lnTo>
                    <a:pt x="69" y="166"/>
                  </a:lnTo>
                  <a:lnTo>
                    <a:pt x="69" y="175"/>
                  </a:lnTo>
                  <a:lnTo>
                    <a:pt x="78" y="185"/>
                  </a:lnTo>
                  <a:lnTo>
                    <a:pt x="78" y="195"/>
                  </a:lnTo>
                  <a:lnTo>
                    <a:pt x="88" y="214"/>
                  </a:lnTo>
                  <a:lnTo>
                    <a:pt x="98" y="234"/>
                  </a:lnTo>
                  <a:lnTo>
                    <a:pt x="108" y="253"/>
                  </a:lnTo>
                  <a:lnTo>
                    <a:pt x="117" y="253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25" name="Group 96"/>
            <p:cNvGrpSpPr>
              <a:grpSpLocks/>
            </p:cNvGrpSpPr>
            <p:nvPr/>
          </p:nvGrpSpPr>
          <p:grpSpPr bwMode="auto">
            <a:xfrm>
              <a:off x="8085" y="2859"/>
              <a:ext cx="644" cy="819"/>
              <a:chOff x="8086" y="2859"/>
              <a:chExt cx="644" cy="819"/>
            </a:xfrm>
          </p:grpSpPr>
          <p:sp>
            <p:nvSpPr>
              <p:cNvPr id="306" name="Freeform 98"/>
              <p:cNvSpPr>
                <a:spLocks/>
              </p:cNvSpPr>
              <p:nvPr/>
            </p:nvSpPr>
            <p:spPr bwMode="auto">
              <a:xfrm>
                <a:off x="8087" y="2858"/>
                <a:ext cx="643" cy="820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7" name="Freeform 97"/>
              <p:cNvSpPr>
                <a:spLocks/>
              </p:cNvSpPr>
              <p:nvPr/>
            </p:nvSpPr>
            <p:spPr bwMode="auto">
              <a:xfrm>
                <a:off x="8087" y="2858"/>
                <a:ext cx="643" cy="820"/>
              </a:xfrm>
              <a:custGeom>
                <a:avLst/>
                <a:gdLst>
                  <a:gd name="T0" fmla="*/ 127 w 644"/>
                  <a:gd name="T1" fmla="*/ 273 h 819"/>
                  <a:gd name="T2" fmla="*/ 147 w 644"/>
                  <a:gd name="T3" fmla="*/ 292 h 819"/>
                  <a:gd name="T4" fmla="*/ 176 w 644"/>
                  <a:gd name="T5" fmla="*/ 302 h 819"/>
                  <a:gd name="T6" fmla="*/ 215 w 644"/>
                  <a:gd name="T7" fmla="*/ 331 h 819"/>
                  <a:gd name="T8" fmla="*/ 234 w 644"/>
                  <a:gd name="T9" fmla="*/ 370 h 819"/>
                  <a:gd name="T10" fmla="*/ 293 w 644"/>
                  <a:gd name="T11" fmla="*/ 439 h 819"/>
                  <a:gd name="T12" fmla="*/ 332 w 644"/>
                  <a:gd name="T13" fmla="*/ 507 h 819"/>
                  <a:gd name="T14" fmla="*/ 351 w 644"/>
                  <a:gd name="T15" fmla="*/ 566 h 819"/>
                  <a:gd name="T16" fmla="*/ 410 w 644"/>
                  <a:gd name="T17" fmla="*/ 595 h 819"/>
                  <a:gd name="T18" fmla="*/ 429 w 644"/>
                  <a:gd name="T19" fmla="*/ 624 h 819"/>
                  <a:gd name="T20" fmla="*/ 459 w 644"/>
                  <a:gd name="T21" fmla="*/ 683 h 819"/>
                  <a:gd name="T22" fmla="*/ 488 w 644"/>
                  <a:gd name="T23" fmla="*/ 722 h 819"/>
                  <a:gd name="T24" fmla="*/ 527 w 644"/>
                  <a:gd name="T25" fmla="*/ 780 h 819"/>
                  <a:gd name="T26" fmla="*/ 556 w 644"/>
                  <a:gd name="T27" fmla="*/ 810 h 819"/>
                  <a:gd name="T28" fmla="*/ 566 w 644"/>
                  <a:gd name="T29" fmla="*/ 800 h 819"/>
                  <a:gd name="T30" fmla="*/ 547 w 644"/>
                  <a:gd name="T31" fmla="*/ 741 h 819"/>
                  <a:gd name="T32" fmla="*/ 547 w 644"/>
                  <a:gd name="T33" fmla="*/ 712 h 819"/>
                  <a:gd name="T34" fmla="*/ 605 w 644"/>
                  <a:gd name="T35" fmla="*/ 692 h 819"/>
                  <a:gd name="T36" fmla="*/ 634 w 644"/>
                  <a:gd name="T37" fmla="*/ 731 h 819"/>
                  <a:gd name="T38" fmla="*/ 644 w 644"/>
                  <a:gd name="T39" fmla="*/ 722 h 819"/>
                  <a:gd name="T40" fmla="*/ 625 w 644"/>
                  <a:gd name="T41" fmla="*/ 692 h 819"/>
                  <a:gd name="T42" fmla="*/ 595 w 644"/>
                  <a:gd name="T43" fmla="*/ 663 h 819"/>
                  <a:gd name="T44" fmla="*/ 576 w 644"/>
                  <a:gd name="T45" fmla="*/ 673 h 819"/>
                  <a:gd name="T46" fmla="*/ 537 w 644"/>
                  <a:gd name="T47" fmla="*/ 653 h 819"/>
                  <a:gd name="T48" fmla="*/ 478 w 644"/>
                  <a:gd name="T49" fmla="*/ 624 h 819"/>
                  <a:gd name="T50" fmla="*/ 429 w 644"/>
                  <a:gd name="T51" fmla="*/ 546 h 819"/>
                  <a:gd name="T52" fmla="*/ 410 w 644"/>
                  <a:gd name="T53" fmla="*/ 488 h 819"/>
                  <a:gd name="T54" fmla="*/ 410 w 644"/>
                  <a:gd name="T55" fmla="*/ 449 h 819"/>
                  <a:gd name="T56" fmla="*/ 449 w 644"/>
                  <a:gd name="T57" fmla="*/ 429 h 819"/>
                  <a:gd name="T58" fmla="*/ 527 w 644"/>
                  <a:gd name="T59" fmla="*/ 439 h 819"/>
                  <a:gd name="T60" fmla="*/ 527 w 644"/>
                  <a:gd name="T61" fmla="*/ 429 h 819"/>
                  <a:gd name="T62" fmla="*/ 488 w 644"/>
                  <a:gd name="T63" fmla="*/ 419 h 819"/>
                  <a:gd name="T64" fmla="*/ 449 w 644"/>
                  <a:gd name="T65" fmla="*/ 380 h 819"/>
                  <a:gd name="T66" fmla="*/ 429 w 644"/>
                  <a:gd name="T67" fmla="*/ 361 h 819"/>
                  <a:gd name="T68" fmla="*/ 390 w 644"/>
                  <a:gd name="T69" fmla="*/ 341 h 819"/>
                  <a:gd name="T70" fmla="*/ 322 w 644"/>
                  <a:gd name="T71" fmla="*/ 292 h 819"/>
                  <a:gd name="T72" fmla="*/ 283 w 644"/>
                  <a:gd name="T73" fmla="*/ 273 h 819"/>
                  <a:gd name="T74" fmla="*/ 254 w 644"/>
                  <a:gd name="T75" fmla="*/ 244 h 819"/>
                  <a:gd name="T76" fmla="*/ 234 w 644"/>
                  <a:gd name="T77" fmla="*/ 234 h 819"/>
                  <a:gd name="T78" fmla="*/ 225 w 644"/>
                  <a:gd name="T79" fmla="*/ 214 h 819"/>
                  <a:gd name="T80" fmla="*/ 205 w 644"/>
                  <a:gd name="T81" fmla="*/ 205 h 819"/>
                  <a:gd name="T82" fmla="*/ 195 w 644"/>
                  <a:gd name="T83" fmla="*/ 185 h 819"/>
                  <a:gd name="T84" fmla="*/ 176 w 644"/>
                  <a:gd name="T85" fmla="*/ 156 h 819"/>
                  <a:gd name="T86" fmla="*/ 186 w 644"/>
                  <a:gd name="T87" fmla="*/ 166 h 819"/>
                  <a:gd name="T88" fmla="*/ 147 w 644"/>
                  <a:gd name="T89" fmla="*/ 127 h 819"/>
                  <a:gd name="T90" fmla="*/ 117 w 644"/>
                  <a:gd name="T91" fmla="*/ 97 h 819"/>
                  <a:gd name="T92" fmla="*/ 137 w 644"/>
                  <a:gd name="T93" fmla="*/ 107 h 819"/>
                  <a:gd name="T94" fmla="*/ 88 w 644"/>
                  <a:gd name="T95" fmla="*/ 78 h 819"/>
                  <a:gd name="T96" fmla="*/ 59 w 644"/>
                  <a:gd name="T97" fmla="*/ 39 h 819"/>
                  <a:gd name="T98" fmla="*/ 30 w 644"/>
                  <a:gd name="T99" fmla="*/ 19 h 819"/>
                  <a:gd name="T100" fmla="*/ 20 w 644"/>
                  <a:gd name="T101" fmla="*/ 19 h 819"/>
                  <a:gd name="T102" fmla="*/ 0 w 644"/>
                  <a:gd name="T103" fmla="*/ 39 h 819"/>
                  <a:gd name="T104" fmla="*/ 30 w 644"/>
                  <a:gd name="T105" fmla="*/ 58 h 819"/>
                  <a:gd name="T106" fmla="*/ 59 w 644"/>
                  <a:gd name="T107" fmla="*/ 68 h 819"/>
                  <a:gd name="T108" fmla="*/ 69 w 644"/>
                  <a:gd name="T109" fmla="*/ 78 h 819"/>
                  <a:gd name="T110" fmla="*/ 69 w 644"/>
                  <a:gd name="T111" fmla="*/ 88 h 819"/>
                  <a:gd name="T112" fmla="*/ 59 w 644"/>
                  <a:gd name="T113" fmla="*/ 127 h 819"/>
                  <a:gd name="T114" fmla="*/ 39 w 644"/>
                  <a:gd name="T115" fmla="*/ 127 h 819"/>
                  <a:gd name="T116" fmla="*/ 49 w 644"/>
                  <a:gd name="T117" fmla="*/ 166 h 819"/>
                  <a:gd name="T118" fmla="*/ 78 w 644"/>
                  <a:gd name="T119" fmla="*/ 185 h 819"/>
                  <a:gd name="T120" fmla="*/ 98 w 644"/>
                  <a:gd name="T121" fmla="*/ 234 h 81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44"/>
                  <a:gd name="T184" fmla="*/ 0 h 819"/>
                  <a:gd name="T185" fmla="*/ 644 w 644"/>
                  <a:gd name="T186" fmla="*/ 819 h 81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44" h="819">
                    <a:moveTo>
                      <a:pt x="117" y="253"/>
                    </a:moveTo>
                    <a:lnTo>
                      <a:pt x="117" y="273"/>
                    </a:lnTo>
                    <a:lnTo>
                      <a:pt x="127" y="273"/>
                    </a:lnTo>
                    <a:lnTo>
                      <a:pt x="127" y="283"/>
                    </a:lnTo>
                    <a:lnTo>
                      <a:pt x="147" y="283"/>
                    </a:lnTo>
                    <a:lnTo>
                      <a:pt x="147" y="292"/>
                    </a:lnTo>
                    <a:lnTo>
                      <a:pt x="137" y="292"/>
                    </a:lnTo>
                    <a:lnTo>
                      <a:pt x="166" y="302"/>
                    </a:lnTo>
                    <a:lnTo>
                      <a:pt x="176" y="302"/>
                    </a:lnTo>
                    <a:lnTo>
                      <a:pt x="186" y="312"/>
                    </a:lnTo>
                    <a:lnTo>
                      <a:pt x="195" y="322"/>
                    </a:lnTo>
                    <a:lnTo>
                      <a:pt x="215" y="331"/>
                    </a:lnTo>
                    <a:lnTo>
                      <a:pt x="225" y="341"/>
                    </a:lnTo>
                    <a:lnTo>
                      <a:pt x="225" y="370"/>
                    </a:lnTo>
                    <a:lnTo>
                      <a:pt x="234" y="370"/>
                    </a:lnTo>
                    <a:lnTo>
                      <a:pt x="254" y="400"/>
                    </a:lnTo>
                    <a:lnTo>
                      <a:pt x="273" y="419"/>
                    </a:lnTo>
                    <a:lnTo>
                      <a:pt x="293" y="439"/>
                    </a:lnTo>
                    <a:lnTo>
                      <a:pt x="312" y="468"/>
                    </a:lnTo>
                    <a:lnTo>
                      <a:pt x="322" y="488"/>
                    </a:lnTo>
                    <a:lnTo>
                      <a:pt x="332" y="507"/>
                    </a:lnTo>
                    <a:lnTo>
                      <a:pt x="342" y="517"/>
                    </a:lnTo>
                    <a:lnTo>
                      <a:pt x="351" y="546"/>
                    </a:lnTo>
                    <a:lnTo>
                      <a:pt x="351" y="566"/>
                    </a:lnTo>
                    <a:lnTo>
                      <a:pt x="371" y="585"/>
                    </a:lnTo>
                    <a:lnTo>
                      <a:pt x="390" y="585"/>
                    </a:lnTo>
                    <a:lnTo>
                      <a:pt x="410" y="595"/>
                    </a:lnTo>
                    <a:lnTo>
                      <a:pt x="420" y="605"/>
                    </a:lnTo>
                    <a:lnTo>
                      <a:pt x="429" y="605"/>
                    </a:lnTo>
                    <a:lnTo>
                      <a:pt x="429" y="624"/>
                    </a:lnTo>
                    <a:lnTo>
                      <a:pt x="429" y="644"/>
                    </a:lnTo>
                    <a:lnTo>
                      <a:pt x="449" y="673"/>
                    </a:lnTo>
                    <a:lnTo>
                      <a:pt x="459" y="683"/>
                    </a:lnTo>
                    <a:lnTo>
                      <a:pt x="468" y="692"/>
                    </a:lnTo>
                    <a:lnTo>
                      <a:pt x="478" y="702"/>
                    </a:lnTo>
                    <a:lnTo>
                      <a:pt x="488" y="722"/>
                    </a:lnTo>
                    <a:lnTo>
                      <a:pt x="488" y="751"/>
                    </a:lnTo>
                    <a:lnTo>
                      <a:pt x="508" y="771"/>
                    </a:lnTo>
                    <a:lnTo>
                      <a:pt x="527" y="780"/>
                    </a:lnTo>
                    <a:lnTo>
                      <a:pt x="537" y="800"/>
                    </a:lnTo>
                    <a:lnTo>
                      <a:pt x="547" y="810"/>
                    </a:lnTo>
                    <a:lnTo>
                      <a:pt x="556" y="810"/>
                    </a:lnTo>
                    <a:lnTo>
                      <a:pt x="576" y="819"/>
                    </a:lnTo>
                    <a:lnTo>
                      <a:pt x="576" y="810"/>
                    </a:lnTo>
                    <a:lnTo>
                      <a:pt x="566" y="800"/>
                    </a:lnTo>
                    <a:lnTo>
                      <a:pt x="566" y="780"/>
                    </a:lnTo>
                    <a:lnTo>
                      <a:pt x="556" y="771"/>
                    </a:lnTo>
                    <a:lnTo>
                      <a:pt x="547" y="741"/>
                    </a:lnTo>
                    <a:lnTo>
                      <a:pt x="537" y="731"/>
                    </a:lnTo>
                    <a:lnTo>
                      <a:pt x="547" y="712"/>
                    </a:lnTo>
                    <a:lnTo>
                      <a:pt x="566" y="712"/>
                    </a:lnTo>
                    <a:lnTo>
                      <a:pt x="576" y="702"/>
                    </a:lnTo>
                    <a:lnTo>
                      <a:pt x="605" y="692"/>
                    </a:lnTo>
                    <a:lnTo>
                      <a:pt x="615" y="712"/>
                    </a:lnTo>
                    <a:lnTo>
                      <a:pt x="634" y="722"/>
                    </a:lnTo>
                    <a:lnTo>
                      <a:pt x="634" y="731"/>
                    </a:lnTo>
                    <a:lnTo>
                      <a:pt x="644" y="741"/>
                    </a:lnTo>
                    <a:lnTo>
                      <a:pt x="644" y="731"/>
                    </a:lnTo>
                    <a:lnTo>
                      <a:pt x="644" y="722"/>
                    </a:lnTo>
                    <a:lnTo>
                      <a:pt x="644" y="702"/>
                    </a:lnTo>
                    <a:lnTo>
                      <a:pt x="634" y="692"/>
                    </a:lnTo>
                    <a:lnTo>
                      <a:pt x="625" y="692"/>
                    </a:lnTo>
                    <a:lnTo>
                      <a:pt x="615" y="683"/>
                    </a:lnTo>
                    <a:lnTo>
                      <a:pt x="605" y="673"/>
                    </a:lnTo>
                    <a:lnTo>
                      <a:pt x="595" y="663"/>
                    </a:lnTo>
                    <a:lnTo>
                      <a:pt x="586" y="663"/>
                    </a:lnTo>
                    <a:lnTo>
                      <a:pt x="586" y="673"/>
                    </a:lnTo>
                    <a:lnTo>
                      <a:pt x="576" y="673"/>
                    </a:lnTo>
                    <a:lnTo>
                      <a:pt x="566" y="673"/>
                    </a:lnTo>
                    <a:lnTo>
                      <a:pt x="556" y="653"/>
                    </a:lnTo>
                    <a:lnTo>
                      <a:pt x="537" y="653"/>
                    </a:lnTo>
                    <a:lnTo>
                      <a:pt x="517" y="644"/>
                    </a:lnTo>
                    <a:lnTo>
                      <a:pt x="488" y="644"/>
                    </a:lnTo>
                    <a:lnTo>
                      <a:pt x="478" y="624"/>
                    </a:lnTo>
                    <a:lnTo>
                      <a:pt x="459" y="595"/>
                    </a:lnTo>
                    <a:lnTo>
                      <a:pt x="439" y="566"/>
                    </a:lnTo>
                    <a:lnTo>
                      <a:pt x="429" y="546"/>
                    </a:lnTo>
                    <a:lnTo>
                      <a:pt x="429" y="517"/>
                    </a:lnTo>
                    <a:lnTo>
                      <a:pt x="420" y="497"/>
                    </a:lnTo>
                    <a:lnTo>
                      <a:pt x="410" y="488"/>
                    </a:lnTo>
                    <a:lnTo>
                      <a:pt x="400" y="478"/>
                    </a:lnTo>
                    <a:lnTo>
                      <a:pt x="400" y="468"/>
                    </a:lnTo>
                    <a:lnTo>
                      <a:pt x="410" y="449"/>
                    </a:lnTo>
                    <a:lnTo>
                      <a:pt x="410" y="439"/>
                    </a:lnTo>
                    <a:lnTo>
                      <a:pt x="429" y="429"/>
                    </a:lnTo>
                    <a:lnTo>
                      <a:pt x="449" y="429"/>
                    </a:lnTo>
                    <a:lnTo>
                      <a:pt x="478" y="429"/>
                    </a:lnTo>
                    <a:lnTo>
                      <a:pt x="517" y="429"/>
                    </a:lnTo>
                    <a:lnTo>
                      <a:pt x="527" y="439"/>
                    </a:lnTo>
                    <a:lnTo>
                      <a:pt x="537" y="449"/>
                    </a:lnTo>
                    <a:lnTo>
                      <a:pt x="537" y="439"/>
                    </a:lnTo>
                    <a:lnTo>
                      <a:pt x="527" y="429"/>
                    </a:lnTo>
                    <a:lnTo>
                      <a:pt x="517" y="419"/>
                    </a:lnTo>
                    <a:lnTo>
                      <a:pt x="498" y="419"/>
                    </a:lnTo>
                    <a:lnTo>
                      <a:pt x="488" y="419"/>
                    </a:lnTo>
                    <a:lnTo>
                      <a:pt x="478" y="410"/>
                    </a:lnTo>
                    <a:lnTo>
                      <a:pt x="468" y="400"/>
                    </a:lnTo>
                    <a:lnTo>
                      <a:pt x="449" y="380"/>
                    </a:lnTo>
                    <a:lnTo>
                      <a:pt x="429" y="380"/>
                    </a:lnTo>
                    <a:lnTo>
                      <a:pt x="429" y="370"/>
                    </a:lnTo>
                    <a:lnTo>
                      <a:pt x="429" y="361"/>
                    </a:lnTo>
                    <a:lnTo>
                      <a:pt x="410" y="361"/>
                    </a:lnTo>
                    <a:lnTo>
                      <a:pt x="400" y="351"/>
                    </a:lnTo>
                    <a:lnTo>
                      <a:pt x="390" y="341"/>
                    </a:lnTo>
                    <a:lnTo>
                      <a:pt x="371" y="331"/>
                    </a:lnTo>
                    <a:lnTo>
                      <a:pt x="342" y="312"/>
                    </a:lnTo>
                    <a:lnTo>
                      <a:pt x="322" y="292"/>
                    </a:lnTo>
                    <a:lnTo>
                      <a:pt x="293" y="273"/>
                    </a:lnTo>
                    <a:lnTo>
                      <a:pt x="283" y="263"/>
                    </a:lnTo>
                    <a:lnTo>
                      <a:pt x="283" y="273"/>
                    </a:lnTo>
                    <a:lnTo>
                      <a:pt x="273" y="263"/>
                    </a:lnTo>
                    <a:lnTo>
                      <a:pt x="273" y="253"/>
                    </a:lnTo>
                    <a:lnTo>
                      <a:pt x="254" y="244"/>
                    </a:lnTo>
                    <a:lnTo>
                      <a:pt x="244" y="244"/>
                    </a:lnTo>
                    <a:lnTo>
                      <a:pt x="234" y="234"/>
                    </a:lnTo>
                    <a:lnTo>
                      <a:pt x="234" y="224"/>
                    </a:lnTo>
                    <a:lnTo>
                      <a:pt x="225" y="214"/>
                    </a:lnTo>
                    <a:lnTo>
                      <a:pt x="215" y="214"/>
                    </a:lnTo>
                    <a:lnTo>
                      <a:pt x="205" y="214"/>
                    </a:lnTo>
                    <a:lnTo>
                      <a:pt x="205" y="205"/>
                    </a:lnTo>
                    <a:lnTo>
                      <a:pt x="195" y="205"/>
                    </a:lnTo>
                    <a:lnTo>
                      <a:pt x="195" y="195"/>
                    </a:lnTo>
                    <a:lnTo>
                      <a:pt x="195" y="185"/>
                    </a:lnTo>
                    <a:lnTo>
                      <a:pt x="186" y="185"/>
                    </a:lnTo>
                    <a:lnTo>
                      <a:pt x="176" y="185"/>
                    </a:lnTo>
                    <a:lnTo>
                      <a:pt x="176" y="156"/>
                    </a:lnTo>
                    <a:lnTo>
                      <a:pt x="176" y="166"/>
                    </a:lnTo>
                    <a:lnTo>
                      <a:pt x="186" y="166"/>
                    </a:lnTo>
                    <a:lnTo>
                      <a:pt x="176" y="146"/>
                    </a:lnTo>
                    <a:lnTo>
                      <a:pt x="166" y="127"/>
                    </a:lnTo>
                    <a:lnTo>
                      <a:pt x="147" y="127"/>
                    </a:lnTo>
                    <a:lnTo>
                      <a:pt x="127" y="117"/>
                    </a:lnTo>
                    <a:lnTo>
                      <a:pt x="117" y="107"/>
                    </a:lnTo>
                    <a:lnTo>
                      <a:pt x="117" y="97"/>
                    </a:lnTo>
                    <a:lnTo>
                      <a:pt x="117" y="88"/>
                    </a:lnTo>
                    <a:lnTo>
                      <a:pt x="127" y="107"/>
                    </a:lnTo>
                    <a:lnTo>
                      <a:pt x="137" y="107"/>
                    </a:lnTo>
                    <a:lnTo>
                      <a:pt x="127" y="88"/>
                    </a:lnTo>
                    <a:lnTo>
                      <a:pt x="108" y="78"/>
                    </a:lnTo>
                    <a:lnTo>
                      <a:pt x="88" y="78"/>
                    </a:lnTo>
                    <a:lnTo>
                      <a:pt x="88" y="68"/>
                    </a:lnTo>
                    <a:lnTo>
                      <a:pt x="69" y="49"/>
                    </a:lnTo>
                    <a:lnTo>
                      <a:pt x="59" y="39"/>
                    </a:lnTo>
                    <a:lnTo>
                      <a:pt x="59" y="29"/>
                    </a:lnTo>
                    <a:lnTo>
                      <a:pt x="49" y="19"/>
                    </a:lnTo>
                    <a:lnTo>
                      <a:pt x="30" y="19"/>
                    </a:lnTo>
                    <a:lnTo>
                      <a:pt x="20" y="0"/>
                    </a:lnTo>
                    <a:lnTo>
                      <a:pt x="10" y="9"/>
                    </a:lnTo>
                    <a:lnTo>
                      <a:pt x="20" y="19"/>
                    </a:lnTo>
                    <a:lnTo>
                      <a:pt x="20" y="29"/>
                    </a:lnTo>
                    <a:lnTo>
                      <a:pt x="10" y="29"/>
                    </a:lnTo>
                    <a:lnTo>
                      <a:pt x="0" y="39"/>
                    </a:lnTo>
                    <a:lnTo>
                      <a:pt x="10" y="39"/>
                    </a:lnTo>
                    <a:lnTo>
                      <a:pt x="20" y="49"/>
                    </a:lnTo>
                    <a:lnTo>
                      <a:pt x="30" y="58"/>
                    </a:lnTo>
                    <a:lnTo>
                      <a:pt x="49" y="58"/>
                    </a:lnTo>
                    <a:lnTo>
                      <a:pt x="59" y="58"/>
                    </a:lnTo>
                    <a:lnTo>
                      <a:pt x="59" y="68"/>
                    </a:lnTo>
                    <a:lnTo>
                      <a:pt x="69" y="68"/>
                    </a:lnTo>
                    <a:lnTo>
                      <a:pt x="69" y="78"/>
                    </a:lnTo>
                    <a:lnTo>
                      <a:pt x="59" y="88"/>
                    </a:lnTo>
                    <a:lnTo>
                      <a:pt x="69" y="88"/>
                    </a:lnTo>
                    <a:lnTo>
                      <a:pt x="69" y="107"/>
                    </a:lnTo>
                    <a:lnTo>
                      <a:pt x="69" y="117"/>
                    </a:lnTo>
                    <a:lnTo>
                      <a:pt x="59" y="127"/>
                    </a:lnTo>
                    <a:lnTo>
                      <a:pt x="49" y="107"/>
                    </a:lnTo>
                    <a:lnTo>
                      <a:pt x="39" y="107"/>
                    </a:lnTo>
                    <a:lnTo>
                      <a:pt x="39" y="127"/>
                    </a:lnTo>
                    <a:lnTo>
                      <a:pt x="30" y="127"/>
                    </a:lnTo>
                    <a:lnTo>
                      <a:pt x="39" y="146"/>
                    </a:lnTo>
                    <a:lnTo>
                      <a:pt x="49" y="166"/>
                    </a:lnTo>
                    <a:lnTo>
                      <a:pt x="69" y="166"/>
                    </a:lnTo>
                    <a:lnTo>
                      <a:pt x="69" y="175"/>
                    </a:lnTo>
                    <a:lnTo>
                      <a:pt x="78" y="185"/>
                    </a:lnTo>
                    <a:lnTo>
                      <a:pt x="78" y="195"/>
                    </a:lnTo>
                    <a:lnTo>
                      <a:pt x="88" y="214"/>
                    </a:lnTo>
                    <a:lnTo>
                      <a:pt x="98" y="234"/>
                    </a:lnTo>
                    <a:lnTo>
                      <a:pt x="108" y="253"/>
                    </a:lnTo>
                    <a:lnTo>
                      <a:pt x="117" y="253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26" name="Freeform 95"/>
            <p:cNvSpPr>
              <a:spLocks/>
            </p:cNvSpPr>
            <p:nvPr/>
          </p:nvSpPr>
          <p:spPr bwMode="auto">
            <a:xfrm>
              <a:off x="9109" y="2527"/>
              <a:ext cx="22" cy="28"/>
            </a:xfrm>
            <a:custGeom>
              <a:avLst/>
              <a:gdLst>
                <a:gd name="T0" fmla="*/ 0 w 20"/>
                <a:gd name="T1" fmla="*/ 0 h 29"/>
                <a:gd name="T2" fmla="*/ 10 w 20"/>
                <a:gd name="T3" fmla="*/ 0 h 29"/>
                <a:gd name="T4" fmla="*/ 20 w 20"/>
                <a:gd name="T5" fmla="*/ 10 h 29"/>
                <a:gd name="T6" fmla="*/ 20 w 20"/>
                <a:gd name="T7" fmla="*/ 20 h 29"/>
                <a:gd name="T8" fmla="*/ 10 w 20"/>
                <a:gd name="T9" fmla="*/ 29 h 29"/>
                <a:gd name="T10" fmla="*/ 0 w 20"/>
                <a:gd name="T11" fmla="*/ 20 h 29"/>
                <a:gd name="T12" fmla="*/ 0 w 20"/>
                <a:gd name="T13" fmla="*/ 10 h 29"/>
                <a:gd name="T14" fmla="*/ 0 w 20"/>
                <a:gd name="T15" fmla="*/ 0 h 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9"/>
                <a:gd name="T26" fmla="*/ 20 w 20"/>
                <a:gd name="T27" fmla="*/ 29 h 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9">
                  <a:moveTo>
                    <a:pt x="0" y="0"/>
                  </a:moveTo>
                  <a:lnTo>
                    <a:pt x="10" y="0"/>
                  </a:lnTo>
                  <a:lnTo>
                    <a:pt x="20" y="10"/>
                  </a:lnTo>
                  <a:lnTo>
                    <a:pt x="20" y="20"/>
                  </a:lnTo>
                  <a:lnTo>
                    <a:pt x="10" y="29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27" name="Group 92"/>
            <p:cNvGrpSpPr>
              <a:grpSpLocks/>
            </p:cNvGrpSpPr>
            <p:nvPr/>
          </p:nvGrpSpPr>
          <p:grpSpPr bwMode="auto">
            <a:xfrm>
              <a:off x="9109" y="2527"/>
              <a:ext cx="20" cy="29"/>
              <a:chOff x="9110" y="2527"/>
              <a:chExt cx="20" cy="29"/>
            </a:xfrm>
          </p:grpSpPr>
          <p:sp>
            <p:nvSpPr>
              <p:cNvPr id="304" name="Freeform 94"/>
              <p:cNvSpPr>
                <a:spLocks/>
              </p:cNvSpPr>
              <p:nvPr/>
            </p:nvSpPr>
            <p:spPr bwMode="auto">
              <a:xfrm>
                <a:off x="9110" y="2527"/>
                <a:ext cx="22" cy="28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5" name="Freeform 93"/>
              <p:cNvSpPr>
                <a:spLocks/>
              </p:cNvSpPr>
              <p:nvPr/>
            </p:nvSpPr>
            <p:spPr bwMode="auto">
              <a:xfrm>
                <a:off x="9110" y="2527"/>
                <a:ext cx="22" cy="28"/>
              </a:xfrm>
              <a:custGeom>
                <a:avLst/>
                <a:gdLst>
                  <a:gd name="T0" fmla="*/ 0 w 20"/>
                  <a:gd name="T1" fmla="*/ 0 h 29"/>
                  <a:gd name="T2" fmla="*/ 10 w 20"/>
                  <a:gd name="T3" fmla="*/ 0 h 29"/>
                  <a:gd name="T4" fmla="*/ 20 w 20"/>
                  <a:gd name="T5" fmla="*/ 10 h 29"/>
                  <a:gd name="T6" fmla="*/ 20 w 20"/>
                  <a:gd name="T7" fmla="*/ 20 h 29"/>
                  <a:gd name="T8" fmla="*/ 10 w 20"/>
                  <a:gd name="T9" fmla="*/ 29 h 29"/>
                  <a:gd name="T10" fmla="*/ 0 w 20"/>
                  <a:gd name="T11" fmla="*/ 20 h 29"/>
                  <a:gd name="T12" fmla="*/ 0 w 20"/>
                  <a:gd name="T13" fmla="*/ 10 h 29"/>
                  <a:gd name="T14" fmla="*/ 0 w 20"/>
                  <a:gd name="T15" fmla="*/ 0 h 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9"/>
                  <a:gd name="T26" fmla="*/ 20 w 20"/>
                  <a:gd name="T27" fmla="*/ 29 h 2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9">
                    <a:moveTo>
                      <a:pt x="0" y="0"/>
                    </a:moveTo>
                    <a:lnTo>
                      <a:pt x="10" y="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10" y="29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28" name="Freeform 91"/>
            <p:cNvSpPr>
              <a:spLocks/>
            </p:cNvSpPr>
            <p:nvPr/>
          </p:nvSpPr>
          <p:spPr bwMode="auto">
            <a:xfrm>
              <a:off x="1532" y="1436"/>
              <a:ext cx="518" cy="378"/>
            </a:xfrm>
            <a:custGeom>
              <a:avLst/>
              <a:gdLst/>
              <a:ahLst/>
              <a:cxnLst>
                <a:cxn ang="0">
                  <a:pos x="478" y="244"/>
                </a:cxn>
                <a:cxn ang="0">
                  <a:pos x="449" y="244"/>
                </a:cxn>
                <a:cxn ang="0">
                  <a:pos x="439" y="283"/>
                </a:cxn>
                <a:cxn ang="0">
                  <a:pos x="420" y="322"/>
                </a:cxn>
                <a:cxn ang="0">
                  <a:pos x="420" y="342"/>
                </a:cxn>
                <a:cxn ang="0">
                  <a:pos x="391" y="361"/>
                </a:cxn>
                <a:cxn ang="0">
                  <a:pos x="361" y="361"/>
                </a:cxn>
                <a:cxn ang="0">
                  <a:pos x="361" y="342"/>
                </a:cxn>
                <a:cxn ang="0">
                  <a:pos x="342" y="322"/>
                </a:cxn>
                <a:cxn ang="0">
                  <a:pos x="322" y="332"/>
                </a:cxn>
                <a:cxn ang="0">
                  <a:pos x="303" y="332"/>
                </a:cxn>
                <a:cxn ang="0">
                  <a:pos x="293" y="312"/>
                </a:cxn>
                <a:cxn ang="0">
                  <a:pos x="235" y="293"/>
                </a:cxn>
                <a:cxn ang="0">
                  <a:pos x="235" y="254"/>
                </a:cxn>
                <a:cxn ang="0">
                  <a:pos x="195" y="264"/>
                </a:cxn>
                <a:cxn ang="0">
                  <a:pos x="166" y="264"/>
                </a:cxn>
                <a:cxn ang="0">
                  <a:pos x="147" y="244"/>
                </a:cxn>
                <a:cxn ang="0">
                  <a:pos x="147" y="205"/>
                </a:cxn>
                <a:cxn ang="0">
                  <a:pos x="117" y="205"/>
                </a:cxn>
                <a:cxn ang="0">
                  <a:pos x="59" y="176"/>
                </a:cxn>
                <a:cxn ang="0">
                  <a:pos x="10" y="108"/>
                </a:cxn>
                <a:cxn ang="0">
                  <a:pos x="30" y="88"/>
                </a:cxn>
                <a:cxn ang="0">
                  <a:pos x="59" y="69"/>
                </a:cxn>
                <a:cxn ang="0">
                  <a:pos x="78" y="49"/>
                </a:cxn>
                <a:cxn ang="0">
                  <a:pos x="88" y="20"/>
                </a:cxn>
                <a:cxn ang="0">
                  <a:pos x="98" y="0"/>
                </a:cxn>
                <a:cxn ang="0">
                  <a:pos x="127" y="0"/>
                </a:cxn>
                <a:cxn ang="0">
                  <a:pos x="147" y="10"/>
                </a:cxn>
                <a:cxn ang="0">
                  <a:pos x="156" y="10"/>
                </a:cxn>
                <a:cxn ang="0">
                  <a:pos x="186" y="30"/>
                </a:cxn>
                <a:cxn ang="0">
                  <a:pos x="205" y="39"/>
                </a:cxn>
                <a:cxn ang="0">
                  <a:pos x="235" y="49"/>
                </a:cxn>
                <a:cxn ang="0">
                  <a:pos x="244" y="78"/>
                </a:cxn>
                <a:cxn ang="0">
                  <a:pos x="293" y="69"/>
                </a:cxn>
                <a:cxn ang="0">
                  <a:pos x="313" y="69"/>
                </a:cxn>
                <a:cxn ang="0">
                  <a:pos x="332" y="49"/>
                </a:cxn>
                <a:cxn ang="0">
                  <a:pos x="352" y="98"/>
                </a:cxn>
                <a:cxn ang="0">
                  <a:pos x="371" y="108"/>
                </a:cxn>
                <a:cxn ang="0">
                  <a:pos x="400" y="117"/>
                </a:cxn>
                <a:cxn ang="0">
                  <a:pos x="459" y="166"/>
                </a:cxn>
                <a:cxn ang="0">
                  <a:pos x="488" y="166"/>
                </a:cxn>
                <a:cxn ang="0">
                  <a:pos x="517" y="186"/>
                </a:cxn>
                <a:cxn ang="0">
                  <a:pos x="508" y="215"/>
                </a:cxn>
                <a:cxn ang="0">
                  <a:pos x="469" y="234"/>
                </a:cxn>
              </a:cxnLst>
              <a:rect l="0" t="0" r="r" b="b"/>
              <a:pathLst>
                <a:path w="517" h="381">
                  <a:moveTo>
                    <a:pt x="469" y="234"/>
                  </a:moveTo>
                  <a:lnTo>
                    <a:pt x="478" y="244"/>
                  </a:lnTo>
                  <a:lnTo>
                    <a:pt x="469" y="244"/>
                  </a:lnTo>
                  <a:lnTo>
                    <a:pt x="449" y="244"/>
                  </a:lnTo>
                  <a:lnTo>
                    <a:pt x="449" y="264"/>
                  </a:lnTo>
                  <a:lnTo>
                    <a:pt x="439" y="283"/>
                  </a:lnTo>
                  <a:lnTo>
                    <a:pt x="420" y="303"/>
                  </a:lnTo>
                  <a:lnTo>
                    <a:pt x="420" y="322"/>
                  </a:lnTo>
                  <a:lnTo>
                    <a:pt x="430" y="332"/>
                  </a:lnTo>
                  <a:lnTo>
                    <a:pt x="420" y="342"/>
                  </a:lnTo>
                  <a:lnTo>
                    <a:pt x="410" y="342"/>
                  </a:lnTo>
                  <a:lnTo>
                    <a:pt x="391" y="361"/>
                  </a:lnTo>
                  <a:lnTo>
                    <a:pt x="361" y="381"/>
                  </a:lnTo>
                  <a:lnTo>
                    <a:pt x="361" y="361"/>
                  </a:lnTo>
                  <a:lnTo>
                    <a:pt x="361" y="351"/>
                  </a:lnTo>
                  <a:lnTo>
                    <a:pt x="361" y="342"/>
                  </a:lnTo>
                  <a:lnTo>
                    <a:pt x="352" y="342"/>
                  </a:lnTo>
                  <a:lnTo>
                    <a:pt x="342" y="322"/>
                  </a:lnTo>
                  <a:lnTo>
                    <a:pt x="332" y="322"/>
                  </a:lnTo>
                  <a:lnTo>
                    <a:pt x="322" y="332"/>
                  </a:lnTo>
                  <a:lnTo>
                    <a:pt x="303" y="332"/>
                  </a:lnTo>
                  <a:lnTo>
                    <a:pt x="293" y="332"/>
                  </a:lnTo>
                  <a:lnTo>
                    <a:pt x="293" y="312"/>
                  </a:lnTo>
                  <a:lnTo>
                    <a:pt x="274" y="303"/>
                  </a:lnTo>
                  <a:lnTo>
                    <a:pt x="235" y="293"/>
                  </a:lnTo>
                  <a:lnTo>
                    <a:pt x="235" y="273"/>
                  </a:lnTo>
                  <a:lnTo>
                    <a:pt x="235" y="254"/>
                  </a:lnTo>
                  <a:lnTo>
                    <a:pt x="215" y="254"/>
                  </a:lnTo>
                  <a:lnTo>
                    <a:pt x="195" y="264"/>
                  </a:lnTo>
                  <a:lnTo>
                    <a:pt x="176" y="254"/>
                  </a:lnTo>
                  <a:lnTo>
                    <a:pt x="166" y="264"/>
                  </a:lnTo>
                  <a:lnTo>
                    <a:pt x="156" y="254"/>
                  </a:lnTo>
                  <a:lnTo>
                    <a:pt x="147" y="244"/>
                  </a:lnTo>
                  <a:lnTo>
                    <a:pt x="147" y="225"/>
                  </a:lnTo>
                  <a:lnTo>
                    <a:pt x="147" y="205"/>
                  </a:lnTo>
                  <a:lnTo>
                    <a:pt x="147" y="195"/>
                  </a:lnTo>
                  <a:lnTo>
                    <a:pt x="117" y="205"/>
                  </a:lnTo>
                  <a:lnTo>
                    <a:pt x="88" y="195"/>
                  </a:lnTo>
                  <a:lnTo>
                    <a:pt x="59" y="176"/>
                  </a:lnTo>
                  <a:lnTo>
                    <a:pt x="30" y="147"/>
                  </a:lnTo>
                  <a:lnTo>
                    <a:pt x="10" y="108"/>
                  </a:lnTo>
                  <a:lnTo>
                    <a:pt x="0" y="98"/>
                  </a:lnTo>
                  <a:lnTo>
                    <a:pt x="30" y="88"/>
                  </a:lnTo>
                  <a:lnTo>
                    <a:pt x="49" y="78"/>
                  </a:lnTo>
                  <a:lnTo>
                    <a:pt x="59" y="69"/>
                  </a:lnTo>
                  <a:lnTo>
                    <a:pt x="69" y="49"/>
                  </a:lnTo>
                  <a:lnTo>
                    <a:pt x="78" y="49"/>
                  </a:lnTo>
                  <a:lnTo>
                    <a:pt x="88" y="30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8" y="0"/>
                  </a:lnTo>
                  <a:lnTo>
                    <a:pt x="108" y="0"/>
                  </a:lnTo>
                  <a:lnTo>
                    <a:pt x="127" y="0"/>
                  </a:lnTo>
                  <a:lnTo>
                    <a:pt x="137" y="0"/>
                  </a:lnTo>
                  <a:lnTo>
                    <a:pt x="147" y="10"/>
                  </a:lnTo>
                  <a:lnTo>
                    <a:pt x="147" y="20"/>
                  </a:lnTo>
                  <a:lnTo>
                    <a:pt x="156" y="10"/>
                  </a:lnTo>
                  <a:lnTo>
                    <a:pt x="166" y="10"/>
                  </a:lnTo>
                  <a:lnTo>
                    <a:pt x="186" y="30"/>
                  </a:lnTo>
                  <a:lnTo>
                    <a:pt x="205" y="30"/>
                  </a:lnTo>
                  <a:lnTo>
                    <a:pt x="205" y="39"/>
                  </a:lnTo>
                  <a:lnTo>
                    <a:pt x="205" y="49"/>
                  </a:lnTo>
                  <a:lnTo>
                    <a:pt x="235" y="49"/>
                  </a:lnTo>
                  <a:lnTo>
                    <a:pt x="244" y="59"/>
                  </a:lnTo>
                  <a:lnTo>
                    <a:pt x="244" y="78"/>
                  </a:lnTo>
                  <a:lnTo>
                    <a:pt x="264" y="69"/>
                  </a:lnTo>
                  <a:lnTo>
                    <a:pt x="293" y="69"/>
                  </a:lnTo>
                  <a:lnTo>
                    <a:pt x="313" y="69"/>
                  </a:lnTo>
                  <a:lnTo>
                    <a:pt x="322" y="59"/>
                  </a:lnTo>
                  <a:lnTo>
                    <a:pt x="332" y="49"/>
                  </a:lnTo>
                  <a:lnTo>
                    <a:pt x="342" y="59"/>
                  </a:lnTo>
                  <a:lnTo>
                    <a:pt x="352" y="98"/>
                  </a:lnTo>
                  <a:lnTo>
                    <a:pt x="361" y="108"/>
                  </a:lnTo>
                  <a:lnTo>
                    <a:pt x="371" y="108"/>
                  </a:lnTo>
                  <a:lnTo>
                    <a:pt x="391" y="117"/>
                  </a:lnTo>
                  <a:lnTo>
                    <a:pt x="400" y="117"/>
                  </a:lnTo>
                  <a:lnTo>
                    <a:pt x="430" y="147"/>
                  </a:lnTo>
                  <a:lnTo>
                    <a:pt x="459" y="166"/>
                  </a:lnTo>
                  <a:lnTo>
                    <a:pt x="469" y="166"/>
                  </a:lnTo>
                  <a:lnTo>
                    <a:pt x="488" y="166"/>
                  </a:lnTo>
                  <a:lnTo>
                    <a:pt x="498" y="166"/>
                  </a:lnTo>
                  <a:lnTo>
                    <a:pt x="517" y="186"/>
                  </a:lnTo>
                  <a:lnTo>
                    <a:pt x="508" y="205"/>
                  </a:lnTo>
                  <a:lnTo>
                    <a:pt x="508" y="215"/>
                  </a:lnTo>
                  <a:lnTo>
                    <a:pt x="488" y="225"/>
                  </a:lnTo>
                  <a:lnTo>
                    <a:pt x="469" y="234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9" name="Freeform 90"/>
            <p:cNvSpPr>
              <a:spLocks/>
            </p:cNvSpPr>
            <p:nvPr/>
          </p:nvSpPr>
          <p:spPr bwMode="auto">
            <a:xfrm>
              <a:off x="5616" y="905"/>
              <a:ext cx="2196" cy="2374"/>
            </a:xfrm>
            <a:custGeom>
              <a:avLst/>
              <a:gdLst>
                <a:gd name="T0" fmla="*/ 878 w 2195"/>
                <a:gd name="T1" fmla="*/ 2186 h 2371"/>
                <a:gd name="T2" fmla="*/ 761 w 2195"/>
                <a:gd name="T3" fmla="*/ 2098 h 2371"/>
                <a:gd name="T4" fmla="*/ 615 w 2195"/>
                <a:gd name="T5" fmla="*/ 2059 h 2371"/>
                <a:gd name="T6" fmla="*/ 488 w 2195"/>
                <a:gd name="T7" fmla="*/ 2186 h 2371"/>
                <a:gd name="T8" fmla="*/ 303 w 2195"/>
                <a:gd name="T9" fmla="*/ 2205 h 2371"/>
                <a:gd name="T10" fmla="*/ 293 w 2195"/>
                <a:gd name="T11" fmla="*/ 1991 h 2371"/>
                <a:gd name="T12" fmla="*/ 254 w 2195"/>
                <a:gd name="T13" fmla="*/ 1844 h 2371"/>
                <a:gd name="T14" fmla="*/ 186 w 2195"/>
                <a:gd name="T15" fmla="*/ 1688 h 2371"/>
                <a:gd name="T16" fmla="*/ 30 w 2195"/>
                <a:gd name="T17" fmla="*/ 1649 h 2371"/>
                <a:gd name="T18" fmla="*/ 39 w 2195"/>
                <a:gd name="T19" fmla="*/ 1415 h 2371"/>
                <a:gd name="T20" fmla="*/ 30 w 2195"/>
                <a:gd name="T21" fmla="*/ 1152 h 2371"/>
                <a:gd name="T22" fmla="*/ 127 w 2195"/>
                <a:gd name="T23" fmla="*/ 1015 h 2371"/>
                <a:gd name="T24" fmla="*/ 196 w 2195"/>
                <a:gd name="T25" fmla="*/ 839 h 2371"/>
                <a:gd name="T26" fmla="*/ 117 w 2195"/>
                <a:gd name="T27" fmla="*/ 605 h 2371"/>
                <a:gd name="T28" fmla="*/ 205 w 2195"/>
                <a:gd name="T29" fmla="*/ 596 h 2371"/>
                <a:gd name="T30" fmla="*/ 303 w 2195"/>
                <a:gd name="T31" fmla="*/ 566 h 2371"/>
                <a:gd name="T32" fmla="*/ 517 w 2195"/>
                <a:gd name="T33" fmla="*/ 586 h 2371"/>
                <a:gd name="T34" fmla="*/ 547 w 2195"/>
                <a:gd name="T35" fmla="*/ 488 h 2371"/>
                <a:gd name="T36" fmla="*/ 654 w 2195"/>
                <a:gd name="T37" fmla="*/ 478 h 2371"/>
                <a:gd name="T38" fmla="*/ 752 w 2195"/>
                <a:gd name="T39" fmla="*/ 488 h 2371"/>
                <a:gd name="T40" fmla="*/ 781 w 2195"/>
                <a:gd name="T41" fmla="*/ 537 h 2371"/>
                <a:gd name="T42" fmla="*/ 752 w 2195"/>
                <a:gd name="T43" fmla="*/ 576 h 2371"/>
                <a:gd name="T44" fmla="*/ 810 w 2195"/>
                <a:gd name="T45" fmla="*/ 596 h 2371"/>
                <a:gd name="T46" fmla="*/ 869 w 2195"/>
                <a:gd name="T47" fmla="*/ 674 h 2371"/>
                <a:gd name="T48" fmla="*/ 947 w 2195"/>
                <a:gd name="T49" fmla="*/ 674 h 2371"/>
                <a:gd name="T50" fmla="*/ 995 w 2195"/>
                <a:gd name="T51" fmla="*/ 576 h 2371"/>
                <a:gd name="T52" fmla="*/ 1132 w 2195"/>
                <a:gd name="T53" fmla="*/ 517 h 2371"/>
                <a:gd name="T54" fmla="*/ 1132 w 2195"/>
                <a:gd name="T55" fmla="*/ 508 h 2371"/>
                <a:gd name="T56" fmla="*/ 1190 w 2195"/>
                <a:gd name="T57" fmla="*/ 439 h 2371"/>
                <a:gd name="T58" fmla="*/ 1122 w 2195"/>
                <a:gd name="T59" fmla="*/ 400 h 2371"/>
                <a:gd name="T60" fmla="*/ 1122 w 2195"/>
                <a:gd name="T61" fmla="*/ 303 h 2371"/>
                <a:gd name="T62" fmla="*/ 1288 w 2195"/>
                <a:gd name="T63" fmla="*/ 254 h 2371"/>
                <a:gd name="T64" fmla="*/ 1347 w 2195"/>
                <a:gd name="T65" fmla="*/ 264 h 2371"/>
                <a:gd name="T66" fmla="*/ 1317 w 2195"/>
                <a:gd name="T67" fmla="*/ 303 h 2371"/>
                <a:gd name="T68" fmla="*/ 1464 w 2195"/>
                <a:gd name="T69" fmla="*/ 176 h 2371"/>
                <a:gd name="T70" fmla="*/ 1512 w 2195"/>
                <a:gd name="T71" fmla="*/ 196 h 2371"/>
                <a:gd name="T72" fmla="*/ 1639 w 2195"/>
                <a:gd name="T73" fmla="*/ 176 h 2371"/>
                <a:gd name="T74" fmla="*/ 1854 w 2195"/>
                <a:gd name="T75" fmla="*/ 30 h 2371"/>
                <a:gd name="T76" fmla="*/ 1981 w 2195"/>
                <a:gd name="T77" fmla="*/ 59 h 2371"/>
                <a:gd name="T78" fmla="*/ 2068 w 2195"/>
                <a:gd name="T79" fmla="*/ 49 h 2371"/>
                <a:gd name="T80" fmla="*/ 2029 w 2195"/>
                <a:gd name="T81" fmla="*/ 235 h 2371"/>
                <a:gd name="T82" fmla="*/ 2185 w 2195"/>
                <a:gd name="T83" fmla="*/ 371 h 2371"/>
                <a:gd name="T84" fmla="*/ 2068 w 2195"/>
                <a:gd name="T85" fmla="*/ 517 h 2371"/>
                <a:gd name="T86" fmla="*/ 2098 w 2195"/>
                <a:gd name="T87" fmla="*/ 674 h 2371"/>
                <a:gd name="T88" fmla="*/ 2068 w 2195"/>
                <a:gd name="T89" fmla="*/ 820 h 2371"/>
                <a:gd name="T90" fmla="*/ 2010 w 2195"/>
                <a:gd name="T91" fmla="*/ 869 h 2371"/>
                <a:gd name="T92" fmla="*/ 1951 w 2195"/>
                <a:gd name="T93" fmla="*/ 976 h 2371"/>
                <a:gd name="T94" fmla="*/ 2020 w 2195"/>
                <a:gd name="T95" fmla="*/ 1191 h 2371"/>
                <a:gd name="T96" fmla="*/ 1951 w 2195"/>
                <a:gd name="T97" fmla="*/ 1269 h 2371"/>
                <a:gd name="T98" fmla="*/ 1825 w 2195"/>
                <a:gd name="T99" fmla="*/ 1347 h 2371"/>
                <a:gd name="T100" fmla="*/ 1873 w 2195"/>
                <a:gd name="T101" fmla="*/ 1591 h 2371"/>
                <a:gd name="T102" fmla="*/ 1766 w 2195"/>
                <a:gd name="T103" fmla="*/ 1747 h 2371"/>
                <a:gd name="T104" fmla="*/ 1649 w 2195"/>
                <a:gd name="T105" fmla="*/ 1854 h 2371"/>
                <a:gd name="T106" fmla="*/ 1649 w 2195"/>
                <a:gd name="T107" fmla="*/ 1981 h 2371"/>
                <a:gd name="T108" fmla="*/ 1698 w 2195"/>
                <a:gd name="T109" fmla="*/ 2157 h 2371"/>
                <a:gd name="T110" fmla="*/ 1532 w 2195"/>
                <a:gd name="T111" fmla="*/ 2322 h 2371"/>
                <a:gd name="T112" fmla="*/ 1405 w 2195"/>
                <a:gd name="T113" fmla="*/ 2342 h 2371"/>
                <a:gd name="T114" fmla="*/ 1181 w 2195"/>
                <a:gd name="T115" fmla="*/ 2332 h 2371"/>
                <a:gd name="T116" fmla="*/ 995 w 2195"/>
                <a:gd name="T117" fmla="*/ 2352 h 23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95"/>
                <a:gd name="T178" fmla="*/ 0 h 2371"/>
                <a:gd name="T179" fmla="*/ 2195 w 2195"/>
                <a:gd name="T180" fmla="*/ 2371 h 23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95" h="2371">
                  <a:moveTo>
                    <a:pt x="937" y="2283"/>
                  </a:moveTo>
                  <a:lnTo>
                    <a:pt x="917" y="2303"/>
                  </a:lnTo>
                  <a:lnTo>
                    <a:pt x="908" y="2293"/>
                  </a:lnTo>
                  <a:lnTo>
                    <a:pt x="917" y="2283"/>
                  </a:lnTo>
                  <a:lnTo>
                    <a:pt x="917" y="2274"/>
                  </a:lnTo>
                  <a:lnTo>
                    <a:pt x="908" y="2274"/>
                  </a:lnTo>
                  <a:lnTo>
                    <a:pt x="908" y="2264"/>
                  </a:lnTo>
                  <a:lnTo>
                    <a:pt x="908" y="2244"/>
                  </a:lnTo>
                  <a:lnTo>
                    <a:pt x="898" y="2225"/>
                  </a:lnTo>
                  <a:lnTo>
                    <a:pt x="888" y="2205"/>
                  </a:lnTo>
                  <a:lnTo>
                    <a:pt x="888" y="2196"/>
                  </a:lnTo>
                  <a:lnTo>
                    <a:pt x="878" y="2186"/>
                  </a:lnTo>
                  <a:lnTo>
                    <a:pt x="859" y="2186"/>
                  </a:lnTo>
                  <a:lnTo>
                    <a:pt x="859" y="2166"/>
                  </a:lnTo>
                  <a:lnTo>
                    <a:pt x="859" y="2147"/>
                  </a:lnTo>
                  <a:lnTo>
                    <a:pt x="859" y="2127"/>
                  </a:lnTo>
                  <a:lnTo>
                    <a:pt x="839" y="2127"/>
                  </a:lnTo>
                  <a:lnTo>
                    <a:pt x="839" y="2108"/>
                  </a:lnTo>
                  <a:lnTo>
                    <a:pt x="830" y="2098"/>
                  </a:lnTo>
                  <a:lnTo>
                    <a:pt x="820" y="2108"/>
                  </a:lnTo>
                  <a:lnTo>
                    <a:pt x="791" y="2088"/>
                  </a:lnTo>
                  <a:lnTo>
                    <a:pt x="791" y="2098"/>
                  </a:lnTo>
                  <a:lnTo>
                    <a:pt x="781" y="2108"/>
                  </a:lnTo>
                  <a:lnTo>
                    <a:pt x="761" y="2098"/>
                  </a:lnTo>
                  <a:lnTo>
                    <a:pt x="761" y="2108"/>
                  </a:lnTo>
                  <a:lnTo>
                    <a:pt x="742" y="2118"/>
                  </a:lnTo>
                  <a:lnTo>
                    <a:pt x="732" y="2098"/>
                  </a:lnTo>
                  <a:lnTo>
                    <a:pt x="732" y="2079"/>
                  </a:lnTo>
                  <a:lnTo>
                    <a:pt x="732" y="2059"/>
                  </a:lnTo>
                  <a:lnTo>
                    <a:pt x="732" y="2049"/>
                  </a:lnTo>
                  <a:lnTo>
                    <a:pt x="703" y="2030"/>
                  </a:lnTo>
                  <a:lnTo>
                    <a:pt x="683" y="2030"/>
                  </a:lnTo>
                  <a:lnTo>
                    <a:pt x="644" y="2020"/>
                  </a:lnTo>
                  <a:lnTo>
                    <a:pt x="615" y="2040"/>
                  </a:lnTo>
                  <a:lnTo>
                    <a:pt x="615" y="2059"/>
                  </a:lnTo>
                  <a:lnTo>
                    <a:pt x="595" y="2079"/>
                  </a:lnTo>
                  <a:lnTo>
                    <a:pt x="586" y="2127"/>
                  </a:lnTo>
                  <a:lnTo>
                    <a:pt x="556" y="2157"/>
                  </a:lnTo>
                  <a:lnTo>
                    <a:pt x="547" y="2166"/>
                  </a:lnTo>
                  <a:lnTo>
                    <a:pt x="547" y="2205"/>
                  </a:lnTo>
                  <a:lnTo>
                    <a:pt x="527" y="2215"/>
                  </a:lnTo>
                  <a:lnTo>
                    <a:pt x="517" y="2225"/>
                  </a:lnTo>
                  <a:lnTo>
                    <a:pt x="508" y="2244"/>
                  </a:lnTo>
                  <a:lnTo>
                    <a:pt x="498" y="2225"/>
                  </a:lnTo>
                  <a:lnTo>
                    <a:pt x="498" y="2215"/>
                  </a:lnTo>
                  <a:lnTo>
                    <a:pt x="498" y="2186"/>
                  </a:lnTo>
                  <a:lnTo>
                    <a:pt x="488" y="2186"/>
                  </a:lnTo>
                  <a:lnTo>
                    <a:pt x="478" y="2166"/>
                  </a:lnTo>
                  <a:lnTo>
                    <a:pt x="459" y="2196"/>
                  </a:lnTo>
                  <a:lnTo>
                    <a:pt x="439" y="2215"/>
                  </a:lnTo>
                  <a:lnTo>
                    <a:pt x="420" y="2225"/>
                  </a:lnTo>
                  <a:lnTo>
                    <a:pt x="400" y="2225"/>
                  </a:lnTo>
                  <a:lnTo>
                    <a:pt x="381" y="2225"/>
                  </a:lnTo>
                  <a:lnTo>
                    <a:pt x="371" y="2244"/>
                  </a:lnTo>
                  <a:lnTo>
                    <a:pt x="361" y="2254"/>
                  </a:lnTo>
                  <a:lnTo>
                    <a:pt x="332" y="2254"/>
                  </a:lnTo>
                  <a:lnTo>
                    <a:pt x="313" y="2235"/>
                  </a:lnTo>
                  <a:lnTo>
                    <a:pt x="303" y="2225"/>
                  </a:lnTo>
                  <a:lnTo>
                    <a:pt x="303" y="2205"/>
                  </a:lnTo>
                  <a:lnTo>
                    <a:pt x="313" y="2176"/>
                  </a:lnTo>
                  <a:lnTo>
                    <a:pt x="313" y="2127"/>
                  </a:lnTo>
                  <a:lnTo>
                    <a:pt x="322" y="2069"/>
                  </a:lnTo>
                  <a:lnTo>
                    <a:pt x="332" y="2069"/>
                  </a:lnTo>
                  <a:lnTo>
                    <a:pt x="332" y="2059"/>
                  </a:lnTo>
                  <a:lnTo>
                    <a:pt x="332" y="2049"/>
                  </a:lnTo>
                  <a:lnTo>
                    <a:pt x="332" y="2040"/>
                  </a:lnTo>
                  <a:lnTo>
                    <a:pt x="342" y="2030"/>
                  </a:lnTo>
                  <a:lnTo>
                    <a:pt x="342" y="2020"/>
                  </a:lnTo>
                  <a:lnTo>
                    <a:pt x="332" y="2010"/>
                  </a:lnTo>
                  <a:lnTo>
                    <a:pt x="303" y="2001"/>
                  </a:lnTo>
                  <a:lnTo>
                    <a:pt x="293" y="1991"/>
                  </a:lnTo>
                  <a:lnTo>
                    <a:pt x="293" y="1971"/>
                  </a:lnTo>
                  <a:lnTo>
                    <a:pt x="293" y="1961"/>
                  </a:lnTo>
                  <a:lnTo>
                    <a:pt x="283" y="1961"/>
                  </a:lnTo>
                  <a:lnTo>
                    <a:pt x="283" y="1952"/>
                  </a:lnTo>
                  <a:lnTo>
                    <a:pt x="283" y="1932"/>
                  </a:lnTo>
                  <a:lnTo>
                    <a:pt x="283" y="1922"/>
                  </a:lnTo>
                  <a:lnTo>
                    <a:pt x="283" y="1874"/>
                  </a:lnTo>
                  <a:lnTo>
                    <a:pt x="274" y="1874"/>
                  </a:lnTo>
                  <a:lnTo>
                    <a:pt x="254" y="1874"/>
                  </a:lnTo>
                  <a:lnTo>
                    <a:pt x="244" y="1854"/>
                  </a:lnTo>
                  <a:lnTo>
                    <a:pt x="254" y="1844"/>
                  </a:lnTo>
                  <a:lnTo>
                    <a:pt x="264" y="1825"/>
                  </a:lnTo>
                  <a:lnTo>
                    <a:pt x="244" y="1786"/>
                  </a:lnTo>
                  <a:lnTo>
                    <a:pt x="225" y="1766"/>
                  </a:lnTo>
                  <a:lnTo>
                    <a:pt x="215" y="1757"/>
                  </a:lnTo>
                  <a:lnTo>
                    <a:pt x="186" y="1757"/>
                  </a:lnTo>
                  <a:lnTo>
                    <a:pt x="166" y="1747"/>
                  </a:lnTo>
                  <a:lnTo>
                    <a:pt x="166" y="1737"/>
                  </a:lnTo>
                  <a:lnTo>
                    <a:pt x="176" y="1727"/>
                  </a:lnTo>
                  <a:lnTo>
                    <a:pt x="186" y="1718"/>
                  </a:lnTo>
                  <a:lnTo>
                    <a:pt x="196" y="1718"/>
                  </a:lnTo>
                  <a:lnTo>
                    <a:pt x="196" y="1708"/>
                  </a:lnTo>
                  <a:lnTo>
                    <a:pt x="186" y="1688"/>
                  </a:lnTo>
                  <a:lnTo>
                    <a:pt x="176" y="1669"/>
                  </a:lnTo>
                  <a:lnTo>
                    <a:pt x="166" y="1669"/>
                  </a:lnTo>
                  <a:lnTo>
                    <a:pt x="166" y="1679"/>
                  </a:lnTo>
                  <a:lnTo>
                    <a:pt x="127" y="1669"/>
                  </a:lnTo>
                  <a:lnTo>
                    <a:pt x="117" y="1679"/>
                  </a:lnTo>
                  <a:lnTo>
                    <a:pt x="88" y="1669"/>
                  </a:lnTo>
                  <a:lnTo>
                    <a:pt x="78" y="1659"/>
                  </a:lnTo>
                  <a:lnTo>
                    <a:pt x="69" y="1659"/>
                  </a:lnTo>
                  <a:lnTo>
                    <a:pt x="69" y="1669"/>
                  </a:lnTo>
                  <a:lnTo>
                    <a:pt x="49" y="1659"/>
                  </a:lnTo>
                  <a:lnTo>
                    <a:pt x="30" y="1659"/>
                  </a:lnTo>
                  <a:lnTo>
                    <a:pt x="30" y="1649"/>
                  </a:lnTo>
                  <a:lnTo>
                    <a:pt x="39" y="1620"/>
                  </a:lnTo>
                  <a:lnTo>
                    <a:pt x="39" y="1591"/>
                  </a:lnTo>
                  <a:lnTo>
                    <a:pt x="59" y="1571"/>
                  </a:lnTo>
                  <a:lnTo>
                    <a:pt x="78" y="1552"/>
                  </a:lnTo>
                  <a:lnTo>
                    <a:pt x="78" y="1542"/>
                  </a:lnTo>
                  <a:lnTo>
                    <a:pt x="69" y="1532"/>
                  </a:lnTo>
                  <a:lnTo>
                    <a:pt x="59" y="1513"/>
                  </a:lnTo>
                  <a:lnTo>
                    <a:pt x="59" y="1483"/>
                  </a:lnTo>
                  <a:lnTo>
                    <a:pt x="49" y="1464"/>
                  </a:lnTo>
                  <a:lnTo>
                    <a:pt x="30" y="1454"/>
                  </a:lnTo>
                  <a:lnTo>
                    <a:pt x="30" y="1435"/>
                  </a:lnTo>
                  <a:lnTo>
                    <a:pt x="39" y="1415"/>
                  </a:lnTo>
                  <a:lnTo>
                    <a:pt x="30" y="1396"/>
                  </a:lnTo>
                  <a:lnTo>
                    <a:pt x="20" y="1386"/>
                  </a:lnTo>
                  <a:lnTo>
                    <a:pt x="0" y="1386"/>
                  </a:lnTo>
                  <a:lnTo>
                    <a:pt x="10" y="1366"/>
                  </a:lnTo>
                  <a:lnTo>
                    <a:pt x="20" y="1357"/>
                  </a:lnTo>
                  <a:lnTo>
                    <a:pt x="30" y="1347"/>
                  </a:lnTo>
                  <a:lnTo>
                    <a:pt x="39" y="1347"/>
                  </a:lnTo>
                  <a:lnTo>
                    <a:pt x="49" y="1327"/>
                  </a:lnTo>
                  <a:lnTo>
                    <a:pt x="39" y="1269"/>
                  </a:lnTo>
                  <a:lnTo>
                    <a:pt x="39" y="1220"/>
                  </a:lnTo>
                  <a:lnTo>
                    <a:pt x="30" y="1152"/>
                  </a:lnTo>
                  <a:lnTo>
                    <a:pt x="20" y="1122"/>
                  </a:lnTo>
                  <a:lnTo>
                    <a:pt x="0" y="1103"/>
                  </a:lnTo>
                  <a:lnTo>
                    <a:pt x="10" y="1083"/>
                  </a:lnTo>
                  <a:lnTo>
                    <a:pt x="30" y="1083"/>
                  </a:lnTo>
                  <a:lnTo>
                    <a:pt x="49" y="1074"/>
                  </a:lnTo>
                  <a:lnTo>
                    <a:pt x="69" y="1054"/>
                  </a:lnTo>
                  <a:lnTo>
                    <a:pt x="78" y="1044"/>
                  </a:lnTo>
                  <a:lnTo>
                    <a:pt x="88" y="1044"/>
                  </a:lnTo>
                  <a:lnTo>
                    <a:pt x="98" y="1044"/>
                  </a:lnTo>
                  <a:lnTo>
                    <a:pt x="117" y="1044"/>
                  </a:lnTo>
                  <a:lnTo>
                    <a:pt x="127" y="1025"/>
                  </a:lnTo>
                  <a:lnTo>
                    <a:pt x="127" y="1015"/>
                  </a:lnTo>
                  <a:lnTo>
                    <a:pt x="127" y="996"/>
                  </a:lnTo>
                  <a:lnTo>
                    <a:pt x="137" y="986"/>
                  </a:lnTo>
                  <a:lnTo>
                    <a:pt x="137" y="966"/>
                  </a:lnTo>
                  <a:lnTo>
                    <a:pt x="157" y="966"/>
                  </a:lnTo>
                  <a:lnTo>
                    <a:pt x="157" y="937"/>
                  </a:lnTo>
                  <a:lnTo>
                    <a:pt x="186" y="908"/>
                  </a:lnTo>
                  <a:lnTo>
                    <a:pt x="205" y="888"/>
                  </a:lnTo>
                  <a:lnTo>
                    <a:pt x="225" y="878"/>
                  </a:lnTo>
                  <a:lnTo>
                    <a:pt x="225" y="869"/>
                  </a:lnTo>
                  <a:lnTo>
                    <a:pt x="225" y="849"/>
                  </a:lnTo>
                  <a:lnTo>
                    <a:pt x="196" y="839"/>
                  </a:lnTo>
                  <a:lnTo>
                    <a:pt x="196" y="820"/>
                  </a:lnTo>
                  <a:lnTo>
                    <a:pt x="196" y="791"/>
                  </a:lnTo>
                  <a:lnTo>
                    <a:pt x="166" y="761"/>
                  </a:lnTo>
                  <a:lnTo>
                    <a:pt x="147" y="742"/>
                  </a:lnTo>
                  <a:lnTo>
                    <a:pt x="137" y="742"/>
                  </a:lnTo>
                  <a:lnTo>
                    <a:pt x="137" y="722"/>
                  </a:lnTo>
                  <a:lnTo>
                    <a:pt x="108" y="703"/>
                  </a:lnTo>
                  <a:lnTo>
                    <a:pt x="117" y="674"/>
                  </a:lnTo>
                  <a:lnTo>
                    <a:pt x="108" y="654"/>
                  </a:lnTo>
                  <a:lnTo>
                    <a:pt x="88" y="635"/>
                  </a:lnTo>
                  <a:lnTo>
                    <a:pt x="98" y="625"/>
                  </a:lnTo>
                  <a:lnTo>
                    <a:pt x="117" y="605"/>
                  </a:lnTo>
                  <a:lnTo>
                    <a:pt x="117" y="596"/>
                  </a:lnTo>
                  <a:lnTo>
                    <a:pt x="117" y="586"/>
                  </a:lnTo>
                  <a:lnTo>
                    <a:pt x="127" y="576"/>
                  </a:lnTo>
                  <a:lnTo>
                    <a:pt x="137" y="586"/>
                  </a:lnTo>
                  <a:lnTo>
                    <a:pt x="166" y="586"/>
                  </a:lnTo>
                  <a:lnTo>
                    <a:pt x="186" y="576"/>
                  </a:lnTo>
                  <a:lnTo>
                    <a:pt x="176" y="566"/>
                  </a:lnTo>
                  <a:lnTo>
                    <a:pt x="176" y="557"/>
                  </a:lnTo>
                  <a:lnTo>
                    <a:pt x="186" y="557"/>
                  </a:lnTo>
                  <a:lnTo>
                    <a:pt x="196" y="566"/>
                  </a:lnTo>
                  <a:lnTo>
                    <a:pt x="205" y="596"/>
                  </a:lnTo>
                  <a:lnTo>
                    <a:pt x="205" y="615"/>
                  </a:lnTo>
                  <a:lnTo>
                    <a:pt x="215" y="625"/>
                  </a:lnTo>
                  <a:lnTo>
                    <a:pt x="215" y="635"/>
                  </a:lnTo>
                  <a:lnTo>
                    <a:pt x="225" y="625"/>
                  </a:lnTo>
                  <a:lnTo>
                    <a:pt x="235" y="615"/>
                  </a:lnTo>
                  <a:lnTo>
                    <a:pt x="225" y="615"/>
                  </a:lnTo>
                  <a:lnTo>
                    <a:pt x="215" y="605"/>
                  </a:lnTo>
                  <a:lnTo>
                    <a:pt x="215" y="596"/>
                  </a:lnTo>
                  <a:lnTo>
                    <a:pt x="235" y="596"/>
                  </a:lnTo>
                  <a:lnTo>
                    <a:pt x="254" y="586"/>
                  </a:lnTo>
                  <a:lnTo>
                    <a:pt x="274" y="566"/>
                  </a:lnTo>
                  <a:lnTo>
                    <a:pt x="303" y="566"/>
                  </a:lnTo>
                  <a:lnTo>
                    <a:pt x="361" y="557"/>
                  </a:lnTo>
                  <a:lnTo>
                    <a:pt x="381" y="557"/>
                  </a:lnTo>
                  <a:lnTo>
                    <a:pt x="400" y="566"/>
                  </a:lnTo>
                  <a:lnTo>
                    <a:pt x="391" y="566"/>
                  </a:lnTo>
                  <a:lnTo>
                    <a:pt x="381" y="566"/>
                  </a:lnTo>
                  <a:lnTo>
                    <a:pt x="381" y="576"/>
                  </a:lnTo>
                  <a:lnTo>
                    <a:pt x="381" y="596"/>
                  </a:lnTo>
                  <a:lnTo>
                    <a:pt x="430" y="605"/>
                  </a:lnTo>
                  <a:lnTo>
                    <a:pt x="449" y="605"/>
                  </a:lnTo>
                  <a:lnTo>
                    <a:pt x="459" y="596"/>
                  </a:lnTo>
                  <a:lnTo>
                    <a:pt x="498" y="596"/>
                  </a:lnTo>
                  <a:lnTo>
                    <a:pt x="517" y="586"/>
                  </a:lnTo>
                  <a:lnTo>
                    <a:pt x="537" y="586"/>
                  </a:lnTo>
                  <a:lnTo>
                    <a:pt x="537" y="576"/>
                  </a:lnTo>
                  <a:lnTo>
                    <a:pt x="547" y="576"/>
                  </a:lnTo>
                  <a:lnTo>
                    <a:pt x="566" y="576"/>
                  </a:lnTo>
                  <a:lnTo>
                    <a:pt x="566" y="566"/>
                  </a:lnTo>
                  <a:lnTo>
                    <a:pt x="566" y="547"/>
                  </a:lnTo>
                  <a:lnTo>
                    <a:pt x="576" y="537"/>
                  </a:lnTo>
                  <a:lnTo>
                    <a:pt x="556" y="537"/>
                  </a:lnTo>
                  <a:lnTo>
                    <a:pt x="547" y="527"/>
                  </a:lnTo>
                  <a:lnTo>
                    <a:pt x="547" y="517"/>
                  </a:lnTo>
                  <a:lnTo>
                    <a:pt x="537" y="508"/>
                  </a:lnTo>
                  <a:lnTo>
                    <a:pt x="547" y="488"/>
                  </a:lnTo>
                  <a:lnTo>
                    <a:pt x="547" y="498"/>
                  </a:lnTo>
                  <a:lnTo>
                    <a:pt x="566" y="498"/>
                  </a:lnTo>
                  <a:lnTo>
                    <a:pt x="556" y="478"/>
                  </a:lnTo>
                  <a:lnTo>
                    <a:pt x="566" y="469"/>
                  </a:lnTo>
                  <a:lnTo>
                    <a:pt x="586" y="478"/>
                  </a:lnTo>
                  <a:lnTo>
                    <a:pt x="595" y="478"/>
                  </a:lnTo>
                  <a:lnTo>
                    <a:pt x="605" y="488"/>
                  </a:lnTo>
                  <a:lnTo>
                    <a:pt x="625" y="488"/>
                  </a:lnTo>
                  <a:lnTo>
                    <a:pt x="634" y="478"/>
                  </a:lnTo>
                  <a:lnTo>
                    <a:pt x="644" y="488"/>
                  </a:lnTo>
                  <a:lnTo>
                    <a:pt x="654" y="478"/>
                  </a:lnTo>
                  <a:lnTo>
                    <a:pt x="664" y="469"/>
                  </a:lnTo>
                  <a:lnTo>
                    <a:pt x="673" y="459"/>
                  </a:lnTo>
                  <a:lnTo>
                    <a:pt x="683" y="459"/>
                  </a:lnTo>
                  <a:lnTo>
                    <a:pt x="693" y="459"/>
                  </a:lnTo>
                  <a:lnTo>
                    <a:pt x="703" y="459"/>
                  </a:lnTo>
                  <a:lnTo>
                    <a:pt x="713" y="459"/>
                  </a:lnTo>
                  <a:lnTo>
                    <a:pt x="722" y="478"/>
                  </a:lnTo>
                  <a:lnTo>
                    <a:pt x="732" y="469"/>
                  </a:lnTo>
                  <a:lnTo>
                    <a:pt x="732" y="478"/>
                  </a:lnTo>
                  <a:lnTo>
                    <a:pt x="742" y="478"/>
                  </a:lnTo>
                  <a:lnTo>
                    <a:pt x="752" y="488"/>
                  </a:lnTo>
                  <a:lnTo>
                    <a:pt x="752" y="498"/>
                  </a:lnTo>
                  <a:lnTo>
                    <a:pt x="761" y="498"/>
                  </a:lnTo>
                  <a:lnTo>
                    <a:pt x="761" y="508"/>
                  </a:lnTo>
                  <a:lnTo>
                    <a:pt x="761" y="517"/>
                  </a:lnTo>
                  <a:lnTo>
                    <a:pt x="771" y="517"/>
                  </a:lnTo>
                  <a:lnTo>
                    <a:pt x="771" y="527"/>
                  </a:lnTo>
                  <a:lnTo>
                    <a:pt x="761" y="527"/>
                  </a:lnTo>
                  <a:lnTo>
                    <a:pt x="761" y="537"/>
                  </a:lnTo>
                  <a:lnTo>
                    <a:pt x="761" y="547"/>
                  </a:lnTo>
                  <a:lnTo>
                    <a:pt x="771" y="547"/>
                  </a:lnTo>
                  <a:lnTo>
                    <a:pt x="781" y="537"/>
                  </a:lnTo>
                  <a:lnTo>
                    <a:pt x="791" y="547"/>
                  </a:lnTo>
                  <a:lnTo>
                    <a:pt x="800" y="557"/>
                  </a:lnTo>
                  <a:lnTo>
                    <a:pt x="791" y="557"/>
                  </a:lnTo>
                  <a:lnTo>
                    <a:pt x="800" y="557"/>
                  </a:lnTo>
                  <a:lnTo>
                    <a:pt x="800" y="566"/>
                  </a:lnTo>
                  <a:lnTo>
                    <a:pt x="810" y="576"/>
                  </a:lnTo>
                  <a:lnTo>
                    <a:pt x="800" y="576"/>
                  </a:lnTo>
                  <a:lnTo>
                    <a:pt x="791" y="586"/>
                  </a:lnTo>
                  <a:lnTo>
                    <a:pt x="781" y="586"/>
                  </a:lnTo>
                  <a:lnTo>
                    <a:pt x="771" y="576"/>
                  </a:lnTo>
                  <a:lnTo>
                    <a:pt x="761" y="576"/>
                  </a:lnTo>
                  <a:lnTo>
                    <a:pt x="752" y="576"/>
                  </a:lnTo>
                  <a:lnTo>
                    <a:pt x="742" y="576"/>
                  </a:lnTo>
                  <a:lnTo>
                    <a:pt x="752" y="586"/>
                  </a:lnTo>
                  <a:lnTo>
                    <a:pt x="771" y="586"/>
                  </a:lnTo>
                  <a:lnTo>
                    <a:pt x="781" y="605"/>
                  </a:lnTo>
                  <a:lnTo>
                    <a:pt x="781" y="615"/>
                  </a:lnTo>
                  <a:lnTo>
                    <a:pt x="791" y="615"/>
                  </a:lnTo>
                  <a:lnTo>
                    <a:pt x="810" y="615"/>
                  </a:lnTo>
                  <a:lnTo>
                    <a:pt x="800" y="596"/>
                  </a:lnTo>
                  <a:lnTo>
                    <a:pt x="810" y="596"/>
                  </a:lnTo>
                  <a:lnTo>
                    <a:pt x="820" y="605"/>
                  </a:lnTo>
                  <a:lnTo>
                    <a:pt x="830" y="605"/>
                  </a:lnTo>
                  <a:lnTo>
                    <a:pt x="830" y="615"/>
                  </a:lnTo>
                  <a:lnTo>
                    <a:pt x="820" y="615"/>
                  </a:lnTo>
                  <a:lnTo>
                    <a:pt x="820" y="625"/>
                  </a:lnTo>
                  <a:lnTo>
                    <a:pt x="820" y="635"/>
                  </a:lnTo>
                  <a:lnTo>
                    <a:pt x="830" y="635"/>
                  </a:lnTo>
                  <a:lnTo>
                    <a:pt x="849" y="654"/>
                  </a:lnTo>
                  <a:lnTo>
                    <a:pt x="859" y="664"/>
                  </a:lnTo>
                  <a:lnTo>
                    <a:pt x="869" y="674"/>
                  </a:lnTo>
                  <a:lnTo>
                    <a:pt x="878" y="674"/>
                  </a:lnTo>
                  <a:lnTo>
                    <a:pt x="888" y="674"/>
                  </a:lnTo>
                  <a:lnTo>
                    <a:pt x="888" y="683"/>
                  </a:lnTo>
                  <a:lnTo>
                    <a:pt x="898" y="683"/>
                  </a:lnTo>
                  <a:lnTo>
                    <a:pt x="908" y="683"/>
                  </a:lnTo>
                  <a:lnTo>
                    <a:pt x="917" y="693"/>
                  </a:lnTo>
                  <a:lnTo>
                    <a:pt x="917" y="674"/>
                  </a:lnTo>
                  <a:lnTo>
                    <a:pt x="927" y="683"/>
                  </a:lnTo>
                  <a:lnTo>
                    <a:pt x="927" y="693"/>
                  </a:lnTo>
                  <a:lnTo>
                    <a:pt x="947" y="693"/>
                  </a:lnTo>
                  <a:lnTo>
                    <a:pt x="947" y="674"/>
                  </a:lnTo>
                  <a:lnTo>
                    <a:pt x="947" y="644"/>
                  </a:lnTo>
                  <a:lnTo>
                    <a:pt x="937" y="625"/>
                  </a:lnTo>
                  <a:lnTo>
                    <a:pt x="937" y="615"/>
                  </a:lnTo>
                  <a:lnTo>
                    <a:pt x="937" y="605"/>
                  </a:lnTo>
                  <a:lnTo>
                    <a:pt x="937" y="576"/>
                  </a:lnTo>
                  <a:lnTo>
                    <a:pt x="927" y="566"/>
                  </a:lnTo>
                  <a:lnTo>
                    <a:pt x="927" y="547"/>
                  </a:lnTo>
                  <a:lnTo>
                    <a:pt x="937" y="547"/>
                  </a:lnTo>
                  <a:lnTo>
                    <a:pt x="947" y="557"/>
                  </a:lnTo>
                  <a:lnTo>
                    <a:pt x="956" y="566"/>
                  </a:lnTo>
                  <a:lnTo>
                    <a:pt x="966" y="566"/>
                  </a:lnTo>
                  <a:lnTo>
                    <a:pt x="995" y="576"/>
                  </a:lnTo>
                  <a:lnTo>
                    <a:pt x="1015" y="566"/>
                  </a:lnTo>
                  <a:lnTo>
                    <a:pt x="1025" y="557"/>
                  </a:lnTo>
                  <a:lnTo>
                    <a:pt x="1025" y="537"/>
                  </a:lnTo>
                  <a:lnTo>
                    <a:pt x="1034" y="537"/>
                  </a:lnTo>
                  <a:lnTo>
                    <a:pt x="1034" y="517"/>
                  </a:lnTo>
                  <a:lnTo>
                    <a:pt x="1054" y="508"/>
                  </a:lnTo>
                  <a:lnTo>
                    <a:pt x="1073" y="508"/>
                  </a:lnTo>
                  <a:lnTo>
                    <a:pt x="1083" y="517"/>
                  </a:lnTo>
                  <a:lnTo>
                    <a:pt x="1093" y="508"/>
                  </a:lnTo>
                  <a:lnTo>
                    <a:pt x="1103" y="517"/>
                  </a:lnTo>
                  <a:lnTo>
                    <a:pt x="1122" y="517"/>
                  </a:lnTo>
                  <a:lnTo>
                    <a:pt x="1132" y="517"/>
                  </a:lnTo>
                  <a:lnTo>
                    <a:pt x="1132" y="527"/>
                  </a:lnTo>
                  <a:lnTo>
                    <a:pt x="1142" y="527"/>
                  </a:lnTo>
                  <a:lnTo>
                    <a:pt x="1151" y="517"/>
                  </a:lnTo>
                  <a:lnTo>
                    <a:pt x="1142" y="517"/>
                  </a:lnTo>
                  <a:lnTo>
                    <a:pt x="1151" y="508"/>
                  </a:lnTo>
                  <a:lnTo>
                    <a:pt x="1171" y="508"/>
                  </a:lnTo>
                  <a:lnTo>
                    <a:pt x="1181" y="517"/>
                  </a:lnTo>
                  <a:lnTo>
                    <a:pt x="1181" y="508"/>
                  </a:lnTo>
                  <a:lnTo>
                    <a:pt x="1181" y="498"/>
                  </a:lnTo>
                  <a:lnTo>
                    <a:pt x="1161" y="498"/>
                  </a:lnTo>
                  <a:lnTo>
                    <a:pt x="1151" y="498"/>
                  </a:lnTo>
                  <a:lnTo>
                    <a:pt x="1132" y="508"/>
                  </a:lnTo>
                  <a:lnTo>
                    <a:pt x="1132" y="498"/>
                  </a:lnTo>
                  <a:lnTo>
                    <a:pt x="1132" y="478"/>
                  </a:lnTo>
                  <a:lnTo>
                    <a:pt x="1132" y="469"/>
                  </a:lnTo>
                  <a:lnTo>
                    <a:pt x="1142" y="469"/>
                  </a:lnTo>
                  <a:lnTo>
                    <a:pt x="1142" y="459"/>
                  </a:lnTo>
                  <a:lnTo>
                    <a:pt x="1151" y="459"/>
                  </a:lnTo>
                  <a:lnTo>
                    <a:pt x="1171" y="469"/>
                  </a:lnTo>
                  <a:lnTo>
                    <a:pt x="1181" y="459"/>
                  </a:lnTo>
                  <a:lnTo>
                    <a:pt x="1190" y="449"/>
                  </a:lnTo>
                  <a:lnTo>
                    <a:pt x="1190" y="439"/>
                  </a:lnTo>
                  <a:lnTo>
                    <a:pt x="1181" y="439"/>
                  </a:lnTo>
                  <a:lnTo>
                    <a:pt x="1161" y="430"/>
                  </a:lnTo>
                  <a:lnTo>
                    <a:pt x="1151" y="420"/>
                  </a:lnTo>
                  <a:lnTo>
                    <a:pt x="1142" y="420"/>
                  </a:lnTo>
                  <a:lnTo>
                    <a:pt x="1142" y="410"/>
                  </a:lnTo>
                  <a:lnTo>
                    <a:pt x="1142" y="400"/>
                  </a:lnTo>
                  <a:lnTo>
                    <a:pt x="1142" y="391"/>
                  </a:lnTo>
                  <a:lnTo>
                    <a:pt x="1151" y="381"/>
                  </a:lnTo>
                  <a:lnTo>
                    <a:pt x="1142" y="381"/>
                  </a:lnTo>
                  <a:lnTo>
                    <a:pt x="1132" y="381"/>
                  </a:lnTo>
                  <a:lnTo>
                    <a:pt x="1132" y="391"/>
                  </a:lnTo>
                  <a:lnTo>
                    <a:pt x="1122" y="400"/>
                  </a:lnTo>
                  <a:lnTo>
                    <a:pt x="1112" y="400"/>
                  </a:lnTo>
                  <a:lnTo>
                    <a:pt x="1112" y="391"/>
                  </a:lnTo>
                  <a:lnTo>
                    <a:pt x="1112" y="371"/>
                  </a:lnTo>
                  <a:lnTo>
                    <a:pt x="1112" y="361"/>
                  </a:lnTo>
                  <a:lnTo>
                    <a:pt x="1112" y="352"/>
                  </a:lnTo>
                  <a:lnTo>
                    <a:pt x="1132" y="352"/>
                  </a:lnTo>
                  <a:lnTo>
                    <a:pt x="1132" y="342"/>
                  </a:lnTo>
                  <a:lnTo>
                    <a:pt x="1151" y="332"/>
                  </a:lnTo>
                  <a:lnTo>
                    <a:pt x="1142" y="322"/>
                  </a:lnTo>
                  <a:lnTo>
                    <a:pt x="1142" y="313"/>
                  </a:lnTo>
                  <a:lnTo>
                    <a:pt x="1132" y="313"/>
                  </a:lnTo>
                  <a:lnTo>
                    <a:pt x="1122" y="303"/>
                  </a:lnTo>
                  <a:lnTo>
                    <a:pt x="1132" y="293"/>
                  </a:lnTo>
                  <a:lnTo>
                    <a:pt x="1142" y="293"/>
                  </a:lnTo>
                  <a:lnTo>
                    <a:pt x="1161" y="293"/>
                  </a:lnTo>
                  <a:lnTo>
                    <a:pt x="1190" y="274"/>
                  </a:lnTo>
                  <a:lnTo>
                    <a:pt x="1229" y="254"/>
                  </a:lnTo>
                  <a:lnTo>
                    <a:pt x="1259" y="244"/>
                  </a:lnTo>
                  <a:lnTo>
                    <a:pt x="1288" y="225"/>
                  </a:lnTo>
                  <a:lnTo>
                    <a:pt x="1317" y="215"/>
                  </a:lnTo>
                  <a:lnTo>
                    <a:pt x="1337" y="215"/>
                  </a:lnTo>
                  <a:lnTo>
                    <a:pt x="1317" y="235"/>
                  </a:lnTo>
                  <a:lnTo>
                    <a:pt x="1298" y="244"/>
                  </a:lnTo>
                  <a:lnTo>
                    <a:pt x="1288" y="254"/>
                  </a:lnTo>
                  <a:lnTo>
                    <a:pt x="1278" y="254"/>
                  </a:lnTo>
                  <a:lnTo>
                    <a:pt x="1269" y="264"/>
                  </a:lnTo>
                  <a:lnTo>
                    <a:pt x="1278" y="274"/>
                  </a:lnTo>
                  <a:lnTo>
                    <a:pt x="1269" y="283"/>
                  </a:lnTo>
                  <a:lnTo>
                    <a:pt x="1278" y="293"/>
                  </a:lnTo>
                  <a:lnTo>
                    <a:pt x="1288" y="283"/>
                  </a:lnTo>
                  <a:lnTo>
                    <a:pt x="1288" y="264"/>
                  </a:lnTo>
                  <a:lnTo>
                    <a:pt x="1308" y="244"/>
                  </a:lnTo>
                  <a:lnTo>
                    <a:pt x="1327" y="235"/>
                  </a:lnTo>
                  <a:lnTo>
                    <a:pt x="1347" y="235"/>
                  </a:lnTo>
                  <a:lnTo>
                    <a:pt x="1347" y="244"/>
                  </a:lnTo>
                  <a:lnTo>
                    <a:pt x="1347" y="264"/>
                  </a:lnTo>
                  <a:lnTo>
                    <a:pt x="1347" y="283"/>
                  </a:lnTo>
                  <a:lnTo>
                    <a:pt x="1337" y="264"/>
                  </a:lnTo>
                  <a:lnTo>
                    <a:pt x="1337" y="254"/>
                  </a:lnTo>
                  <a:lnTo>
                    <a:pt x="1327" y="264"/>
                  </a:lnTo>
                  <a:lnTo>
                    <a:pt x="1317" y="254"/>
                  </a:lnTo>
                  <a:lnTo>
                    <a:pt x="1308" y="254"/>
                  </a:lnTo>
                  <a:lnTo>
                    <a:pt x="1317" y="274"/>
                  </a:lnTo>
                  <a:lnTo>
                    <a:pt x="1337" y="274"/>
                  </a:lnTo>
                  <a:lnTo>
                    <a:pt x="1337" y="283"/>
                  </a:lnTo>
                  <a:lnTo>
                    <a:pt x="1337" y="293"/>
                  </a:lnTo>
                  <a:lnTo>
                    <a:pt x="1317" y="293"/>
                  </a:lnTo>
                  <a:lnTo>
                    <a:pt x="1317" y="303"/>
                  </a:lnTo>
                  <a:lnTo>
                    <a:pt x="1327" y="303"/>
                  </a:lnTo>
                  <a:lnTo>
                    <a:pt x="1337" y="322"/>
                  </a:lnTo>
                  <a:lnTo>
                    <a:pt x="1347" y="313"/>
                  </a:lnTo>
                  <a:lnTo>
                    <a:pt x="1356" y="303"/>
                  </a:lnTo>
                  <a:lnTo>
                    <a:pt x="1356" y="274"/>
                  </a:lnTo>
                  <a:lnTo>
                    <a:pt x="1356" y="244"/>
                  </a:lnTo>
                  <a:lnTo>
                    <a:pt x="1347" y="235"/>
                  </a:lnTo>
                  <a:lnTo>
                    <a:pt x="1347" y="205"/>
                  </a:lnTo>
                  <a:lnTo>
                    <a:pt x="1386" y="186"/>
                  </a:lnTo>
                  <a:lnTo>
                    <a:pt x="1405" y="176"/>
                  </a:lnTo>
                  <a:lnTo>
                    <a:pt x="1444" y="176"/>
                  </a:lnTo>
                  <a:lnTo>
                    <a:pt x="1464" y="176"/>
                  </a:lnTo>
                  <a:lnTo>
                    <a:pt x="1464" y="186"/>
                  </a:lnTo>
                  <a:lnTo>
                    <a:pt x="1464" y="205"/>
                  </a:lnTo>
                  <a:lnTo>
                    <a:pt x="1454" y="205"/>
                  </a:lnTo>
                  <a:lnTo>
                    <a:pt x="1444" y="196"/>
                  </a:lnTo>
                  <a:lnTo>
                    <a:pt x="1444" y="215"/>
                  </a:lnTo>
                  <a:lnTo>
                    <a:pt x="1444" y="225"/>
                  </a:lnTo>
                  <a:lnTo>
                    <a:pt x="1464" y="215"/>
                  </a:lnTo>
                  <a:lnTo>
                    <a:pt x="1483" y="196"/>
                  </a:lnTo>
                  <a:lnTo>
                    <a:pt x="1493" y="205"/>
                  </a:lnTo>
                  <a:lnTo>
                    <a:pt x="1493" y="215"/>
                  </a:lnTo>
                  <a:lnTo>
                    <a:pt x="1503" y="205"/>
                  </a:lnTo>
                  <a:lnTo>
                    <a:pt x="1512" y="196"/>
                  </a:lnTo>
                  <a:lnTo>
                    <a:pt x="1522" y="215"/>
                  </a:lnTo>
                  <a:lnTo>
                    <a:pt x="1532" y="205"/>
                  </a:lnTo>
                  <a:lnTo>
                    <a:pt x="1532" y="196"/>
                  </a:lnTo>
                  <a:lnTo>
                    <a:pt x="1542" y="186"/>
                  </a:lnTo>
                  <a:lnTo>
                    <a:pt x="1571" y="196"/>
                  </a:lnTo>
                  <a:lnTo>
                    <a:pt x="1590" y="205"/>
                  </a:lnTo>
                  <a:lnTo>
                    <a:pt x="1590" y="215"/>
                  </a:lnTo>
                  <a:lnTo>
                    <a:pt x="1600" y="205"/>
                  </a:lnTo>
                  <a:lnTo>
                    <a:pt x="1629" y="196"/>
                  </a:lnTo>
                  <a:lnTo>
                    <a:pt x="1639" y="186"/>
                  </a:lnTo>
                  <a:lnTo>
                    <a:pt x="1639" y="176"/>
                  </a:lnTo>
                  <a:lnTo>
                    <a:pt x="1649" y="166"/>
                  </a:lnTo>
                  <a:lnTo>
                    <a:pt x="1659" y="156"/>
                  </a:lnTo>
                  <a:lnTo>
                    <a:pt x="1668" y="117"/>
                  </a:lnTo>
                  <a:lnTo>
                    <a:pt x="1688" y="98"/>
                  </a:lnTo>
                  <a:lnTo>
                    <a:pt x="1707" y="78"/>
                  </a:lnTo>
                  <a:lnTo>
                    <a:pt x="1727" y="59"/>
                  </a:lnTo>
                  <a:lnTo>
                    <a:pt x="1737" y="49"/>
                  </a:lnTo>
                  <a:lnTo>
                    <a:pt x="1776" y="30"/>
                  </a:lnTo>
                  <a:lnTo>
                    <a:pt x="1805" y="20"/>
                  </a:lnTo>
                  <a:lnTo>
                    <a:pt x="1825" y="20"/>
                  </a:lnTo>
                  <a:lnTo>
                    <a:pt x="1854" y="20"/>
                  </a:lnTo>
                  <a:lnTo>
                    <a:pt x="1854" y="30"/>
                  </a:lnTo>
                  <a:lnTo>
                    <a:pt x="1873" y="30"/>
                  </a:lnTo>
                  <a:lnTo>
                    <a:pt x="1883" y="39"/>
                  </a:lnTo>
                  <a:lnTo>
                    <a:pt x="1883" y="49"/>
                  </a:lnTo>
                  <a:lnTo>
                    <a:pt x="1893" y="59"/>
                  </a:lnTo>
                  <a:lnTo>
                    <a:pt x="1893" y="69"/>
                  </a:lnTo>
                  <a:lnTo>
                    <a:pt x="1903" y="69"/>
                  </a:lnTo>
                  <a:lnTo>
                    <a:pt x="1912" y="69"/>
                  </a:lnTo>
                  <a:lnTo>
                    <a:pt x="1932" y="69"/>
                  </a:lnTo>
                  <a:lnTo>
                    <a:pt x="1951" y="59"/>
                  </a:lnTo>
                  <a:lnTo>
                    <a:pt x="1971" y="69"/>
                  </a:lnTo>
                  <a:lnTo>
                    <a:pt x="1981" y="69"/>
                  </a:lnTo>
                  <a:lnTo>
                    <a:pt x="1981" y="59"/>
                  </a:lnTo>
                  <a:lnTo>
                    <a:pt x="1981" y="49"/>
                  </a:lnTo>
                  <a:lnTo>
                    <a:pt x="1990" y="49"/>
                  </a:lnTo>
                  <a:lnTo>
                    <a:pt x="2000" y="49"/>
                  </a:lnTo>
                  <a:lnTo>
                    <a:pt x="1990" y="30"/>
                  </a:lnTo>
                  <a:lnTo>
                    <a:pt x="1990" y="20"/>
                  </a:lnTo>
                  <a:lnTo>
                    <a:pt x="1990" y="0"/>
                  </a:lnTo>
                  <a:lnTo>
                    <a:pt x="2000" y="10"/>
                  </a:lnTo>
                  <a:lnTo>
                    <a:pt x="2010" y="30"/>
                  </a:lnTo>
                  <a:lnTo>
                    <a:pt x="2020" y="20"/>
                  </a:lnTo>
                  <a:lnTo>
                    <a:pt x="2039" y="30"/>
                  </a:lnTo>
                  <a:lnTo>
                    <a:pt x="2039" y="39"/>
                  </a:lnTo>
                  <a:lnTo>
                    <a:pt x="2068" y="49"/>
                  </a:lnTo>
                  <a:lnTo>
                    <a:pt x="2068" y="59"/>
                  </a:lnTo>
                  <a:lnTo>
                    <a:pt x="2088" y="69"/>
                  </a:lnTo>
                  <a:lnTo>
                    <a:pt x="2107" y="69"/>
                  </a:lnTo>
                  <a:lnTo>
                    <a:pt x="2107" y="88"/>
                  </a:lnTo>
                  <a:lnTo>
                    <a:pt x="2098" y="98"/>
                  </a:lnTo>
                  <a:lnTo>
                    <a:pt x="2078" y="117"/>
                  </a:lnTo>
                  <a:lnTo>
                    <a:pt x="2078" y="137"/>
                  </a:lnTo>
                  <a:lnTo>
                    <a:pt x="2078" y="166"/>
                  </a:lnTo>
                  <a:lnTo>
                    <a:pt x="2059" y="186"/>
                  </a:lnTo>
                  <a:lnTo>
                    <a:pt x="2059" y="196"/>
                  </a:lnTo>
                  <a:lnTo>
                    <a:pt x="2049" y="205"/>
                  </a:lnTo>
                  <a:lnTo>
                    <a:pt x="2029" y="235"/>
                  </a:lnTo>
                  <a:lnTo>
                    <a:pt x="2029" y="244"/>
                  </a:lnTo>
                  <a:lnTo>
                    <a:pt x="2029" y="264"/>
                  </a:lnTo>
                  <a:lnTo>
                    <a:pt x="2049" y="264"/>
                  </a:lnTo>
                  <a:lnTo>
                    <a:pt x="2039" y="293"/>
                  </a:lnTo>
                  <a:lnTo>
                    <a:pt x="2049" y="303"/>
                  </a:lnTo>
                  <a:lnTo>
                    <a:pt x="2078" y="313"/>
                  </a:lnTo>
                  <a:lnTo>
                    <a:pt x="2117" y="303"/>
                  </a:lnTo>
                  <a:lnTo>
                    <a:pt x="2146" y="303"/>
                  </a:lnTo>
                  <a:lnTo>
                    <a:pt x="2156" y="322"/>
                  </a:lnTo>
                  <a:lnTo>
                    <a:pt x="2166" y="352"/>
                  </a:lnTo>
                  <a:lnTo>
                    <a:pt x="2176" y="361"/>
                  </a:lnTo>
                  <a:lnTo>
                    <a:pt x="2185" y="371"/>
                  </a:lnTo>
                  <a:lnTo>
                    <a:pt x="2195" y="381"/>
                  </a:lnTo>
                  <a:lnTo>
                    <a:pt x="2185" y="400"/>
                  </a:lnTo>
                  <a:lnTo>
                    <a:pt x="2185" y="439"/>
                  </a:lnTo>
                  <a:lnTo>
                    <a:pt x="2146" y="439"/>
                  </a:lnTo>
                  <a:lnTo>
                    <a:pt x="2146" y="449"/>
                  </a:lnTo>
                  <a:lnTo>
                    <a:pt x="2146" y="459"/>
                  </a:lnTo>
                  <a:lnTo>
                    <a:pt x="2137" y="469"/>
                  </a:lnTo>
                  <a:lnTo>
                    <a:pt x="2107" y="488"/>
                  </a:lnTo>
                  <a:lnTo>
                    <a:pt x="2098" y="488"/>
                  </a:lnTo>
                  <a:lnTo>
                    <a:pt x="2098" y="508"/>
                  </a:lnTo>
                  <a:lnTo>
                    <a:pt x="2068" y="508"/>
                  </a:lnTo>
                  <a:lnTo>
                    <a:pt x="2068" y="517"/>
                  </a:lnTo>
                  <a:lnTo>
                    <a:pt x="2078" y="527"/>
                  </a:lnTo>
                  <a:lnTo>
                    <a:pt x="2098" y="537"/>
                  </a:lnTo>
                  <a:lnTo>
                    <a:pt x="2098" y="557"/>
                  </a:lnTo>
                  <a:lnTo>
                    <a:pt x="2078" y="566"/>
                  </a:lnTo>
                  <a:lnTo>
                    <a:pt x="2068" y="576"/>
                  </a:lnTo>
                  <a:lnTo>
                    <a:pt x="2107" y="596"/>
                  </a:lnTo>
                  <a:lnTo>
                    <a:pt x="2107" y="615"/>
                  </a:lnTo>
                  <a:lnTo>
                    <a:pt x="2098" y="625"/>
                  </a:lnTo>
                  <a:lnTo>
                    <a:pt x="2088" y="635"/>
                  </a:lnTo>
                  <a:lnTo>
                    <a:pt x="2088" y="654"/>
                  </a:lnTo>
                  <a:lnTo>
                    <a:pt x="2098" y="674"/>
                  </a:lnTo>
                  <a:lnTo>
                    <a:pt x="2127" y="683"/>
                  </a:lnTo>
                  <a:lnTo>
                    <a:pt x="2137" y="693"/>
                  </a:lnTo>
                  <a:lnTo>
                    <a:pt x="2137" y="722"/>
                  </a:lnTo>
                  <a:lnTo>
                    <a:pt x="2146" y="732"/>
                  </a:lnTo>
                  <a:lnTo>
                    <a:pt x="2146" y="742"/>
                  </a:lnTo>
                  <a:lnTo>
                    <a:pt x="2127" y="742"/>
                  </a:lnTo>
                  <a:lnTo>
                    <a:pt x="2117" y="791"/>
                  </a:lnTo>
                  <a:lnTo>
                    <a:pt x="2107" y="791"/>
                  </a:lnTo>
                  <a:lnTo>
                    <a:pt x="2098" y="800"/>
                  </a:lnTo>
                  <a:lnTo>
                    <a:pt x="2098" y="810"/>
                  </a:lnTo>
                  <a:lnTo>
                    <a:pt x="2088" y="830"/>
                  </a:lnTo>
                  <a:lnTo>
                    <a:pt x="2068" y="820"/>
                  </a:lnTo>
                  <a:lnTo>
                    <a:pt x="2068" y="810"/>
                  </a:lnTo>
                  <a:lnTo>
                    <a:pt x="2049" y="810"/>
                  </a:lnTo>
                  <a:lnTo>
                    <a:pt x="2049" y="830"/>
                  </a:lnTo>
                  <a:lnTo>
                    <a:pt x="2039" y="839"/>
                  </a:lnTo>
                  <a:lnTo>
                    <a:pt x="2020" y="839"/>
                  </a:lnTo>
                  <a:lnTo>
                    <a:pt x="2010" y="849"/>
                  </a:lnTo>
                  <a:lnTo>
                    <a:pt x="2000" y="849"/>
                  </a:lnTo>
                  <a:lnTo>
                    <a:pt x="1990" y="849"/>
                  </a:lnTo>
                  <a:lnTo>
                    <a:pt x="1990" y="859"/>
                  </a:lnTo>
                  <a:lnTo>
                    <a:pt x="2000" y="869"/>
                  </a:lnTo>
                  <a:lnTo>
                    <a:pt x="2010" y="869"/>
                  </a:lnTo>
                  <a:lnTo>
                    <a:pt x="2020" y="898"/>
                  </a:lnTo>
                  <a:lnTo>
                    <a:pt x="2020" y="908"/>
                  </a:lnTo>
                  <a:lnTo>
                    <a:pt x="2010" y="918"/>
                  </a:lnTo>
                  <a:lnTo>
                    <a:pt x="2000" y="908"/>
                  </a:lnTo>
                  <a:lnTo>
                    <a:pt x="1981" y="908"/>
                  </a:lnTo>
                  <a:lnTo>
                    <a:pt x="1981" y="927"/>
                  </a:lnTo>
                  <a:lnTo>
                    <a:pt x="1961" y="927"/>
                  </a:lnTo>
                  <a:lnTo>
                    <a:pt x="1951" y="937"/>
                  </a:lnTo>
                  <a:lnTo>
                    <a:pt x="1942" y="947"/>
                  </a:lnTo>
                  <a:lnTo>
                    <a:pt x="1942" y="966"/>
                  </a:lnTo>
                  <a:lnTo>
                    <a:pt x="1951" y="976"/>
                  </a:lnTo>
                  <a:lnTo>
                    <a:pt x="1942" y="996"/>
                  </a:lnTo>
                  <a:lnTo>
                    <a:pt x="1942" y="1005"/>
                  </a:lnTo>
                  <a:lnTo>
                    <a:pt x="1951" y="1025"/>
                  </a:lnTo>
                  <a:lnTo>
                    <a:pt x="1971" y="1064"/>
                  </a:lnTo>
                  <a:lnTo>
                    <a:pt x="1981" y="1083"/>
                  </a:lnTo>
                  <a:lnTo>
                    <a:pt x="2000" y="1093"/>
                  </a:lnTo>
                  <a:lnTo>
                    <a:pt x="2000" y="1103"/>
                  </a:lnTo>
                  <a:lnTo>
                    <a:pt x="2020" y="1122"/>
                  </a:lnTo>
                  <a:lnTo>
                    <a:pt x="2010" y="1132"/>
                  </a:lnTo>
                  <a:lnTo>
                    <a:pt x="2029" y="1152"/>
                  </a:lnTo>
                  <a:lnTo>
                    <a:pt x="2029" y="1181"/>
                  </a:lnTo>
                  <a:lnTo>
                    <a:pt x="2020" y="1191"/>
                  </a:lnTo>
                  <a:lnTo>
                    <a:pt x="2020" y="1210"/>
                  </a:lnTo>
                  <a:lnTo>
                    <a:pt x="2020" y="1230"/>
                  </a:lnTo>
                  <a:lnTo>
                    <a:pt x="2010" y="1230"/>
                  </a:lnTo>
                  <a:lnTo>
                    <a:pt x="2010" y="1220"/>
                  </a:lnTo>
                  <a:lnTo>
                    <a:pt x="2000" y="1210"/>
                  </a:lnTo>
                  <a:lnTo>
                    <a:pt x="1990" y="1220"/>
                  </a:lnTo>
                  <a:lnTo>
                    <a:pt x="1990" y="1230"/>
                  </a:lnTo>
                  <a:lnTo>
                    <a:pt x="1981" y="1239"/>
                  </a:lnTo>
                  <a:lnTo>
                    <a:pt x="1971" y="1220"/>
                  </a:lnTo>
                  <a:lnTo>
                    <a:pt x="1951" y="1239"/>
                  </a:lnTo>
                  <a:lnTo>
                    <a:pt x="1961" y="1259"/>
                  </a:lnTo>
                  <a:lnTo>
                    <a:pt x="1951" y="1269"/>
                  </a:lnTo>
                  <a:lnTo>
                    <a:pt x="1932" y="1279"/>
                  </a:lnTo>
                  <a:lnTo>
                    <a:pt x="1912" y="1269"/>
                  </a:lnTo>
                  <a:lnTo>
                    <a:pt x="1893" y="1279"/>
                  </a:lnTo>
                  <a:lnTo>
                    <a:pt x="1873" y="1269"/>
                  </a:lnTo>
                  <a:lnTo>
                    <a:pt x="1854" y="1269"/>
                  </a:lnTo>
                  <a:lnTo>
                    <a:pt x="1844" y="1279"/>
                  </a:lnTo>
                  <a:lnTo>
                    <a:pt x="1834" y="1279"/>
                  </a:lnTo>
                  <a:lnTo>
                    <a:pt x="1825" y="1269"/>
                  </a:lnTo>
                  <a:lnTo>
                    <a:pt x="1815" y="1279"/>
                  </a:lnTo>
                  <a:lnTo>
                    <a:pt x="1825" y="1288"/>
                  </a:lnTo>
                  <a:lnTo>
                    <a:pt x="1815" y="1308"/>
                  </a:lnTo>
                  <a:lnTo>
                    <a:pt x="1825" y="1347"/>
                  </a:lnTo>
                  <a:lnTo>
                    <a:pt x="1834" y="1357"/>
                  </a:lnTo>
                  <a:lnTo>
                    <a:pt x="1834" y="1386"/>
                  </a:lnTo>
                  <a:lnTo>
                    <a:pt x="1825" y="1405"/>
                  </a:lnTo>
                  <a:lnTo>
                    <a:pt x="1815" y="1425"/>
                  </a:lnTo>
                  <a:lnTo>
                    <a:pt x="1815" y="1444"/>
                  </a:lnTo>
                  <a:lnTo>
                    <a:pt x="1805" y="1454"/>
                  </a:lnTo>
                  <a:lnTo>
                    <a:pt x="1805" y="1483"/>
                  </a:lnTo>
                  <a:lnTo>
                    <a:pt x="1805" y="1513"/>
                  </a:lnTo>
                  <a:lnTo>
                    <a:pt x="1834" y="1532"/>
                  </a:lnTo>
                  <a:lnTo>
                    <a:pt x="1844" y="1571"/>
                  </a:lnTo>
                  <a:lnTo>
                    <a:pt x="1854" y="1581"/>
                  </a:lnTo>
                  <a:lnTo>
                    <a:pt x="1873" y="1591"/>
                  </a:lnTo>
                  <a:lnTo>
                    <a:pt x="1873" y="1610"/>
                  </a:lnTo>
                  <a:lnTo>
                    <a:pt x="1873" y="1620"/>
                  </a:lnTo>
                  <a:lnTo>
                    <a:pt x="1864" y="1630"/>
                  </a:lnTo>
                  <a:lnTo>
                    <a:pt x="1864" y="1659"/>
                  </a:lnTo>
                  <a:lnTo>
                    <a:pt x="1854" y="1679"/>
                  </a:lnTo>
                  <a:lnTo>
                    <a:pt x="1834" y="1698"/>
                  </a:lnTo>
                  <a:lnTo>
                    <a:pt x="1815" y="1698"/>
                  </a:lnTo>
                  <a:lnTo>
                    <a:pt x="1805" y="1708"/>
                  </a:lnTo>
                  <a:lnTo>
                    <a:pt x="1785" y="1708"/>
                  </a:lnTo>
                  <a:lnTo>
                    <a:pt x="1776" y="1708"/>
                  </a:lnTo>
                  <a:lnTo>
                    <a:pt x="1766" y="1727"/>
                  </a:lnTo>
                  <a:lnTo>
                    <a:pt x="1766" y="1747"/>
                  </a:lnTo>
                  <a:lnTo>
                    <a:pt x="1766" y="1757"/>
                  </a:lnTo>
                  <a:lnTo>
                    <a:pt x="1756" y="1766"/>
                  </a:lnTo>
                  <a:lnTo>
                    <a:pt x="1737" y="1776"/>
                  </a:lnTo>
                  <a:lnTo>
                    <a:pt x="1727" y="1776"/>
                  </a:lnTo>
                  <a:lnTo>
                    <a:pt x="1717" y="1796"/>
                  </a:lnTo>
                  <a:lnTo>
                    <a:pt x="1698" y="1786"/>
                  </a:lnTo>
                  <a:lnTo>
                    <a:pt x="1688" y="1796"/>
                  </a:lnTo>
                  <a:lnTo>
                    <a:pt x="1668" y="1796"/>
                  </a:lnTo>
                  <a:lnTo>
                    <a:pt x="1649" y="1805"/>
                  </a:lnTo>
                  <a:lnTo>
                    <a:pt x="1649" y="1835"/>
                  </a:lnTo>
                  <a:lnTo>
                    <a:pt x="1649" y="1854"/>
                  </a:lnTo>
                  <a:lnTo>
                    <a:pt x="1639" y="1864"/>
                  </a:lnTo>
                  <a:lnTo>
                    <a:pt x="1649" y="1913"/>
                  </a:lnTo>
                  <a:lnTo>
                    <a:pt x="1639" y="1913"/>
                  </a:lnTo>
                  <a:lnTo>
                    <a:pt x="1639" y="1922"/>
                  </a:lnTo>
                  <a:lnTo>
                    <a:pt x="1649" y="1932"/>
                  </a:lnTo>
                  <a:lnTo>
                    <a:pt x="1649" y="1942"/>
                  </a:lnTo>
                  <a:lnTo>
                    <a:pt x="1649" y="1952"/>
                  </a:lnTo>
                  <a:lnTo>
                    <a:pt x="1649" y="1961"/>
                  </a:lnTo>
                  <a:lnTo>
                    <a:pt x="1629" y="1961"/>
                  </a:lnTo>
                  <a:lnTo>
                    <a:pt x="1620" y="1961"/>
                  </a:lnTo>
                  <a:lnTo>
                    <a:pt x="1629" y="1971"/>
                  </a:lnTo>
                  <a:lnTo>
                    <a:pt x="1649" y="1981"/>
                  </a:lnTo>
                  <a:lnTo>
                    <a:pt x="1659" y="1991"/>
                  </a:lnTo>
                  <a:lnTo>
                    <a:pt x="1678" y="2001"/>
                  </a:lnTo>
                  <a:lnTo>
                    <a:pt x="1668" y="2020"/>
                  </a:lnTo>
                  <a:lnTo>
                    <a:pt x="1659" y="2049"/>
                  </a:lnTo>
                  <a:lnTo>
                    <a:pt x="1659" y="2069"/>
                  </a:lnTo>
                  <a:lnTo>
                    <a:pt x="1678" y="2069"/>
                  </a:lnTo>
                  <a:lnTo>
                    <a:pt x="1698" y="2088"/>
                  </a:lnTo>
                  <a:lnTo>
                    <a:pt x="1707" y="2098"/>
                  </a:lnTo>
                  <a:lnTo>
                    <a:pt x="1707" y="2108"/>
                  </a:lnTo>
                  <a:lnTo>
                    <a:pt x="1707" y="2127"/>
                  </a:lnTo>
                  <a:lnTo>
                    <a:pt x="1698" y="2137"/>
                  </a:lnTo>
                  <a:lnTo>
                    <a:pt x="1698" y="2157"/>
                  </a:lnTo>
                  <a:lnTo>
                    <a:pt x="1698" y="2166"/>
                  </a:lnTo>
                  <a:lnTo>
                    <a:pt x="1688" y="2186"/>
                  </a:lnTo>
                  <a:lnTo>
                    <a:pt x="1688" y="2205"/>
                  </a:lnTo>
                  <a:lnTo>
                    <a:pt x="1707" y="2225"/>
                  </a:lnTo>
                  <a:lnTo>
                    <a:pt x="1659" y="2244"/>
                  </a:lnTo>
                  <a:lnTo>
                    <a:pt x="1629" y="2254"/>
                  </a:lnTo>
                  <a:lnTo>
                    <a:pt x="1590" y="2274"/>
                  </a:lnTo>
                  <a:lnTo>
                    <a:pt x="1590" y="2293"/>
                  </a:lnTo>
                  <a:lnTo>
                    <a:pt x="1600" y="2303"/>
                  </a:lnTo>
                  <a:lnTo>
                    <a:pt x="1590" y="2313"/>
                  </a:lnTo>
                  <a:lnTo>
                    <a:pt x="1551" y="2322"/>
                  </a:lnTo>
                  <a:lnTo>
                    <a:pt x="1532" y="2322"/>
                  </a:lnTo>
                  <a:lnTo>
                    <a:pt x="1522" y="2322"/>
                  </a:lnTo>
                  <a:lnTo>
                    <a:pt x="1512" y="2322"/>
                  </a:lnTo>
                  <a:lnTo>
                    <a:pt x="1512" y="2342"/>
                  </a:lnTo>
                  <a:lnTo>
                    <a:pt x="1493" y="2342"/>
                  </a:lnTo>
                  <a:lnTo>
                    <a:pt x="1493" y="2332"/>
                  </a:lnTo>
                  <a:lnTo>
                    <a:pt x="1483" y="2342"/>
                  </a:lnTo>
                  <a:lnTo>
                    <a:pt x="1473" y="2342"/>
                  </a:lnTo>
                  <a:lnTo>
                    <a:pt x="1454" y="2342"/>
                  </a:lnTo>
                  <a:lnTo>
                    <a:pt x="1444" y="2362"/>
                  </a:lnTo>
                  <a:lnTo>
                    <a:pt x="1425" y="2362"/>
                  </a:lnTo>
                  <a:lnTo>
                    <a:pt x="1415" y="2352"/>
                  </a:lnTo>
                  <a:lnTo>
                    <a:pt x="1405" y="2342"/>
                  </a:lnTo>
                  <a:lnTo>
                    <a:pt x="1395" y="2352"/>
                  </a:lnTo>
                  <a:lnTo>
                    <a:pt x="1386" y="2352"/>
                  </a:lnTo>
                  <a:lnTo>
                    <a:pt x="1356" y="2352"/>
                  </a:lnTo>
                  <a:lnTo>
                    <a:pt x="1327" y="2362"/>
                  </a:lnTo>
                  <a:lnTo>
                    <a:pt x="1308" y="2371"/>
                  </a:lnTo>
                  <a:lnTo>
                    <a:pt x="1298" y="2362"/>
                  </a:lnTo>
                  <a:lnTo>
                    <a:pt x="1278" y="2342"/>
                  </a:lnTo>
                  <a:lnTo>
                    <a:pt x="1259" y="2332"/>
                  </a:lnTo>
                  <a:lnTo>
                    <a:pt x="1239" y="2332"/>
                  </a:lnTo>
                  <a:lnTo>
                    <a:pt x="1220" y="2332"/>
                  </a:lnTo>
                  <a:lnTo>
                    <a:pt x="1190" y="2332"/>
                  </a:lnTo>
                  <a:lnTo>
                    <a:pt x="1181" y="2332"/>
                  </a:lnTo>
                  <a:lnTo>
                    <a:pt x="1181" y="2352"/>
                  </a:lnTo>
                  <a:lnTo>
                    <a:pt x="1161" y="2352"/>
                  </a:lnTo>
                  <a:lnTo>
                    <a:pt x="1142" y="2342"/>
                  </a:lnTo>
                  <a:lnTo>
                    <a:pt x="1132" y="2322"/>
                  </a:lnTo>
                  <a:lnTo>
                    <a:pt x="1112" y="2342"/>
                  </a:lnTo>
                  <a:lnTo>
                    <a:pt x="1093" y="2332"/>
                  </a:lnTo>
                  <a:lnTo>
                    <a:pt x="1083" y="2322"/>
                  </a:lnTo>
                  <a:lnTo>
                    <a:pt x="1064" y="2322"/>
                  </a:lnTo>
                  <a:lnTo>
                    <a:pt x="1044" y="2322"/>
                  </a:lnTo>
                  <a:lnTo>
                    <a:pt x="1015" y="2332"/>
                  </a:lnTo>
                  <a:lnTo>
                    <a:pt x="1005" y="2342"/>
                  </a:lnTo>
                  <a:lnTo>
                    <a:pt x="995" y="2352"/>
                  </a:lnTo>
                  <a:lnTo>
                    <a:pt x="976" y="2342"/>
                  </a:lnTo>
                  <a:lnTo>
                    <a:pt x="947" y="2303"/>
                  </a:lnTo>
                  <a:lnTo>
                    <a:pt x="947" y="2283"/>
                  </a:lnTo>
                  <a:lnTo>
                    <a:pt x="937" y="2283"/>
                  </a:lnTo>
                  <a:close/>
                </a:path>
              </a:pathLst>
            </a:custGeom>
            <a:solidFill>
              <a:srgbClr val="BFBFB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0" name="Freeform 89"/>
            <p:cNvSpPr>
              <a:spLocks/>
            </p:cNvSpPr>
            <p:nvPr/>
          </p:nvSpPr>
          <p:spPr bwMode="auto">
            <a:xfrm>
              <a:off x="7551" y="1220"/>
              <a:ext cx="839" cy="1046"/>
            </a:xfrm>
            <a:custGeom>
              <a:avLst/>
              <a:gdLst>
                <a:gd name="T0" fmla="*/ 214 w 839"/>
                <a:gd name="T1" fmla="*/ 126 h 1044"/>
                <a:gd name="T2" fmla="*/ 156 w 839"/>
                <a:gd name="T3" fmla="*/ 175 h 1044"/>
                <a:gd name="T4" fmla="*/ 156 w 839"/>
                <a:gd name="T5" fmla="*/ 224 h 1044"/>
                <a:gd name="T6" fmla="*/ 175 w 839"/>
                <a:gd name="T7" fmla="*/ 283 h 1044"/>
                <a:gd name="T8" fmla="*/ 166 w 839"/>
                <a:gd name="T9" fmla="*/ 361 h 1044"/>
                <a:gd name="T10" fmla="*/ 214 w 839"/>
                <a:gd name="T11" fmla="*/ 429 h 1044"/>
                <a:gd name="T12" fmla="*/ 166 w 839"/>
                <a:gd name="T13" fmla="*/ 497 h 1044"/>
                <a:gd name="T14" fmla="*/ 107 w 839"/>
                <a:gd name="T15" fmla="*/ 497 h 1044"/>
                <a:gd name="T16" fmla="*/ 58 w 839"/>
                <a:gd name="T17" fmla="*/ 536 h 1044"/>
                <a:gd name="T18" fmla="*/ 88 w 839"/>
                <a:gd name="T19" fmla="*/ 585 h 1044"/>
                <a:gd name="T20" fmla="*/ 49 w 839"/>
                <a:gd name="T21" fmla="*/ 595 h 1044"/>
                <a:gd name="T22" fmla="*/ 10 w 839"/>
                <a:gd name="T23" fmla="*/ 653 h 1044"/>
                <a:gd name="T24" fmla="*/ 39 w 839"/>
                <a:gd name="T25" fmla="*/ 751 h 1044"/>
                <a:gd name="T26" fmla="*/ 78 w 839"/>
                <a:gd name="T27" fmla="*/ 829 h 1044"/>
                <a:gd name="T28" fmla="*/ 205 w 839"/>
                <a:gd name="T29" fmla="*/ 848 h 1044"/>
                <a:gd name="T30" fmla="*/ 263 w 839"/>
                <a:gd name="T31" fmla="*/ 946 h 1044"/>
                <a:gd name="T32" fmla="*/ 263 w 839"/>
                <a:gd name="T33" fmla="*/ 1014 h 1044"/>
                <a:gd name="T34" fmla="*/ 312 w 839"/>
                <a:gd name="T35" fmla="*/ 985 h 1044"/>
                <a:gd name="T36" fmla="*/ 370 w 839"/>
                <a:gd name="T37" fmla="*/ 1005 h 1044"/>
                <a:gd name="T38" fmla="*/ 409 w 839"/>
                <a:gd name="T39" fmla="*/ 1034 h 1044"/>
                <a:gd name="T40" fmla="*/ 439 w 839"/>
                <a:gd name="T41" fmla="*/ 1005 h 1044"/>
                <a:gd name="T42" fmla="*/ 497 w 839"/>
                <a:gd name="T43" fmla="*/ 985 h 1044"/>
                <a:gd name="T44" fmla="*/ 488 w 839"/>
                <a:gd name="T45" fmla="*/ 966 h 1044"/>
                <a:gd name="T46" fmla="*/ 488 w 839"/>
                <a:gd name="T47" fmla="*/ 907 h 1044"/>
                <a:gd name="T48" fmla="*/ 566 w 839"/>
                <a:gd name="T49" fmla="*/ 897 h 1044"/>
                <a:gd name="T50" fmla="*/ 595 w 839"/>
                <a:gd name="T51" fmla="*/ 858 h 1044"/>
                <a:gd name="T52" fmla="*/ 644 w 839"/>
                <a:gd name="T53" fmla="*/ 848 h 1044"/>
                <a:gd name="T54" fmla="*/ 614 w 839"/>
                <a:gd name="T55" fmla="*/ 907 h 1044"/>
                <a:gd name="T56" fmla="*/ 663 w 839"/>
                <a:gd name="T57" fmla="*/ 858 h 1044"/>
                <a:gd name="T58" fmla="*/ 692 w 839"/>
                <a:gd name="T59" fmla="*/ 829 h 1044"/>
                <a:gd name="T60" fmla="*/ 731 w 839"/>
                <a:gd name="T61" fmla="*/ 790 h 1044"/>
                <a:gd name="T62" fmla="*/ 751 w 839"/>
                <a:gd name="T63" fmla="*/ 751 h 1044"/>
                <a:gd name="T64" fmla="*/ 731 w 839"/>
                <a:gd name="T65" fmla="*/ 722 h 1044"/>
                <a:gd name="T66" fmla="*/ 692 w 839"/>
                <a:gd name="T67" fmla="*/ 751 h 1044"/>
                <a:gd name="T68" fmla="*/ 663 w 839"/>
                <a:gd name="T69" fmla="*/ 692 h 1044"/>
                <a:gd name="T70" fmla="*/ 653 w 839"/>
                <a:gd name="T71" fmla="*/ 634 h 1044"/>
                <a:gd name="T72" fmla="*/ 653 w 839"/>
                <a:gd name="T73" fmla="*/ 575 h 1044"/>
                <a:gd name="T74" fmla="*/ 624 w 839"/>
                <a:gd name="T75" fmla="*/ 487 h 1044"/>
                <a:gd name="T76" fmla="*/ 644 w 839"/>
                <a:gd name="T77" fmla="*/ 419 h 1044"/>
                <a:gd name="T78" fmla="*/ 673 w 839"/>
                <a:gd name="T79" fmla="*/ 361 h 1044"/>
                <a:gd name="T80" fmla="*/ 722 w 839"/>
                <a:gd name="T81" fmla="*/ 351 h 1044"/>
                <a:gd name="T82" fmla="*/ 751 w 839"/>
                <a:gd name="T83" fmla="*/ 341 h 1044"/>
                <a:gd name="T84" fmla="*/ 790 w 839"/>
                <a:gd name="T85" fmla="*/ 400 h 1044"/>
                <a:gd name="T86" fmla="*/ 809 w 839"/>
                <a:gd name="T87" fmla="*/ 390 h 1044"/>
                <a:gd name="T88" fmla="*/ 839 w 839"/>
                <a:gd name="T89" fmla="*/ 370 h 1044"/>
                <a:gd name="T90" fmla="*/ 829 w 839"/>
                <a:gd name="T91" fmla="*/ 302 h 1044"/>
                <a:gd name="T92" fmla="*/ 819 w 839"/>
                <a:gd name="T93" fmla="*/ 234 h 1044"/>
                <a:gd name="T94" fmla="*/ 770 w 839"/>
                <a:gd name="T95" fmla="*/ 204 h 1044"/>
                <a:gd name="T96" fmla="*/ 692 w 839"/>
                <a:gd name="T97" fmla="*/ 146 h 1044"/>
                <a:gd name="T98" fmla="*/ 663 w 839"/>
                <a:gd name="T99" fmla="*/ 87 h 1044"/>
                <a:gd name="T100" fmla="*/ 614 w 839"/>
                <a:gd name="T101" fmla="*/ 68 h 1044"/>
                <a:gd name="T102" fmla="*/ 585 w 839"/>
                <a:gd name="T103" fmla="*/ 19 h 1044"/>
                <a:gd name="T104" fmla="*/ 488 w 839"/>
                <a:gd name="T105" fmla="*/ 29 h 1044"/>
                <a:gd name="T106" fmla="*/ 409 w 839"/>
                <a:gd name="T107" fmla="*/ 68 h 1044"/>
                <a:gd name="T108" fmla="*/ 351 w 839"/>
                <a:gd name="T109" fmla="*/ 78 h 104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39"/>
                <a:gd name="T166" fmla="*/ 0 h 1044"/>
                <a:gd name="T167" fmla="*/ 839 w 839"/>
                <a:gd name="T168" fmla="*/ 1044 h 104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39" h="1044">
                  <a:moveTo>
                    <a:pt x="253" y="48"/>
                  </a:moveTo>
                  <a:lnTo>
                    <a:pt x="263" y="68"/>
                  </a:lnTo>
                  <a:lnTo>
                    <a:pt x="253" y="87"/>
                  </a:lnTo>
                  <a:lnTo>
                    <a:pt x="253" y="126"/>
                  </a:lnTo>
                  <a:lnTo>
                    <a:pt x="214" y="126"/>
                  </a:lnTo>
                  <a:lnTo>
                    <a:pt x="205" y="136"/>
                  </a:lnTo>
                  <a:lnTo>
                    <a:pt x="205" y="146"/>
                  </a:lnTo>
                  <a:lnTo>
                    <a:pt x="205" y="156"/>
                  </a:lnTo>
                  <a:lnTo>
                    <a:pt x="175" y="175"/>
                  </a:lnTo>
                  <a:lnTo>
                    <a:pt x="156" y="175"/>
                  </a:lnTo>
                  <a:lnTo>
                    <a:pt x="156" y="195"/>
                  </a:lnTo>
                  <a:lnTo>
                    <a:pt x="136" y="195"/>
                  </a:lnTo>
                  <a:lnTo>
                    <a:pt x="136" y="204"/>
                  </a:lnTo>
                  <a:lnTo>
                    <a:pt x="146" y="214"/>
                  </a:lnTo>
                  <a:lnTo>
                    <a:pt x="156" y="224"/>
                  </a:lnTo>
                  <a:lnTo>
                    <a:pt x="156" y="234"/>
                  </a:lnTo>
                  <a:lnTo>
                    <a:pt x="146" y="244"/>
                  </a:lnTo>
                  <a:lnTo>
                    <a:pt x="136" y="263"/>
                  </a:lnTo>
                  <a:lnTo>
                    <a:pt x="166" y="283"/>
                  </a:lnTo>
                  <a:lnTo>
                    <a:pt x="175" y="283"/>
                  </a:lnTo>
                  <a:lnTo>
                    <a:pt x="175" y="292"/>
                  </a:lnTo>
                  <a:lnTo>
                    <a:pt x="166" y="312"/>
                  </a:lnTo>
                  <a:lnTo>
                    <a:pt x="156" y="322"/>
                  </a:lnTo>
                  <a:lnTo>
                    <a:pt x="156" y="341"/>
                  </a:lnTo>
                  <a:lnTo>
                    <a:pt x="166" y="361"/>
                  </a:lnTo>
                  <a:lnTo>
                    <a:pt x="195" y="370"/>
                  </a:lnTo>
                  <a:lnTo>
                    <a:pt x="205" y="380"/>
                  </a:lnTo>
                  <a:lnTo>
                    <a:pt x="205" y="409"/>
                  </a:lnTo>
                  <a:lnTo>
                    <a:pt x="214" y="419"/>
                  </a:lnTo>
                  <a:lnTo>
                    <a:pt x="214" y="429"/>
                  </a:lnTo>
                  <a:lnTo>
                    <a:pt x="195" y="429"/>
                  </a:lnTo>
                  <a:lnTo>
                    <a:pt x="185" y="478"/>
                  </a:lnTo>
                  <a:lnTo>
                    <a:pt x="175" y="478"/>
                  </a:lnTo>
                  <a:lnTo>
                    <a:pt x="166" y="487"/>
                  </a:lnTo>
                  <a:lnTo>
                    <a:pt x="166" y="497"/>
                  </a:lnTo>
                  <a:lnTo>
                    <a:pt x="156" y="517"/>
                  </a:lnTo>
                  <a:lnTo>
                    <a:pt x="136" y="507"/>
                  </a:lnTo>
                  <a:lnTo>
                    <a:pt x="136" y="487"/>
                  </a:lnTo>
                  <a:lnTo>
                    <a:pt x="117" y="487"/>
                  </a:lnTo>
                  <a:lnTo>
                    <a:pt x="107" y="497"/>
                  </a:lnTo>
                  <a:lnTo>
                    <a:pt x="107" y="517"/>
                  </a:lnTo>
                  <a:lnTo>
                    <a:pt x="97" y="526"/>
                  </a:lnTo>
                  <a:lnTo>
                    <a:pt x="88" y="526"/>
                  </a:lnTo>
                  <a:lnTo>
                    <a:pt x="78" y="536"/>
                  </a:lnTo>
                  <a:lnTo>
                    <a:pt x="58" y="536"/>
                  </a:lnTo>
                  <a:lnTo>
                    <a:pt x="58" y="546"/>
                  </a:lnTo>
                  <a:lnTo>
                    <a:pt x="58" y="556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88" y="595"/>
                  </a:lnTo>
                  <a:lnTo>
                    <a:pt x="78" y="605"/>
                  </a:lnTo>
                  <a:lnTo>
                    <a:pt x="68" y="605"/>
                  </a:lnTo>
                  <a:lnTo>
                    <a:pt x="58" y="595"/>
                  </a:lnTo>
                  <a:lnTo>
                    <a:pt x="49" y="595"/>
                  </a:lnTo>
                  <a:lnTo>
                    <a:pt x="49" y="614"/>
                  </a:lnTo>
                  <a:lnTo>
                    <a:pt x="29" y="614"/>
                  </a:lnTo>
                  <a:lnTo>
                    <a:pt x="10" y="624"/>
                  </a:lnTo>
                  <a:lnTo>
                    <a:pt x="0" y="634"/>
                  </a:lnTo>
                  <a:lnTo>
                    <a:pt x="10" y="653"/>
                  </a:lnTo>
                  <a:lnTo>
                    <a:pt x="19" y="663"/>
                  </a:lnTo>
                  <a:lnTo>
                    <a:pt x="10" y="683"/>
                  </a:lnTo>
                  <a:lnTo>
                    <a:pt x="0" y="692"/>
                  </a:lnTo>
                  <a:lnTo>
                    <a:pt x="19" y="712"/>
                  </a:lnTo>
                  <a:lnTo>
                    <a:pt x="39" y="751"/>
                  </a:lnTo>
                  <a:lnTo>
                    <a:pt x="49" y="770"/>
                  </a:lnTo>
                  <a:lnTo>
                    <a:pt x="58" y="780"/>
                  </a:lnTo>
                  <a:lnTo>
                    <a:pt x="58" y="790"/>
                  </a:lnTo>
                  <a:lnTo>
                    <a:pt x="88" y="809"/>
                  </a:lnTo>
                  <a:lnTo>
                    <a:pt x="78" y="829"/>
                  </a:lnTo>
                  <a:lnTo>
                    <a:pt x="97" y="839"/>
                  </a:lnTo>
                  <a:lnTo>
                    <a:pt x="97" y="868"/>
                  </a:lnTo>
                  <a:lnTo>
                    <a:pt x="136" y="848"/>
                  </a:lnTo>
                  <a:lnTo>
                    <a:pt x="146" y="839"/>
                  </a:lnTo>
                  <a:lnTo>
                    <a:pt x="205" y="848"/>
                  </a:lnTo>
                  <a:lnTo>
                    <a:pt x="234" y="878"/>
                  </a:lnTo>
                  <a:lnTo>
                    <a:pt x="263" y="897"/>
                  </a:lnTo>
                  <a:lnTo>
                    <a:pt x="253" y="917"/>
                  </a:lnTo>
                  <a:lnTo>
                    <a:pt x="263" y="926"/>
                  </a:lnTo>
                  <a:lnTo>
                    <a:pt x="263" y="946"/>
                  </a:lnTo>
                  <a:lnTo>
                    <a:pt x="244" y="956"/>
                  </a:lnTo>
                  <a:lnTo>
                    <a:pt x="244" y="985"/>
                  </a:lnTo>
                  <a:lnTo>
                    <a:pt x="253" y="995"/>
                  </a:lnTo>
                  <a:lnTo>
                    <a:pt x="263" y="995"/>
                  </a:lnTo>
                  <a:lnTo>
                    <a:pt x="263" y="1014"/>
                  </a:lnTo>
                  <a:lnTo>
                    <a:pt x="273" y="1014"/>
                  </a:lnTo>
                  <a:lnTo>
                    <a:pt x="292" y="1005"/>
                  </a:lnTo>
                  <a:lnTo>
                    <a:pt x="302" y="1005"/>
                  </a:lnTo>
                  <a:lnTo>
                    <a:pt x="302" y="985"/>
                  </a:lnTo>
                  <a:lnTo>
                    <a:pt x="312" y="985"/>
                  </a:lnTo>
                  <a:lnTo>
                    <a:pt x="322" y="995"/>
                  </a:lnTo>
                  <a:lnTo>
                    <a:pt x="331" y="995"/>
                  </a:lnTo>
                  <a:lnTo>
                    <a:pt x="351" y="995"/>
                  </a:lnTo>
                  <a:lnTo>
                    <a:pt x="361" y="985"/>
                  </a:lnTo>
                  <a:lnTo>
                    <a:pt x="370" y="1005"/>
                  </a:lnTo>
                  <a:lnTo>
                    <a:pt x="380" y="1014"/>
                  </a:lnTo>
                  <a:lnTo>
                    <a:pt x="390" y="1024"/>
                  </a:lnTo>
                  <a:lnTo>
                    <a:pt x="390" y="1044"/>
                  </a:lnTo>
                  <a:lnTo>
                    <a:pt x="409" y="1034"/>
                  </a:lnTo>
                  <a:lnTo>
                    <a:pt x="419" y="1034"/>
                  </a:lnTo>
                  <a:lnTo>
                    <a:pt x="439" y="1034"/>
                  </a:lnTo>
                  <a:lnTo>
                    <a:pt x="439" y="1024"/>
                  </a:lnTo>
                  <a:lnTo>
                    <a:pt x="439" y="1014"/>
                  </a:lnTo>
                  <a:lnTo>
                    <a:pt x="439" y="1005"/>
                  </a:lnTo>
                  <a:lnTo>
                    <a:pt x="448" y="995"/>
                  </a:lnTo>
                  <a:lnTo>
                    <a:pt x="458" y="985"/>
                  </a:lnTo>
                  <a:lnTo>
                    <a:pt x="468" y="995"/>
                  </a:lnTo>
                  <a:lnTo>
                    <a:pt x="497" y="985"/>
                  </a:lnTo>
                  <a:lnTo>
                    <a:pt x="497" y="975"/>
                  </a:lnTo>
                  <a:lnTo>
                    <a:pt x="488" y="966"/>
                  </a:lnTo>
                  <a:lnTo>
                    <a:pt x="478" y="966"/>
                  </a:lnTo>
                  <a:lnTo>
                    <a:pt x="478" y="956"/>
                  </a:lnTo>
                  <a:lnTo>
                    <a:pt x="488" y="966"/>
                  </a:lnTo>
                  <a:lnTo>
                    <a:pt x="488" y="946"/>
                  </a:lnTo>
                  <a:lnTo>
                    <a:pt x="478" y="946"/>
                  </a:lnTo>
                  <a:lnTo>
                    <a:pt x="478" y="917"/>
                  </a:lnTo>
                  <a:lnTo>
                    <a:pt x="488" y="907"/>
                  </a:lnTo>
                  <a:lnTo>
                    <a:pt x="497" y="907"/>
                  </a:lnTo>
                  <a:lnTo>
                    <a:pt x="517" y="897"/>
                  </a:lnTo>
                  <a:lnTo>
                    <a:pt x="527" y="887"/>
                  </a:lnTo>
                  <a:lnTo>
                    <a:pt x="536" y="887"/>
                  </a:lnTo>
                  <a:lnTo>
                    <a:pt x="566" y="897"/>
                  </a:lnTo>
                  <a:lnTo>
                    <a:pt x="575" y="878"/>
                  </a:lnTo>
                  <a:lnTo>
                    <a:pt x="566" y="878"/>
                  </a:lnTo>
                  <a:lnTo>
                    <a:pt x="566" y="868"/>
                  </a:lnTo>
                  <a:lnTo>
                    <a:pt x="585" y="848"/>
                  </a:lnTo>
                  <a:lnTo>
                    <a:pt x="595" y="858"/>
                  </a:lnTo>
                  <a:lnTo>
                    <a:pt x="614" y="868"/>
                  </a:lnTo>
                  <a:lnTo>
                    <a:pt x="624" y="858"/>
                  </a:lnTo>
                  <a:lnTo>
                    <a:pt x="644" y="848"/>
                  </a:lnTo>
                  <a:lnTo>
                    <a:pt x="653" y="848"/>
                  </a:lnTo>
                  <a:lnTo>
                    <a:pt x="644" y="848"/>
                  </a:lnTo>
                  <a:lnTo>
                    <a:pt x="644" y="868"/>
                  </a:lnTo>
                  <a:lnTo>
                    <a:pt x="614" y="878"/>
                  </a:lnTo>
                  <a:lnTo>
                    <a:pt x="614" y="887"/>
                  </a:lnTo>
                  <a:lnTo>
                    <a:pt x="605" y="907"/>
                  </a:lnTo>
                  <a:lnTo>
                    <a:pt x="614" y="907"/>
                  </a:lnTo>
                  <a:lnTo>
                    <a:pt x="644" y="917"/>
                  </a:lnTo>
                  <a:lnTo>
                    <a:pt x="653" y="907"/>
                  </a:lnTo>
                  <a:lnTo>
                    <a:pt x="663" y="897"/>
                  </a:lnTo>
                  <a:lnTo>
                    <a:pt x="663" y="887"/>
                  </a:lnTo>
                  <a:lnTo>
                    <a:pt x="663" y="858"/>
                  </a:lnTo>
                  <a:lnTo>
                    <a:pt x="673" y="858"/>
                  </a:lnTo>
                  <a:lnTo>
                    <a:pt x="683" y="858"/>
                  </a:lnTo>
                  <a:lnTo>
                    <a:pt x="702" y="848"/>
                  </a:lnTo>
                  <a:lnTo>
                    <a:pt x="692" y="829"/>
                  </a:lnTo>
                  <a:lnTo>
                    <a:pt x="702" y="819"/>
                  </a:lnTo>
                  <a:lnTo>
                    <a:pt x="692" y="809"/>
                  </a:lnTo>
                  <a:lnTo>
                    <a:pt x="702" y="790"/>
                  </a:lnTo>
                  <a:lnTo>
                    <a:pt x="722" y="790"/>
                  </a:lnTo>
                  <a:lnTo>
                    <a:pt x="731" y="790"/>
                  </a:lnTo>
                  <a:lnTo>
                    <a:pt x="731" y="780"/>
                  </a:lnTo>
                  <a:lnTo>
                    <a:pt x="741" y="770"/>
                  </a:lnTo>
                  <a:lnTo>
                    <a:pt x="741" y="761"/>
                  </a:lnTo>
                  <a:lnTo>
                    <a:pt x="751" y="761"/>
                  </a:lnTo>
                  <a:lnTo>
                    <a:pt x="751" y="751"/>
                  </a:lnTo>
                  <a:lnTo>
                    <a:pt x="770" y="741"/>
                  </a:lnTo>
                  <a:lnTo>
                    <a:pt x="770" y="731"/>
                  </a:lnTo>
                  <a:lnTo>
                    <a:pt x="751" y="712"/>
                  </a:lnTo>
                  <a:lnTo>
                    <a:pt x="731" y="712"/>
                  </a:lnTo>
                  <a:lnTo>
                    <a:pt x="731" y="722"/>
                  </a:lnTo>
                  <a:lnTo>
                    <a:pt x="722" y="722"/>
                  </a:lnTo>
                  <a:lnTo>
                    <a:pt x="712" y="731"/>
                  </a:lnTo>
                  <a:lnTo>
                    <a:pt x="712" y="741"/>
                  </a:lnTo>
                  <a:lnTo>
                    <a:pt x="702" y="751"/>
                  </a:lnTo>
                  <a:lnTo>
                    <a:pt x="692" y="751"/>
                  </a:lnTo>
                  <a:lnTo>
                    <a:pt x="692" y="731"/>
                  </a:lnTo>
                  <a:lnTo>
                    <a:pt x="683" y="731"/>
                  </a:lnTo>
                  <a:lnTo>
                    <a:pt x="673" y="712"/>
                  </a:lnTo>
                  <a:lnTo>
                    <a:pt x="663" y="692"/>
                  </a:lnTo>
                  <a:lnTo>
                    <a:pt x="673" y="683"/>
                  </a:lnTo>
                  <a:lnTo>
                    <a:pt x="663" y="683"/>
                  </a:lnTo>
                  <a:lnTo>
                    <a:pt x="663" y="663"/>
                  </a:lnTo>
                  <a:lnTo>
                    <a:pt x="663" y="644"/>
                  </a:lnTo>
                  <a:lnTo>
                    <a:pt x="653" y="634"/>
                  </a:lnTo>
                  <a:lnTo>
                    <a:pt x="663" y="614"/>
                  </a:lnTo>
                  <a:lnTo>
                    <a:pt x="663" y="595"/>
                  </a:lnTo>
                  <a:lnTo>
                    <a:pt x="663" y="575"/>
                  </a:lnTo>
                  <a:lnTo>
                    <a:pt x="653" y="575"/>
                  </a:lnTo>
                  <a:lnTo>
                    <a:pt x="644" y="556"/>
                  </a:lnTo>
                  <a:lnTo>
                    <a:pt x="644" y="536"/>
                  </a:lnTo>
                  <a:lnTo>
                    <a:pt x="644" y="517"/>
                  </a:lnTo>
                  <a:lnTo>
                    <a:pt x="634" y="497"/>
                  </a:lnTo>
                  <a:lnTo>
                    <a:pt x="624" y="487"/>
                  </a:lnTo>
                  <a:lnTo>
                    <a:pt x="634" y="478"/>
                  </a:lnTo>
                  <a:lnTo>
                    <a:pt x="634" y="458"/>
                  </a:lnTo>
                  <a:lnTo>
                    <a:pt x="634" y="429"/>
                  </a:lnTo>
                  <a:lnTo>
                    <a:pt x="644" y="429"/>
                  </a:lnTo>
                  <a:lnTo>
                    <a:pt x="644" y="419"/>
                  </a:lnTo>
                  <a:lnTo>
                    <a:pt x="663" y="419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73" y="370"/>
                  </a:lnTo>
                  <a:lnTo>
                    <a:pt x="673" y="361"/>
                  </a:lnTo>
                  <a:lnTo>
                    <a:pt x="683" y="351"/>
                  </a:lnTo>
                  <a:lnTo>
                    <a:pt x="692" y="361"/>
                  </a:lnTo>
                  <a:lnTo>
                    <a:pt x="702" y="351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22" y="331"/>
                  </a:lnTo>
                  <a:lnTo>
                    <a:pt x="722" y="312"/>
                  </a:lnTo>
                  <a:lnTo>
                    <a:pt x="731" y="312"/>
                  </a:lnTo>
                  <a:lnTo>
                    <a:pt x="731" y="322"/>
                  </a:lnTo>
                  <a:lnTo>
                    <a:pt x="751" y="341"/>
                  </a:lnTo>
                  <a:lnTo>
                    <a:pt x="761" y="361"/>
                  </a:lnTo>
                  <a:lnTo>
                    <a:pt x="761" y="380"/>
                  </a:lnTo>
                  <a:lnTo>
                    <a:pt x="770" y="380"/>
                  </a:lnTo>
                  <a:lnTo>
                    <a:pt x="790" y="380"/>
                  </a:lnTo>
                  <a:lnTo>
                    <a:pt x="790" y="400"/>
                  </a:lnTo>
                  <a:lnTo>
                    <a:pt x="790" y="380"/>
                  </a:lnTo>
                  <a:lnTo>
                    <a:pt x="800" y="370"/>
                  </a:lnTo>
                  <a:lnTo>
                    <a:pt x="809" y="380"/>
                  </a:lnTo>
                  <a:lnTo>
                    <a:pt x="809" y="390"/>
                  </a:lnTo>
                  <a:lnTo>
                    <a:pt x="829" y="409"/>
                  </a:lnTo>
                  <a:lnTo>
                    <a:pt x="839" y="400"/>
                  </a:lnTo>
                  <a:lnTo>
                    <a:pt x="829" y="390"/>
                  </a:lnTo>
                  <a:lnTo>
                    <a:pt x="839" y="380"/>
                  </a:lnTo>
                  <a:lnTo>
                    <a:pt x="839" y="370"/>
                  </a:lnTo>
                  <a:lnTo>
                    <a:pt x="839" y="361"/>
                  </a:lnTo>
                  <a:lnTo>
                    <a:pt x="829" y="341"/>
                  </a:lnTo>
                  <a:lnTo>
                    <a:pt x="829" y="322"/>
                  </a:lnTo>
                  <a:lnTo>
                    <a:pt x="829" y="302"/>
                  </a:lnTo>
                  <a:lnTo>
                    <a:pt x="829" y="283"/>
                  </a:lnTo>
                  <a:lnTo>
                    <a:pt x="819" y="273"/>
                  </a:lnTo>
                  <a:lnTo>
                    <a:pt x="819" y="263"/>
                  </a:lnTo>
                  <a:lnTo>
                    <a:pt x="819" y="244"/>
                  </a:lnTo>
                  <a:lnTo>
                    <a:pt x="819" y="234"/>
                  </a:lnTo>
                  <a:lnTo>
                    <a:pt x="790" y="224"/>
                  </a:lnTo>
                  <a:lnTo>
                    <a:pt x="790" y="204"/>
                  </a:lnTo>
                  <a:lnTo>
                    <a:pt x="770" y="204"/>
                  </a:lnTo>
                  <a:lnTo>
                    <a:pt x="770" y="195"/>
                  </a:lnTo>
                  <a:lnTo>
                    <a:pt x="761" y="175"/>
                  </a:lnTo>
                  <a:lnTo>
                    <a:pt x="741" y="165"/>
                  </a:lnTo>
                  <a:lnTo>
                    <a:pt x="731" y="146"/>
                  </a:lnTo>
                  <a:lnTo>
                    <a:pt x="692" y="146"/>
                  </a:lnTo>
                  <a:lnTo>
                    <a:pt x="683" y="146"/>
                  </a:lnTo>
                  <a:lnTo>
                    <a:pt x="683" y="117"/>
                  </a:lnTo>
                  <a:lnTo>
                    <a:pt x="663" y="117"/>
                  </a:lnTo>
                  <a:lnTo>
                    <a:pt x="663" y="107"/>
                  </a:lnTo>
                  <a:lnTo>
                    <a:pt x="663" y="87"/>
                  </a:lnTo>
                  <a:lnTo>
                    <a:pt x="653" y="78"/>
                  </a:lnTo>
                  <a:lnTo>
                    <a:pt x="644" y="68"/>
                  </a:lnTo>
                  <a:lnTo>
                    <a:pt x="634" y="78"/>
                  </a:lnTo>
                  <a:lnTo>
                    <a:pt x="614" y="78"/>
                  </a:lnTo>
                  <a:lnTo>
                    <a:pt x="614" y="68"/>
                  </a:lnTo>
                  <a:lnTo>
                    <a:pt x="614" y="58"/>
                  </a:lnTo>
                  <a:lnTo>
                    <a:pt x="595" y="48"/>
                  </a:lnTo>
                  <a:lnTo>
                    <a:pt x="585" y="39"/>
                  </a:lnTo>
                  <a:lnTo>
                    <a:pt x="585" y="29"/>
                  </a:lnTo>
                  <a:lnTo>
                    <a:pt x="585" y="19"/>
                  </a:lnTo>
                  <a:lnTo>
                    <a:pt x="566" y="19"/>
                  </a:lnTo>
                  <a:lnTo>
                    <a:pt x="556" y="0"/>
                  </a:lnTo>
                  <a:lnTo>
                    <a:pt x="527" y="0"/>
                  </a:lnTo>
                  <a:lnTo>
                    <a:pt x="507" y="9"/>
                  </a:lnTo>
                  <a:lnTo>
                    <a:pt x="488" y="29"/>
                  </a:lnTo>
                  <a:lnTo>
                    <a:pt x="468" y="29"/>
                  </a:lnTo>
                  <a:lnTo>
                    <a:pt x="439" y="39"/>
                  </a:lnTo>
                  <a:lnTo>
                    <a:pt x="439" y="48"/>
                  </a:lnTo>
                  <a:lnTo>
                    <a:pt x="429" y="68"/>
                  </a:lnTo>
                  <a:lnTo>
                    <a:pt x="409" y="68"/>
                  </a:lnTo>
                  <a:lnTo>
                    <a:pt x="400" y="68"/>
                  </a:lnTo>
                  <a:lnTo>
                    <a:pt x="390" y="68"/>
                  </a:lnTo>
                  <a:lnTo>
                    <a:pt x="370" y="68"/>
                  </a:lnTo>
                  <a:lnTo>
                    <a:pt x="351" y="68"/>
                  </a:lnTo>
                  <a:lnTo>
                    <a:pt x="351" y="78"/>
                  </a:lnTo>
                  <a:lnTo>
                    <a:pt x="322" y="78"/>
                  </a:lnTo>
                  <a:lnTo>
                    <a:pt x="302" y="68"/>
                  </a:lnTo>
                  <a:lnTo>
                    <a:pt x="292" y="48"/>
                  </a:lnTo>
                  <a:lnTo>
                    <a:pt x="253" y="4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31" name="Group 86"/>
            <p:cNvGrpSpPr>
              <a:grpSpLocks/>
            </p:cNvGrpSpPr>
            <p:nvPr/>
          </p:nvGrpSpPr>
          <p:grpSpPr bwMode="auto">
            <a:xfrm>
              <a:off x="7549" y="1220"/>
              <a:ext cx="839" cy="1044"/>
              <a:chOff x="7550" y="1220"/>
              <a:chExt cx="839" cy="1044"/>
            </a:xfrm>
          </p:grpSpPr>
          <p:sp>
            <p:nvSpPr>
              <p:cNvPr id="302" name="Freeform 88"/>
              <p:cNvSpPr>
                <a:spLocks/>
              </p:cNvSpPr>
              <p:nvPr/>
            </p:nvSpPr>
            <p:spPr bwMode="auto">
              <a:xfrm>
                <a:off x="7550" y="1220"/>
                <a:ext cx="839" cy="1048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  <a:lnTo>
                      <a:pt x="253" y="48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3" name="Freeform 87"/>
              <p:cNvSpPr>
                <a:spLocks/>
              </p:cNvSpPr>
              <p:nvPr/>
            </p:nvSpPr>
            <p:spPr bwMode="auto">
              <a:xfrm>
                <a:off x="7550" y="1220"/>
                <a:ext cx="839" cy="1048"/>
              </a:xfrm>
              <a:custGeom>
                <a:avLst/>
                <a:gdLst>
                  <a:gd name="T0" fmla="*/ 214 w 839"/>
                  <a:gd name="T1" fmla="*/ 126 h 1044"/>
                  <a:gd name="T2" fmla="*/ 156 w 839"/>
                  <a:gd name="T3" fmla="*/ 175 h 1044"/>
                  <a:gd name="T4" fmla="*/ 156 w 839"/>
                  <a:gd name="T5" fmla="*/ 224 h 1044"/>
                  <a:gd name="T6" fmla="*/ 175 w 839"/>
                  <a:gd name="T7" fmla="*/ 283 h 1044"/>
                  <a:gd name="T8" fmla="*/ 166 w 839"/>
                  <a:gd name="T9" fmla="*/ 361 h 1044"/>
                  <a:gd name="T10" fmla="*/ 214 w 839"/>
                  <a:gd name="T11" fmla="*/ 429 h 1044"/>
                  <a:gd name="T12" fmla="*/ 166 w 839"/>
                  <a:gd name="T13" fmla="*/ 497 h 1044"/>
                  <a:gd name="T14" fmla="*/ 107 w 839"/>
                  <a:gd name="T15" fmla="*/ 497 h 1044"/>
                  <a:gd name="T16" fmla="*/ 58 w 839"/>
                  <a:gd name="T17" fmla="*/ 536 h 1044"/>
                  <a:gd name="T18" fmla="*/ 88 w 839"/>
                  <a:gd name="T19" fmla="*/ 585 h 1044"/>
                  <a:gd name="T20" fmla="*/ 49 w 839"/>
                  <a:gd name="T21" fmla="*/ 595 h 1044"/>
                  <a:gd name="T22" fmla="*/ 10 w 839"/>
                  <a:gd name="T23" fmla="*/ 653 h 1044"/>
                  <a:gd name="T24" fmla="*/ 39 w 839"/>
                  <a:gd name="T25" fmla="*/ 751 h 1044"/>
                  <a:gd name="T26" fmla="*/ 78 w 839"/>
                  <a:gd name="T27" fmla="*/ 829 h 1044"/>
                  <a:gd name="T28" fmla="*/ 205 w 839"/>
                  <a:gd name="T29" fmla="*/ 848 h 1044"/>
                  <a:gd name="T30" fmla="*/ 263 w 839"/>
                  <a:gd name="T31" fmla="*/ 946 h 1044"/>
                  <a:gd name="T32" fmla="*/ 263 w 839"/>
                  <a:gd name="T33" fmla="*/ 1014 h 1044"/>
                  <a:gd name="T34" fmla="*/ 312 w 839"/>
                  <a:gd name="T35" fmla="*/ 985 h 1044"/>
                  <a:gd name="T36" fmla="*/ 370 w 839"/>
                  <a:gd name="T37" fmla="*/ 1005 h 1044"/>
                  <a:gd name="T38" fmla="*/ 409 w 839"/>
                  <a:gd name="T39" fmla="*/ 1034 h 1044"/>
                  <a:gd name="T40" fmla="*/ 439 w 839"/>
                  <a:gd name="T41" fmla="*/ 1005 h 1044"/>
                  <a:gd name="T42" fmla="*/ 488 w 839"/>
                  <a:gd name="T43" fmla="*/ 985 h 1044"/>
                  <a:gd name="T44" fmla="*/ 488 w 839"/>
                  <a:gd name="T45" fmla="*/ 966 h 1044"/>
                  <a:gd name="T46" fmla="*/ 488 w 839"/>
                  <a:gd name="T47" fmla="*/ 907 h 1044"/>
                  <a:gd name="T48" fmla="*/ 566 w 839"/>
                  <a:gd name="T49" fmla="*/ 897 h 1044"/>
                  <a:gd name="T50" fmla="*/ 595 w 839"/>
                  <a:gd name="T51" fmla="*/ 858 h 1044"/>
                  <a:gd name="T52" fmla="*/ 644 w 839"/>
                  <a:gd name="T53" fmla="*/ 848 h 1044"/>
                  <a:gd name="T54" fmla="*/ 614 w 839"/>
                  <a:gd name="T55" fmla="*/ 907 h 1044"/>
                  <a:gd name="T56" fmla="*/ 663 w 839"/>
                  <a:gd name="T57" fmla="*/ 858 h 1044"/>
                  <a:gd name="T58" fmla="*/ 692 w 839"/>
                  <a:gd name="T59" fmla="*/ 829 h 1044"/>
                  <a:gd name="T60" fmla="*/ 731 w 839"/>
                  <a:gd name="T61" fmla="*/ 790 h 1044"/>
                  <a:gd name="T62" fmla="*/ 751 w 839"/>
                  <a:gd name="T63" fmla="*/ 751 h 1044"/>
                  <a:gd name="T64" fmla="*/ 731 w 839"/>
                  <a:gd name="T65" fmla="*/ 722 h 1044"/>
                  <a:gd name="T66" fmla="*/ 692 w 839"/>
                  <a:gd name="T67" fmla="*/ 751 h 1044"/>
                  <a:gd name="T68" fmla="*/ 663 w 839"/>
                  <a:gd name="T69" fmla="*/ 692 h 1044"/>
                  <a:gd name="T70" fmla="*/ 653 w 839"/>
                  <a:gd name="T71" fmla="*/ 634 h 1044"/>
                  <a:gd name="T72" fmla="*/ 653 w 839"/>
                  <a:gd name="T73" fmla="*/ 575 h 1044"/>
                  <a:gd name="T74" fmla="*/ 624 w 839"/>
                  <a:gd name="T75" fmla="*/ 487 h 1044"/>
                  <a:gd name="T76" fmla="*/ 644 w 839"/>
                  <a:gd name="T77" fmla="*/ 419 h 1044"/>
                  <a:gd name="T78" fmla="*/ 673 w 839"/>
                  <a:gd name="T79" fmla="*/ 361 h 1044"/>
                  <a:gd name="T80" fmla="*/ 722 w 839"/>
                  <a:gd name="T81" fmla="*/ 351 h 1044"/>
                  <a:gd name="T82" fmla="*/ 751 w 839"/>
                  <a:gd name="T83" fmla="*/ 341 h 1044"/>
                  <a:gd name="T84" fmla="*/ 780 w 839"/>
                  <a:gd name="T85" fmla="*/ 400 h 1044"/>
                  <a:gd name="T86" fmla="*/ 809 w 839"/>
                  <a:gd name="T87" fmla="*/ 390 h 1044"/>
                  <a:gd name="T88" fmla="*/ 839 w 839"/>
                  <a:gd name="T89" fmla="*/ 370 h 1044"/>
                  <a:gd name="T90" fmla="*/ 829 w 839"/>
                  <a:gd name="T91" fmla="*/ 302 h 1044"/>
                  <a:gd name="T92" fmla="*/ 819 w 839"/>
                  <a:gd name="T93" fmla="*/ 244 h 1044"/>
                  <a:gd name="T94" fmla="*/ 770 w 839"/>
                  <a:gd name="T95" fmla="*/ 204 h 1044"/>
                  <a:gd name="T96" fmla="*/ 692 w 839"/>
                  <a:gd name="T97" fmla="*/ 146 h 1044"/>
                  <a:gd name="T98" fmla="*/ 663 w 839"/>
                  <a:gd name="T99" fmla="*/ 87 h 1044"/>
                  <a:gd name="T100" fmla="*/ 614 w 839"/>
                  <a:gd name="T101" fmla="*/ 68 h 1044"/>
                  <a:gd name="T102" fmla="*/ 585 w 839"/>
                  <a:gd name="T103" fmla="*/ 19 h 1044"/>
                  <a:gd name="T104" fmla="*/ 488 w 839"/>
                  <a:gd name="T105" fmla="*/ 29 h 1044"/>
                  <a:gd name="T106" fmla="*/ 409 w 839"/>
                  <a:gd name="T107" fmla="*/ 68 h 1044"/>
                  <a:gd name="T108" fmla="*/ 341 w 839"/>
                  <a:gd name="T109" fmla="*/ 78 h 104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9"/>
                  <a:gd name="T166" fmla="*/ 0 h 1044"/>
                  <a:gd name="T167" fmla="*/ 839 w 839"/>
                  <a:gd name="T168" fmla="*/ 1044 h 104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9" h="1044">
                    <a:moveTo>
                      <a:pt x="253" y="48"/>
                    </a:moveTo>
                    <a:lnTo>
                      <a:pt x="263" y="68"/>
                    </a:lnTo>
                    <a:lnTo>
                      <a:pt x="253" y="87"/>
                    </a:lnTo>
                    <a:lnTo>
                      <a:pt x="253" y="126"/>
                    </a:lnTo>
                    <a:lnTo>
                      <a:pt x="214" y="126"/>
                    </a:lnTo>
                    <a:lnTo>
                      <a:pt x="205" y="136"/>
                    </a:lnTo>
                    <a:lnTo>
                      <a:pt x="205" y="146"/>
                    </a:lnTo>
                    <a:lnTo>
                      <a:pt x="195" y="156"/>
                    </a:lnTo>
                    <a:lnTo>
                      <a:pt x="175" y="175"/>
                    </a:lnTo>
                    <a:lnTo>
                      <a:pt x="156" y="175"/>
                    </a:lnTo>
                    <a:lnTo>
                      <a:pt x="156" y="195"/>
                    </a:lnTo>
                    <a:lnTo>
                      <a:pt x="136" y="195"/>
                    </a:lnTo>
                    <a:lnTo>
                      <a:pt x="136" y="204"/>
                    </a:lnTo>
                    <a:lnTo>
                      <a:pt x="146" y="214"/>
                    </a:lnTo>
                    <a:lnTo>
                      <a:pt x="156" y="224"/>
                    </a:lnTo>
                    <a:lnTo>
                      <a:pt x="156" y="244"/>
                    </a:lnTo>
                    <a:lnTo>
                      <a:pt x="146" y="244"/>
                    </a:lnTo>
                    <a:lnTo>
                      <a:pt x="136" y="263"/>
                    </a:lnTo>
                    <a:lnTo>
                      <a:pt x="166" y="283"/>
                    </a:lnTo>
                    <a:lnTo>
                      <a:pt x="175" y="283"/>
                    </a:lnTo>
                    <a:lnTo>
                      <a:pt x="175" y="302"/>
                    </a:lnTo>
                    <a:lnTo>
                      <a:pt x="166" y="312"/>
                    </a:lnTo>
                    <a:lnTo>
                      <a:pt x="156" y="322"/>
                    </a:lnTo>
                    <a:lnTo>
                      <a:pt x="156" y="341"/>
                    </a:lnTo>
                    <a:lnTo>
                      <a:pt x="166" y="361"/>
                    </a:lnTo>
                    <a:lnTo>
                      <a:pt x="195" y="370"/>
                    </a:lnTo>
                    <a:lnTo>
                      <a:pt x="205" y="380"/>
                    </a:lnTo>
                    <a:lnTo>
                      <a:pt x="205" y="409"/>
                    </a:lnTo>
                    <a:lnTo>
                      <a:pt x="214" y="419"/>
                    </a:lnTo>
                    <a:lnTo>
                      <a:pt x="214" y="429"/>
                    </a:lnTo>
                    <a:lnTo>
                      <a:pt x="195" y="429"/>
                    </a:lnTo>
                    <a:lnTo>
                      <a:pt x="185" y="478"/>
                    </a:lnTo>
                    <a:lnTo>
                      <a:pt x="175" y="478"/>
                    </a:lnTo>
                    <a:lnTo>
                      <a:pt x="166" y="487"/>
                    </a:lnTo>
                    <a:lnTo>
                      <a:pt x="166" y="497"/>
                    </a:lnTo>
                    <a:lnTo>
                      <a:pt x="156" y="517"/>
                    </a:lnTo>
                    <a:lnTo>
                      <a:pt x="136" y="507"/>
                    </a:lnTo>
                    <a:lnTo>
                      <a:pt x="136" y="497"/>
                    </a:lnTo>
                    <a:lnTo>
                      <a:pt x="117" y="497"/>
                    </a:lnTo>
                    <a:lnTo>
                      <a:pt x="107" y="497"/>
                    </a:lnTo>
                    <a:lnTo>
                      <a:pt x="107" y="517"/>
                    </a:lnTo>
                    <a:lnTo>
                      <a:pt x="97" y="526"/>
                    </a:lnTo>
                    <a:lnTo>
                      <a:pt x="88" y="526"/>
                    </a:lnTo>
                    <a:lnTo>
                      <a:pt x="78" y="536"/>
                    </a:lnTo>
                    <a:lnTo>
                      <a:pt x="58" y="536"/>
                    </a:lnTo>
                    <a:lnTo>
                      <a:pt x="49" y="536"/>
                    </a:lnTo>
                    <a:lnTo>
                      <a:pt x="49" y="546"/>
                    </a:lnTo>
                    <a:lnTo>
                      <a:pt x="58" y="556"/>
                    </a:lnTo>
                    <a:lnTo>
                      <a:pt x="78" y="556"/>
                    </a:lnTo>
                    <a:lnTo>
                      <a:pt x="88" y="585"/>
                    </a:lnTo>
                    <a:lnTo>
                      <a:pt x="88" y="595"/>
                    </a:lnTo>
                    <a:lnTo>
                      <a:pt x="78" y="605"/>
                    </a:lnTo>
                    <a:lnTo>
                      <a:pt x="68" y="605"/>
                    </a:lnTo>
                    <a:lnTo>
                      <a:pt x="58" y="595"/>
                    </a:lnTo>
                    <a:lnTo>
                      <a:pt x="49" y="595"/>
                    </a:lnTo>
                    <a:lnTo>
                      <a:pt x="49" y="614"/>
                    </a:lnTo>
                    <a:lnTo>
                      <a:pt x="29" y="614"/>
                    </a:lnTo>
                    <a:lnTo>
                      <a:pt x="10" y="624"/>
                    </a:lnTo>
                    <a:lnTo>
                      <a:pt x="0" y="634"/>
                    </a:lnTo>
                    <a:lnTo>
                      <a:pt x="10" y="653"/>
                    </a:lnTo>
                    <a:lnTo>
                      <a:pt x="19" y="663"/>
                    </a:lnTo>
                    <a:lnTo>
                      <a:pt x="10" y="683"/>
                    </a:lnTo>
                    <a:lnTo>
                      <a:pt x="0" y="692"/>
                    </a:lnTo>
                    <a:lnTo>
                      <a:pt x="19" y="712"/>
                    </a:lnTo>
                    <a:lnTo>
                      <a:pt x="39" y="751"/>
                    </a:lnTo>
                    <a:lnTo>
                      <a:pt x="49" y="770"/>
                    </a:lnTo>
                    <a:lnTo>
                      <a:pt x="58" y="780"/>
                    </a:lnTo>
                    <a:lnTo>
                      <a:pt x="58" y="790"/>
                    </a:lnTo>
                    <a:lnTo>
                      <a:pt x="88" y="809"/>
                    </a:lnTo>
                    <a:lnTo>
                      <a:pt x="78" y="829"/>
                    </a:lnTo>
                    <a:lnTo>
                      <a:pt x="97" y="839"/>
                    </a:lnTo>
                    <a:lnTo>
                      <a:pt x="97" y="868"/>
                    </a:lnTo>
                    <a:lnTo>
                      <a:pt x="136" y="848"/>
                    </a:lnTo>
                    <a:lnTo>
                      <a:pt x="146" y="839"/>
                    </a:lnTo>
                    <a:lnTo>
                      <a:pt x="205" y="848"/>
                    </a:lnTo>
                    <a:lnTo>
                      <a:pt x="234" y="878"/>
                    </a:lnTo>
                    <a:lnTo>
                      <a:pt x="263" y="897"/>
                    </a:lnTo>
                    <a:lnTo>
                      <a:pt x="253" y="917"/>
                    </a:lnTo>
                    <a:lnTo>
                      <a:pt x="263" y="926"/>
                    </a:lnTo>
                    <a:lnTo>
                      <a:pt x="263" y="946"/>
                    </a:lnTo>
                    <a:lnTo>
                      <a:pt x="244" y="956"/>
                    </a:lnTo>
                    <a:lnTo>
                      <a:pt x="244" y="985"/>
                    </a:lnTo>
                    <a:lnTo>
                      <a:pt x="253" y="995"/>
                    </a:lnTo>
                    <a:lnTo>
                      <a:pt x="263" y="995"/>
                    </a:lnTo>
                    <a:lnTo>
                      <a:pt x="263" y="1014"/>
                    </a:lnTo>
                    <a:lnTo>
                      <a:pt x="273" y="1014"/>
                    </a:lnTo>
                    <a:lnTo>
                      <a:pt x="292" y="1005"/>
                    </a:lnTo>
                    <a:lnTo>
                      <a:pt x="302" y="1005"/>
                    </a:lnTo>
                    <a:lnTo>
                      <a:pt x="302" y="985"/>
                    </a:lnTo>
                    <a:lnTo>
                      <a:pt x="312" y="985"/>
                    </a:lnTo>
                    <a:lnTo>
                      <a:pt x="322" y="995"/>
                    </a:lnTo>
                    <a:lnTo>
                      <a:pt x="331" y="995"/>
                    </a:lnTo>
                    <a:lnTo>
                      <a:pt x="351" y="995"/>
                    </a:lnTo>
                    <a:lnTo>
                      <a:pt x="361" y="985"/>
                    </a:lnTo>
                    <a:lnTo>
                      <a:pt x="370" y="1005"/>
                    </a:lnTo>
                    <a:lnTo>
                      <a:pt x="380" y="1014"/>
                    </a:lnTo>
                    <a:lnTo>
                      <a:pt x="390" y="1024"/>
                    </a:lnTo>
                    <a:lnTo>
                      <a:pt x="390" y="1044"/>
                    </a:lnTo>
                    <a:lnTo>
                      <a:pt x="409" y="1034"/>
                    </a:lnTo>
                    <a:lnTo>
                      <a:pt x="419" y="1034"/>
                    </a:lnTo>
                    <a:lnTo>
                      <a:pt x="439" y="1034"/>
                    </a:lnTo>
                    <a:lnTo>
                      <a:pt x="439" y="1024"/>
                    </a:lnTo>
                    <a:lnTo>
                      <a:pt x="439" y="1014"/>
                    </a:lnTo>
                    <a:lnTo>
                      <a:pt x="439" y="1005"/>
                    </a:lnTo>
                    <a:lnTo>
                      <a:pt x="448" y="995"/>
                    </a:lnTo>
                    <a:lnTo>
                      <a:pt x="458" y="985"/>
                    </a:lnTo>
                    <a:lnTo>
                      <a:pt x="468" y="995"/>
                    </a:lnTo>
                    <a:lnTo>
                      <a:pt x="488" y="985"/>
                    </a:lnTo>
                    <a:lnTo>
                      <a:pt x="497" y="975"/>
                    </a:lnTo>
                    <a:lnTo>
                      <a:pt x="488" y="966"/>
                    </a:lnTo>
                    <a:lnTo>
                      <a:pt x="478" y="966"/>
                    </a:lnTo>
                    <a:lnTo>
                      <a:pt x="478" y="956"/>
                    </a:lnTo>
                    <a:lnTo>
                      <a:pt x="488" y="966"/>
                    </a:lnTo>
                    <a:lnTo>
                      <a:pt x="488" y="946"/>
                    </a:lnTo>
                    <a:lnTo>
                      <a:pt x="478" y="946"/>
                    </a:lnTo>
                    <a:lnTo>
                      <a:pt x="478" y="917"/>
                    </a:lnTo>
                    <a:lnTo>
                      <a:pt x="488" y="907"/>
                    </a:lnTo>
                    <a:lnTo>
                      <a:pt x="497" y="907"/>
                    </a:lnTo>
                    <a:lnTo>
                      <a:pt x="517" y="897"/>
                    </a:lnTo>
                    <a:lnTo>
                      <a:pt x="527" y="887"/>
                    </a:lnTo>
                    <a:lnTo>
                      <a:pt x="536" y="887"/>
                    </a:lnTo>
                    <a:lnTo>
                      <a:pt x="566" y="897"/>
                    </a:lnTo>
                    <a:lnTo>
                      <a:pt x="575" y="878"/>
                    </a:lnTo>
                    <a:lnTo>
                      <a:pt x="566" y="878"/>
                    </a:lnTo>
                    <a:lnTo>
                      <a:pt x="566" y="868"/>
                    </a:lnTo>
                    <a:lnTo>
                      <a:pt x="585" y="848"/>
                    </a:lnTo>
                    <a:lnTo>
                      <a:pt x="595" y="858"/>
                    </a:lnTo>
                    <a:lnTo>
                      <a:pt x="614" y="868"/>
                    </a:lnTo>
                    <a:lnTo>
                      <a:pt x="624" y="858"/>
                    </a:lnTo>
                    <a:lnTo>
                      <a:pt x="644" y="848"/>
                    </a:lnTo>
                    <a:lnTo>
                      <a:pt x="653" y="848"/>
                    </a:lnTo>
                    <a:lnTo>
                      <a:pt x="644" y="848"/>
                    </a:lnTo>
                    <a:lnTo>
                      <a:pt x="644" y="868"/>
                    </a:lnTo>
                    <a:lnTo>
                      <a:pt x="614" y="878"/>
                    </a:lnTo>
                    <a:lnTo>
                      <a:pt x="614" y="887"/>
                    </a:lnTo>
                    <a:lnTo>
                      <a:pt x="605" y="907"/>
                    </a:lnTo>
                    <a:lnTo>
                      <a:pt x="614" y="907"/>
                    </a:lnTo>
                    <a:lnTo>
                      <a:pt x="634" y="917"/>
                    </a:lnTo>
                    <a:lnTo>
                      <a:pt x="653" y="907"/>
                    </a:lnTo>
                    <a:lnTo>
                      <a:pt x="663" y="897"/>
                    </a:lnTo>
                    <a:lnTo>
                      <a:pt x="663" y="887"/>
                    </a:lnTo>
                    <a:lnTo>
                      <a:pt x="663" y="858"/>
                    </a:lnTo>
                    <a:lnTo>
                      <a:pt x="673" y="858"/>
                    </a:lnTo>
                    <a:lnTo>
                      <a:pt x="683" y="858"/>
                    </a:lnTo>
                    <a:lnTo>
                      <a:pt x="702" y="848"/>
                    </a:lnTo>
                    <a:lnTo>
                      <a:pt x="692" y="829"/>
                    </a:lnTo>
                    <a:lnTo>
                      <a:pt x="702" y="819"/>
                    </a:lnTo>
                    <a:lnTo>
                      <a:pt x="692" y="809"/>
                    </a:lnTo>
                    <a:lnTo>
                      <a:pt x="702" y="790"/>
                    </a:lnTo>
                    <a:lnTo>
                      <a:pt x="722" y="790"/>
                    </a:lnTo>
                    <a:lnTo>
                      <a:pt x="731" y="790"/>
                    </a:lnTo>
                    <a:lnTo>
                      <a:pt x="731" y="780"/>
                    </a:lnTo>
                    <a:lnTo>
                      <a:pt x="741" y="770"/>
                    </a:lnTo>
                    <a:lnTo>
                      <a:pt x="741" y="761"/>
                    </a:lnTo>
                    <a:lnTo>
                      <a:pt x="751" y="761"/>
                    </a:lnTo>
                    <a:lnTo>
                      <a:pt x="751" y="751"/>
                    </a:lnTo>
                    <a:lnTo>
                      <a:pt x="770" y="741"/>
                    </a:lnTo>
                    <a:lnTo>
                      <a:pt x="770" y="731"/>
                    </a:lnTo>
                    <a:lnTo>
                      <a:pt x="751" y="712"/>
                    </a:lnTo>
                    <a:lnTo>
                      <a:pt x="731" y="712"/>
                    </a:lnTo>
                    <a:lnTo>
                      <a:pt x="731" y="722"/>
                    </a:lnTo>
                    <a:lnTo>
                      <a:pt x="722" y="722"/>
                    </a:lnTo>
                    <a:lnTo>
                      <a:pt x="712" y="731"/>
                    </a:lnTo>
                    <a:lnTo>
                      <a:pt x="712" y="741"/>
                    </a:lnTo>
                    <a:lnTo>
                      <a:pt x="702" y="751"/>
                    </a:lnTo>
                    <a:lnTo>
                      <a:pt x="692" y="751"/>
                    </a:lnTo>
                    <a:lnTo>
                      <a:pt x="692" y="731"/>
                    </a:lnTo>
                    <a:lnTo>
                      <a:pt x="683" y="731"/>
                    </a:lnTo>
                    <a:lnTo>
                      <a:pt x="673" y="712"/>
                    </a:lnTo>
                    <a:lnTo>
                      <a:pt x="663" y="692"/>
                    </a:lnTo>
                    <a:lnTo>
                      <a:pt x="673" y="692"/>
                    </a:lnTo>
                    <a:lnTo>
                      <a:pt x="663" y="683"/>
                    </a:lnTo>
                    <a:lnTo>
                      <a:pt x="663" y="663"/>
                    </a:lnTo>
                    <a:lnTo>
                      <a:pt x="663" y="644"/>
                    </a:lnTo>
                    <a:lnTo>
                      <a:pt x="653" y="634"/>
                    </a:lnTo>
                    <a:lnTo>
                      <a:pt x="663" y="614"/>
                    </a:lnTo>
                    <a:lnTo>
                      <a:pt x="663" y="595"/>
                    </a:lnTo>
                    <a:lnTo>
                      <a:pt x="663" y="575"/>
                    </a:lnTo>
                    <a:lnTo>
                      <a:pt x="653" y="575"/>
                    </a:lnTo>
                    <a:lnTo>
                      <a:pt x="644" y="556"/>
                    </a:lnTo>
                    <a:lnTo>
                      <a:pt x="644" y="536"/>
                    </a:lnTo>
                    <a:lnTo>
                      <a:pt x="644" y="517"/>
                    </a:lnTo>
                    <a:lnTo>
                      <a:pt x="634" y="497"/>
                    </a:lnTo>
                    <a:lnTo>
                      <a:pt x="624" y="487"/>
                    </a:lnTo>
                    <a:lnTo>
                      <a:pt x="634" y="478"/>
                    </a:lnTo>
                    <a:lnTo>
                      <a:pt x="634" y="458"/>
                    </a:lnTo>
                    <a:lnTo>
                      <a:pt x="634" y="439"/>
                    </a:lnTo>
                    <a:lnTo>
                      <a:pt x="634" y="429"/>
                    </a:lnTo>
                    <a:lnTo>
                      <a:pt x="644" y="419"/>
                    </a:lnTo>
                    <a:lnTo>
                      <a:pt x="663" y="419"/>
                    </a:lnTo>
                    <a:lnTo>
                      <a:pt x="663" y="400"/>
                    </a:lnTo>
                    <a:lnTo>
                      <a:pt x="663" y="390"/>
                    </a:lnTo>
                    <a:lnTo>
                      <a:pt x="673" y="370"/>
                    </a:lnTo>
                    <a:lnTo>
                      <a:pt x="673" y="361"/>
                    </a:lnTo>
                    <a:lnTo>
                      <a:pt x="683" y="351"/>
                    </a:lnTo>
                    <a:lnTo>
                      <a:pt x="692" y="361"/>
                    </a:lnTo>
                    <a:lnTo>
                      <a:pt x="702" y="351"/>
                    </a:lnTo>
                    <a:lnTo>
                      <a:pt x="712" y="361"/>
                    </a:lnTo>
                    <a:lnTo>
                      <a:pt x="722" y="351"/>
                    </a:lnTo>
                    <a:lnTo>
                      <a:pt x="722" y="331"/>
                    </a:lnTo>
                    <a:lnTo>
                      <a:pt x="722" y="312"/>
                    </a:lnTo>
                    <a:lnTo>
                      <a:pt x="731" y="312"/>
                    </a:lnTo>
                    <a:lnTo>
                      <a:pt x="731" y="322"/>
                    </a:lnTo>
                    <a:lnTo>
                      <a:pt x="751" y="341"/>
                    </a:lnTo>
                    <a:lnTo>
                      <a:pt x="761" y="361"/>
                    </a:lnTo>
                    <a:lnTo>
                      <a:pt x="761" y="380"/>
                    </a:lnTo>
                    <a:lnTo>
                      <a:pt x="770" y="380"/>
                    </a:lnTo>
                    <a:lnTo>
                      <a:pt x="780" y="380"/>
                    </a:lnTo>
                    <a:lnTo>
                      <a:pt x="780" y="400"/>
                    </a:lnTo>
                    <a:lnTo>
                      <a:pt x="790" y="400"/>
                    </a:lnTo>
                    <a:lnTo>
                      <a:pt x="790" y="380"/>
                    </a:lnTo>
                    <a:lnTo>
                      <a:pt x="800" y="370"/>
                    </a:lnTo>
                    <a:lnTo>
                      <a:pt x="809" y="380"/>
                    </a:lnTo>
                    <a:lnTo>
                      <a:pt x="809" y="390"/>
                    </a:lnTo>
                    <a:lnTo>
                      <a:pt x="829" y="409"/>
                    </a:lnTo>
                    <a:lnTo>
                      <a:pt x="839" y="400"/>
                    </a:lnTo>
                    <a:lnTo>
                      <a:pt x="829" y="390"/>
                    </a:lnTo>
                    <a:lnTo>
                      <a:pt x="839" y="380"/>
                    </a:lnTo>
                    <a:lnTo>
                      <a:pt x="839" y="370"/>
                    </a:lnTo>
                    <a:lnTo>
                      <a:pt x="839" y="361"/>
                    </a:lnTo>
                    <a:lnTo>
                      <a:pt x="829" y="341"/>
                    </a:lnTo>
                    <a:lnTo>
                      <a:pt x="829" y="322"/>
                    </a:lnTo>
                    <a:lnTo>
                      <a:pt x="829" y="302"/>
                    </a:lnTo>
                    <a:lnTo>
                      <a:pt x="829" y="283"/>
                    </a:lnTo>
                    <a:lnTo>
                      <a:pt x="819" y="273"/>
                    </a:lnTo>
                    <a:lnTo>
                      <a:pt x="819" y="263"/>
                    </a:lnTo>
                    <a:lnTo>
                      <a:pt x="819" y="244"/>
                    </a:lnTo>
                    <a:lnTo>
                      <a:pt x="790" y="224"/>
                    </a:lnTo>
                    <a:lnTo>
                      <a:pt x="790" y="204"/>
                    </a:lnTo>
                    <a:lnTo>
                      <a:pt x="780" y="204"/>
                    </a:lnTo>
                    <a:lnTo>
                      <a:pt x="770" y="204"/>
                    </a:lnTo>
                    <a:lnTo>
                      <a:pt x="770" y="195"/>
                    </a:lnTo>
                    <a:lnTo>
                      <a:pt x="761" y="185"/>
                    </a:lnTo>
                    <a:lnTo>
                      <a:pt x="741" y="165"/>
                    </a:lnTo>
                    <a:lnTo>
                      <a:pt x="731" y="146"/>
                    </a:lnTo>
                    <a:lnTo>
                      <a:pt x="692" y="146"/>
                    </a:lnTo>
                    <a:lnTo>
                      <a:pt x="683" y="146"/>
                    </a:lnTo>
                    <a:lnTo>
                      <a:pt x="683" y="117"/>
                    </a:lnTo>
                    <a:lnTo>
                      <a:pt x="663" y="117"/>
                    </a:lnTo>
                    <a:lnTo>
                      <a:pt x="663" y="107"/>
                    </a:lnTo>
                    <a:lnTo>
                      <a:pt x="663" y="87"/>
                    </a:lnTo>
                    <a:lnTo>
                      <a:pt x="653" y="78"/>
                    </a:lnTo>
                    <a:lnTo>
                      <a:pt x="644" y="68"/>
                    </a:lnTo>
                    <a:lnTo>
                      <a:pt x="634" y="78"/>
                    </a:lnTo>
                    <a:lnTo>
                      <a:pt x="614" y="78"/>
                    </a:lnTo>
                    <a:lnTo>
                      <a:pt x="614" y="68"/>
                    </a:lnTo>
                    <a:lnTo>
                      <a:pt x="614" y="58"/>
                    </a:lnTo>
                    <a:lnTo>
                      <a:pt x="595" y="48"/>
                    </a:lnTo>
                    <a:lnTo>
                      <a:pt x="585" y="48"/>
                    </a:lnTo>
                    <a:lnTo>
                      <a:pt x="585" y="29"/>
                    </a:lnTo>
                    <a:lnTo>
                      <a:pt x="585" y="19"/>
                    </a:lnTo>
                    <a:lnTo>
                      <a:pt x="566" y="19"/>
                    </a:lnTo>
                    <a:lnTo>
                      <a:pt x="556" y="0"/>
                    </a:lnTo>
                    <a:lnTo>
                      <a:pt x="527" y="0"/>
                    </a:lnTo>
                    <a:lnTo>
                      <a:pt x="507" y="9"/>
                    </a:lnTo>
                    <a:lnTo>
                      <a:pt x="488" y="29"/>
                    </a:lnTo>
                    <a:lnTo>
                      <a:pt x="468" y="29"/>
                    </a:lnTo>
                    <a:lnTo>
                      <a:pt x="439" y="39"/>
                    </a:lnTo>
                    <a:lnTo>
                      <a:pt x="439" y="48"/>
                    </a:lnTo>
                    <a:lnTo>
                      <a:pt x="429" y="68"/>
                    </a:lnTo>
                    <a:lnTo>
                      <a:pt x="409" y="68"/>
                    </a:lnTo>
                    <a:lnTo>
                      <a:pt x="400" y="68"/>
                    </a:lnTo>
                    <a:lnTo>
                      <a:pt x="390" y="68"/>
                    </a:lnTo>
                    <a:lnTo>
                      <a:pt x="370" y="68"/>
                    </a:lnTo>
                    <a:lnTo>
                      <a:pt x="351" y="68"/>
                    </a:lnTo>
                    <a:lnTo>
                      <a:pt x="341" y="78"/>
                    </a:lnTo>
                    <a:lnTo>
                      <a:pt x="322" y="78"/>
                    </a:lnTo>
                    <a:lnTo>
                      <a:pt x="302" y="68"/>
                    </a:lnTo>
                    <a:lnTo>
                      <a:pt x="292" y="48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32" name="Freeform 85"/>
            <p:cNvSpPr>
              <a:spLocks/>
            </p:cNvSpPr>
            <p:nvPr/>
          </p:nvSpPr>
          <p:spPr bwMode="auto">
            <a:xfrm>
              <a:off x="8136" y="2139"/>
              <a:ext cx="7" cy="16"/>
            </a:xfrm>
            <a:custGeom>
              <a:avLst/>
              <a:gdLst>
                <a:gd name="T0" fmla="*/ 0 w 10"/>
                <a:gd name="T1" fmla="*/ 0 h 19"/>
                <a:gd name="T2" fmla="*/ 10 w 10"/>
                <a:gd name="T3" fmla="*/ 0 h 19"/>
                <a:gd name="T4" fmla="*/ 10 w 10"/>
                <a:gd name="T5" fmla="*/ 9 h 19"/>
                <a:gd name="T6" fmla="*/ 10 w 10"/>
                <a:gd name="T7" fmla="*/ 19 h 19"/>
                <a:gd name="T8" fmla="*/ 0 w 10"/>
                <a:gd name="T9" fmla="*/ 19 h 19"/>
                <a:gd name="T10" fmla="*/ 0 w 10"/>
                <a:gd name="T11" fmla="*/ 9 h 19"/>
                <a:gd name="T12" fmla="*/ 0 w 10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19"/>
                <a:gd name="T23" fmla="*/ 10 w 10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19">
                  <a:moveTo>
                    <a:pt x="0" y="0"/>
                  </a:moveTo>
                  <a:lnTo>
                    <a:pt x="10" y="0"/>
                  </a:lnTo>
                  <a:lnTo>
                    <a:pt x="10" y="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33" name="Group 82"/>
            <p:cNvGrpSpPr>
              <a:grpSpLocks/>
            </p:cNvGrpSpPr>
            <p:nvPr/>
          </p:nvGrpSpPr>
          <p:grpSpPr bwMode="auto">
            <a:xfrm>
              <a:off x="8134" y="2137"/>
              <a:ext cx="10" cy="19"/>
              <a:chOff x="8135" y="2137"/>
              <a:chExt cx="10" cy="19"/>
            </a:xfrm>
          </p:grpSpPr>
          <p:sp>
            <p:nvSpPr>
              <p:cNvPr id="300" name="Freeform 84"/>
              <p:cNvSpPr>
                <a:spLocks/>
              </p:cNvSpPr>
              <p:nvPr/>
            </p:nvSpPr>
            <p:spPr bwMode="auto">
              <a:xfrm>
                <a:off x="8135" y="2137"/>
                <a:ext cx="10" cy="19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1" name="Freeform 83"/>
              <p:cNvSpPr>
                <a:spLocks/>
              </p:cNvSpPr>
              <p:nvPr/>
            </p:nvSpPr>
            <p:spPr bwMode="auto">
              <a:xfrm>
                <a:off x="8135" y="2137"/>
                <a:ext cx="10" cy="19"/>
              </a:xfrm>
              <a:custGeom>
                <a:avLst/>
                <a:gdLst>
                  <a:gd name="T0" fmla="*/ 0 w 10"/>
                  <a:gd name="T1" fmla="*/ 0 h 19"/>
                  <a:gd name="T2" fmla="*/ 10 w 10"/>
                  <a:gd name="T3" fmla="*/ 0 h 19"/>
                  <a:gd name="T4" fmla="*/ 10 w 10"/>
                  <a:gd name="T5" fmla="*/ 9 h 19"/>
                  <a:gd name="T6" fmla="*/ 10 w 10"/>
                  <a:gd name="T7" fmla="*/ 19 h 19"/>
                  <a:gd name="T8" fmla="*/ 0 w 10"/>
                  <a:gd name="T9" fmla="*/ 19 h 19"/>
                  <a:gd name="T10" fmla="*/ 0 w 10"/>
                  <a:gd name="T11" fmla="*/ 9 h 19"/>
                  <a:gd name="T12" fmla="*/ 0 w 10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9"/>
                  <a:gd name="T23" fmla="*/ 10 w 10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9">
                    <a:moveTo>
                      <a:pt x="0" y="0"/>
                    </a:moveTo>
                    <a:lnTo>
                      <a:pt x="10" y="0"/>
                    </a:lnTo>
                    <a:lnTo>
                      <a:pt x="10" y="9"/>
                    </a:lnTo>
                    <a:lnTo>
                      <a:pt x="10" y="19"/>
                    </a:lnTo>
                    <a:lnTo>
                      <a:pt x="0" y="19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34" name="Freeform 81"/>
            <p:cNvSpPr>
              <a:spLocks/>
            </p:cNvSpPr>
            <p:nvPr/>
          </p:nvSpPr>
          <p:spPr bwMode="auto">
            <a:xfrm>
              <a:off x="8632" y="1737"/>
              <a:ext cx="489" cy="771"/>
            </a:xfrm>
            <a:custGeom>
              <a:avLst/>
              <a:gdLst>
                <a:gd name="T0" fmla="*/ 29 w 487"/>
                <a:gd name="T1" fmla="*/ 449 h 770"/>
                <a:gd name="T2" fmla="*/ 58 w 487"/>
                <a:gd name="T3" fmla="*/ 409 h 770"/>
                <a:gd name="T4" fmla="*/ 87 w 487"/>
                <a:gd name="T5" fmla="*/ 370 h 770"/>
                <a:gd name="T6" fmla="*/ 87 w 487"/>
                <a:gd name="T7" fmla="*/ 292 h 770"/>
                <a:gd name="T8" fmla="*/ 48 w 487"/>
                <a:gd name="T9" fmla="*/ 312 h 770"/>
                <a:gd name="T10" fmla="*/ 39 w 487"/>
                <a:gd name="T11" fmla="*/ 253 h 770"/>
                <a:gd name="T12" fmla="*/ 78 w 487"/>
                <a:gd name="T13" fmla="*/ 244 h 770"/>
                <a:gd name="T14" fmla="*/ 87 w 487"/>
                <a:gd name="T15" fmla="*/ 156 h 770"/>
                <a:gd name="T16" fmla="*/ 58 w 487"/>
                <a:gd name="T17" fmla="*/ 107 h 770"/>
                <a:gd name="T18" fmla="*/ 78 w 487"/>
                <a:gd name="T19" fmla="*/ 68 h 770"/>
                <a:gd name="T20" fmla="*/ 126 w 487"/>
                <a:gd name="T21" fmla="*/ 39 h 770"/>
                <a:gd name="T22" fmla="*/ 175 w 487"/>
                <a:gd name="T23" fmla="*/ 9 h 770"/>
                <a:gd name="T24" fmla="*/ 204 w 487"/>
                <a:gd name="T25" fmla="*/ 29 h 770"/>
                <a:gd name="T26" fmla="*/ 234 w 487"/>
                <a:gd name="T27" fmla="*/ 19 h 770"/>
                <a:gd name="T28" fmla="*/ 253 w 487"/>
                <a:gd name="T29" fmla="*/ 29 h 770"/>
                <a:gd name="T30" fmla="*/ 292 w 487"/>
                <a:gd name="T31" fmla="*/ 39 h 770"/>
                <a:gd name="T32" fmla="*/ 292 w 487"/>
                <a:gd name="T33" fmla="*/ 78 h 770"/>
                <a:gd name="T34" fmla="*/ 253 w 487"/>
                <a:gd name="T35" fmla="*/ 68 h 770"/>
                <a:gd name="T36" fmla="*/ 243 w 487"/>
                <a:gd name="T37" fmla="*/ 39 h 770"/>
                <a:gd name="T38" fmla="*/ 243 w 487"/>
                <a:gd name="T39" fmla="*/ 78 h 770"/>
                <a:gd name="T40" fmla="*/ 253 w 487"/>
                <a:gd name="T41" fmla="*/ 117 h 770"/>
                <a:gd name="T42" fmla="*/ 282 w 487"/>
                <a:gd name="T43" fmla="*/ 166 h 770"/>
                <a:gd name="T44" fmla="*/ 321 w 487"/>
                <a:gd name="T45" fmla="*/ 195 h 770"/>
                <a:gd name="T46" fmla="*/ 380 w 487"/>
                <a:gd name="T47" fmla="*/ 214 h 770"/>
                <a:gd name="T48" fmla="*/ 380 w 487"/>
                <a:gd name="T49" fmla="*/ 253 h 770"/>
                <a:gd name="T50" fmla="*/ 351 w 487"/>
                <a:gd name="T51" fmla="*/ 273 h 770"/>
                <a:gd name="T52" fmla="*/ 341 w 487"/>
                <a:gd name="T53" fmla="*/ 312 h 770"/>
                <a:gd name="T54" fmla="*/ 351 w 487"/>
                <a:gd name="T55" fmla="*/ 341 h 770"/>
                <a:gd name="T56" fmla="*/ 360 w 487"/>
                <a:gd name="T57" fmla="*/ 380 h 770"/>
                <a:gd name="T58" fmla="*/ 370 w 487"/>
                <a:gd name="T59" fmla="*/ 400 h 770"/>
                <a:gd name="T60" fmla="*/ 390 w 487"/>
                <a:gd name="T61" fmla="*/ 400 h 770"/>
                <a:gd name="T62" fmla="*/ 438 w 487"/>
                <a:gd name="T63" fmla="*/ 429 h 770"/>
                <a:gd name="T64" fmla="*/ 429 w 487"/>
                <a:gd name="T65" fmla="*/ 439 h 770"/>
                <a:gd name="T66" fmla="*/ 409 w 487"/>
                <a:gd name="T67" fmla="*/ 468 h 770"/>
                <a:gd name="T68" fmla="*/ 409 w 487"/>
                <a:gd name="T69" fmla="*/ 497 h 770"/>
                <a:gd name="T70" fmla="*/ 380 w 487"/>
                <a:gd name="T71" fmla="*/ 517 h 770"/>
                <a:gd name="T72" fmla="*/ 390 w 487"/>
                <a:gd name="T73" fmla="*/ 527 h 770"/>
                <a:gd name="T74" fmla="*/ 419 w 487"/>
                <a:gd name="T75" fmla="*/ 546 h 770"/>
                <a:gd name="T76" fmla="*/ 429 w 487"/>
                <a:gd name="T77" fmla="*/ 556 h 770"/>
                <a:gd name="T78" fmla="*/ 448 w 487"/>
                <a:gd name="T79" fmla="*/ 575 h 770"/>
                <a:gd name="T80" fmla="*/ 458 w 487"/>
                <a:gd name="T81" fmla="*/ 595 h 770"/>
                <a:gd name="T82" fmla="*/ 468 w 487"/>
                <a:gd name="T83" fmla="*/ 614 h 770"/>
                <a:gd name="T84" fmla="*/ 477 w 487"/>
                <a:gd name="T85" fmla="*/ 644 h 770"/>
                <a:gd name="T86" fmla="*/ 477 w 487"/>
                <a:gd name="T87" fmla="*/ 673 h 770"/>
                <a:gd name="T88" fmla="*/ 487 w 487"/>
                <a:gd name="T89" fmla="*/ 702 h 770"/>
                <a:gd name="T90" fmla="*/ 487 w 487"/>
                <a:gd name="T91" fmla="*/ 751 h 770"/>
                <a:gd name="T92" fmla="*/ 487 w 487"/>
                <a:gd name="T93" fmla="*/ 770 h 770"/>
                <a:gd name="T94" fmla="*/ 458 w 487"/>
                <a:gd name="T95" fmla="*/ 751 h 770"/>
                <a:gd name="T96" fmla="*/ 419 w 487"/>
                <a:gd name="T97" fmla="*/ 741 h 770"/>
                <a:gd name="T98" fmla="*/ 380 w 487"/>
                <a:gd name="T99" fmla="*/ 702 h 770"/>
                <a:gd name="T100" fmla="*/ 331 w 487"/>
                <a:gd name="T101" fmla="*/ 663 h 770"/>
                <a:gd name="T102" fmla="*/ 263 w 487"/>
                <a:gd name="T103" fmla="*/ 634 h 770"/>
                <a:gd name="T104" fmla="*/ 126 w 487"/>
                <a:gd name="T105" fmla="*/ 556 h 770"/>
                <a:gd name="T106" fmla="*/ 58 w 487"/>
                <a:gd name="T107" fmla="*/ 507 h 770"/>
                <a:gd name="T108" fmla="*/ 0 w 487"/>
                <a:gd name="T109" fmla="*/ 458 h 77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87"/>
                <a:gd name="T166" fmla="*/ 0 h 770"/>
                <a:gd name="T167" fmla="*/ 487 w 487"/>
                <a:gd name="T168" fmla="*/ 770 h 77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87" h="770">
                  <a:moveTo>
                    <a:pt x="0" y="458"/>
                  </a:moveTo>
                  <a:lnTo>
                    <a:pt x="9" y="449"/>
                  </a:lnTo>
                  <a:lnTo>
                    <a:pt x="29" y="449"/>
                  </a:lnTo>
                  <a:lnTo>
                    <a:pt x="39" y="439"/>
                  </a:lnTo>
                  <a:lnTo>
                    <a:pt x="48" y="429"/>
                  </a:lnTo>
                  <a:lnTo>
                    <a:pt x="58" y="409"/>
                  </a:lnTo>
                  <a:lnTo>
                    <a:pt x="58" y="390"/>
                  </a:lnTo>
                  <a:lnTo>
                    <a:pt x="78" y="390"/>
                  </a:lnTo>
                  <a:lnTo>
                    <a:pt x="87" y="370"/>
                  </a:lnTo>
                  <a:lnTo>
                    <a:pt x="97" y="361"/>
                  </a:lnTo>
                  <a:lnTo>
                    <a:pt x="97" y="292"/>
                  </a:lnTo>
                  <a:lnTo>
                    <a:pt x="87" y="292"/>
                  </a:lnTo>
                  <a:lnTo>
                    <a:pt x="68" y="302"/>
                  </a:lnTo>
                  <a:lnTo>
                    <a:pt x="58" y="312"/>
                  </a:lnTo>
                  <a:lnTo>
                    <a:pt x="48" y="312"/>
                  </a:lnTo>
                  <a:lnTo>
                    <a:pt x="39" y="302"/>
                  </a:lnTo>
                  <a:lnTo>
                    <a:pt x="29" y="292"/>
                  </a:lnTo>
                  <a:lnTo>
                    <a:pt x="39" y="253"/>
                  </a:lnTo>
                  <a:lnTo>
                    <a:pt x="68" y="244"/>
                  </a:lnTo>
                  <a:lnTo>
                    <a:pt x="78" y="244"/>
                  </a:lnTo>
                  <a:lnTo>
                    <a:pt x="97" y="185"/>
                  </a:lnTo>
                  <a:lnTo>
                    <a:pt x="97" y="175"/>
                  </a:lnTo>
                  <a:lnTo>
                    <a:pt x="87" y="156"/>
                  </a:lnTo>
                  <a:lnTo>
                    <a:pt x="78" y="146"/>
                  </a:lnTo>
                  <a:lnTo>
                    <a:pt x="78" y="127"/>
                  </a:lnTo>
                  <a:lnTo>
                    <a:pt x="58" y="107"/>
                  </a:lnTo>
                  <a:lnTo>
                    <a:pt x="58" y="97"/>
                  </a:lnTo>
                  <a:lnTo>
                    <a:pt x="58" y="88"/>
                  </a:lnTo>
                  <a:lnTo>
                    <a:pt x="78" y="68"/>
                  </a:lnTo>
                  <a:lnTo>
                    <a:pt x="107" y="58"/>
                  </a:lnTo>
                  <a:lnTo>
                    <a:pt x="117" y="58"/>
                  </a:lnTo>
                  <a:lnTo>
                    <a:pt x="126" y="39"/>
                  </a:lnTo>
                  <a:lnTo>
                    <a:pt x="146" y="19"/>
                  </a:lnTo>
                  <a:lnTo>
                    <a:pt x="156" y="0"/>
                  </a:lnTo>
                  <a:lnTo>
                    <a:pt x="175" y="9"/>
                  </a:lnTo>
                  <a:lnTo>
                    <a:pt x="185" y="19"/>
                  </a:lnTo>
                  <a:lnTo>
                    <a:pt x="195" y="19"/>
                  </a:lnTo>
                  <a:lnTo>
                    <a:pt x="204" y="29"/>
                  </a:lnTo>
                  <a:lnTo>
                    <a:pt x="214" y="39"/>
                  </a:lnTo>
                  <a:lnTo>
                    <a:pt x="224" y="39"/>
                  </a:lnTo>
                  <a:lnTo>
                    <a:pt x="234" y="19"/>
                  </a:lnTo>
                  <a:lnTo>
                    <a:pt x="243" y="19"/>
                  </a:lnTo>
                  <a:lnTo>
                    <a:pt x="253" y="29"/>
                  </a:lnTo>
                  <a:lnTo>
                    <a:pt x="263" y="39"/>
                  </a:lnTo>
                  <a:lnTo>
                    <a:pt x="273" y="39"/>
                  </a:lnTo>
                  <a:lnTo>
                    <a:pt x="292" y="39"/>
                  </a:lnTo>
                  <a:lnTo>
                    <a:pt x="292" y="58"/>
                  </a:lnTo>
                  <a:lnTo>
                    <a:pt x="292" y="78"/>
                  </a:lnTo>
                  <a:lnTo>
                    <a:pt x="273" y="78"/>
                  </a:lnTo>
                  <a:lnTo>
                    <a:pt x="263" y="78"/>
                  </a:lnTo>
                  <a:lnTo>
                    <a:pt x="253" y="68"/>
                  </a:lnTo>
                  <a:lnTo>
                    <a:pt x="253" y="58"/>
                  </a:lnTo>
                  <a:lnTo>
                    <a:pt x="253" y="39"/>
                  </a:lnTo>
                  <a:lnTo>
                    <a:pt x="243" y="39"/>
                  </a:lnTo>
                  <a:lnTo>
                    <a:pt x="243" y="58"/>
                  </a:lnTo>
                  <a:lnTo>
                    <a:pt x="243" y="68"/>
                  </a:lnTo>
                  <a:lnTo>
                    <a:pt x="243" y="78"/>
                  </a:lnTo>
                  <a:lnTo>
                    <a:pt x="253" y="88"/>
                  </a:lnTo>
                  <a:lnTo>
                    <a:pt x="253" y="97"/>
                  </a:lnTo>
                  <a:lnTo>
                    <a:pt x="253" y="117"/>
                  </a:lnTo>
                  <a:lnTo>
                    <a:pt x="253" y="127"/>
                  </a:lnTo>
                  <a:lnTo>
                    <a:pt x="263" y="136"/>
                  </a:lnTo>
                  <a:lnTo>
                    <a:pt x="282" y="166"/>
                  </a:lnTo>
                  <a:lnTo>
                    <a:pt x="292" y="175"/>
                  </a:lnTo>
                  <a:lnTo>
                    <a:pt x="302" y="185"/>
                  </a:lnTo>
                  <a:lnTo>
                    <a:pt x="321" y="195"/>
                  </a:lnTo>
                  <a:lnTo>
                    <a:pt x="341" y="195"/>
                  </a:lnTo>
                  <a:lnTo>
                    <a:pt x="360" y="205"/>
                  </a:lnTo>
                  <a:lnTo>
                    <a:pt x="380" y="214"/>
                  </a:lnTo>
                  <a:lnTo>
                    <a:pt x="380" y="224"/>
                  </a:lnTo>
                  <a:lnTo>
                    <a:pt x="380" y="234"/>
                  </a:lnTo>
                  <a:lnTo>
                    <a:pt x="380" y="253"/>
                  </a:lnTo>
                  <a:lnTo>
                    <a:pt x="380" y="263"/>
                  </a:lnTo>
                  <a:lnTo>
                    <a:pt x="370" y="273"/>
                  </a:lnTo>
                  <a:lnTo>
                    <a:pt x="351" y="273"/>
                  </a:lnTo>
                  <a:lnTo>
                    <a:pt x="351" y="283"/>
                  </a:lnTo>
                  <a:lnTo>
                    <a:pt x="351" y="302"/>
                  </a:lnTo>
                  <a:lnTo>
                    <a:pt x="341" y="312"/>
                  </a:lnTo>
                  <a:lnTo>
                    <a:pt x="341" y="322"/>
                  </a:lnTo>
                  <a:lnTo>
                    <a:pt x="351" y="341"/>
                  </a:lnTo>
                  <a:lnTo>
                    <a:pt x="351" y="351"/>
                  </a:lnTo>
                  <a:lnTo>
                    <a:pt x="351" y="361"/>
                  </a:lnTo>
                  <a:lnTo>
                    <a:pt x="360" y="380"/>
                  </a:lnTo>
                  <a:lnTo>
                    <a:pt x="370" y="390"/>
                  </a:lnTo>
                  <a:lnTo>
                    <a:pt x="370" y="400"/>
                  </a:lnTo>
                  <a:lnTo>
                    <a:pt x="380" y="400"/>
                  </a:lnTo>
                  <a:lnTo>
                    <a:pt x="380" y="409"/>
                  </a:lnTo>
                  <a:lnTo>
                    <a:pt x="390" y="400"/>
                  </a:lnTo>
                  <a:lnTo>
                    <a:pt x="399" y="409"/>
                  </a:lnTo>
                  <a:lnTo>
                    <a:pt x="419" y="429"/>
                  </a:lnTo>
                  <a:lnTo>
                    <a:pt x="438" y="429"/>
                  </a:lnTo>
                  <a:lnTo>
                    <a:pt x="448" y="429"/>
                  </a:lnTo>
                  <a:lnTo>
                    <a:pt x="438" y="439"/>
                  </a:lnTo>
                  <a:lnTo>
                    <a:pt x="429" y="439"/>
                  </a:lnTo>
                  <a:lnTo>
                    <a:pt x="419" y="439"/>
                  </a:lnTo>
                  <a:lnTo>
                    <a:pt x="409" y="449"/>
                  </a:lnTo>
                  <a:lnTo>
                    <a:pt x="409" y="468"/>
                  </a:lnTo>
                  <a:lnTo>
                    <a:pt x="399" y="468"/>
                  </a:lnTo>
                  <a:lnTo>
                    <a:pt x="399" y="488"/>
                  </a:lnTo>
                  <a:lnTo>
                    <a:pt x="409" y="497"/>
                  </a:lnTo>
                  <a:lnTo>
                    <a:pt x="399" y="507"/>
                  </a:lnTo>
                  <a:lnTo>
                    <a:pt x="399" y="517"/>
                  </a:lnTo>
                  <a:lnTo>
                    <a:pt x="380" y="517"/>
                  </a:lnTo>
                  <a:lnTo>
                    <a:pt x="380" y="527"/>
                  </a:lnTo>
                  <a:lnTo>
                    <a:pt x="390" y="527"/>
                  </a:lnTo>
                  <a:lnTo>
                    <a:pt x="399" y="527"/>
                  </a:lnTo>
                  <a:lnTo>
                    <a:pt x="409" y="536"/>
                  </a:lnTo>
                  <a:lnTo>
                    <a:pt x="419" y="546"/>
                  </a:lnTo>
                  <a:lnTo>
                    <a:pt x="419" y="556"/>
                  </a:lnTo>
                  <a:lnTo>
                    <a:pt x="429" y="556"/>
                  </a:lnTo>
                  <a:lnTo>
                    <a:pt x="438" y="566"/>
                  </a:lnTo>
                  <a:lnTo>
                    <a:pt x="448" y="566"/>
                  </a:lnTo>
                  <a:lnTo>
                    <a:pt x="448" y="575"/>
                  </a:lnTo>
                  <a:lnTo>
                    <a:pt x="448" y="585"/>
                  </a:lnTo>
                  <a:lnTo>
                    <a:pt x="448" y="595"/>
                  </a:lnTo>
                  <a:lnTo>
                    <a:pt x="458" y="595"/>
                  </a:lnTo>
                  <a:lnTo>
                    <a:pt x="458" y="605"/>
                  </a:lnTo>
                  <a:lnTo>
                    <a:pt x="468" y="614"/>
                  </a:lnTo>
                  <a:lnTo>
                    <a:pt x="468" y="624"/>
                  </a:lnTo>
                  <a:lnTo>
                    <a:pt x="477" y="634"/>
                  </a:lnTo>
                  <a:lnTo>
                    <a:pt x="477" y="644"/>
                  </a:lnTo>
                  <a:lnTo>
                    <a:pt x="487" y="653"/>
                  </a:lnTo>
                  <a:lnTo>
                    <a:pt x="487" y="663"/>
                  </a:lnTo>
                  <a:lnTo>
                    <a:pt x="477" y="673"/>
                  </a:lnTo>
                  <a:lnTo>
                    <a:pt x="477" y="692"/>
                  </a:lnTo>
                  <a:lnTo>
                    <a:pt x="487" y="692"/>
                  </a:lnTo>
                  <a:lnTo>
                    <a:pt x="487" y="702"/>
                  </a:lnTo>
                  <a:lnTo>
                    <a:pt x="487" y="722"/>
                  </a:lnTo>
                  <a:lnTo>
                    <a:pt x="487" y="741"/>
                  </a:lnTo>
                  <a:lnTo>
                    <a:pt x="487" y="751"/>
                  </a:lnTo>
                  <a:lnTo>
                    <a:pt x="487" y="761"/>
                  </a:lnTo>
                  <a:lnTo>
                    <a:pt x="487" y="770"/>
                  </a:lnTo>
                  <a:lnTo>
                    <a:pt x="477" y="761"/>
                  </a:lnTo>
                  <a:lnTo>
                    <a:pt x="468" y="761"/>
                  </a:lnTo>
                  <a:lnTo>
                    <a:pt x="458" y="751"/>
                  </a:lnTo>
                  <a:lnTo>
                    <a:pt x="448" y="751"/>
                  </a:lnTo>
                  <a:lnTo>
                    <a:pt x="429" y="751"/>
                  </a:lnTo>
                  <a:lnTo>
                    <a:pt x="419" y="741"/>
                  </a:lnTo>
                  <a:lnTo>
                    <a:pt x="399" y="731"/>
                  </a:lnTo>
                  <a:lnTo>
                    <a:pt x="390" y="712"/>
                  </a:lnTo>
                  <a:lnTo>
                    <a:pt x="380" y="702"/>
                  </a:lnTo>
                  <a:lnTo>
                    <a:pt x="351" y="683"/>
                  </a:lnTo>
                  <a:lnTo>
                    <a:pt x="331" y="673"/>
                  </a:lnTo>
                  <a:lnTo>
                    <a:pt x="331" y="663"/>
                  </a:lnTo>
                  <a:lnTo>
                    <a:pt x="312" y="673"/>
                  </a:lnTo>
                  <a:lnTo>
                    <a:pt x="292" y="663"/>
                  </a:lnTo>
                  <a:lnTo>
                    <a:pt x="263" y="634"/>
                  </a:lnTo>
                  <a:lnTo>
                    <a:pt x="234" y="614"/>
                  </a:lnTo>
                  <a:lnTo>
                    <a:pt x="195" y="585"/>
                  </a:lnTo>
                  <a:lnTo>
                    <a:pt x="126" y="556"/>
                  </a:lnTo>
                  <a:lnTo>
                    <a:pt x="107" y="536"/>
                  </a:lnTo>
                  <a:lnTo>
                    <a:pt x="78" y="527"/>
                  </a:lnTo>
                  <a:lnTo>
                    <a:pt x="58" y="507"/>
                  </a:lnTo>
                  <a:lnTo>
                    <a:pt x="39" y="488"/>
                  </a:lnTo>
                  <a:lnTo>
                    <a:pt x="19" y="468"/>
                  </a:lnTo>
                  <a:lnTo>
                    <a:pt x="0" y="458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35" name="Group 78"/>
            <p:cNvGrpSpPr>
              <a:grpSpLocks/>
            </p:cNvGrpSpPr>
            <p:nvPr/>
          </p:nvGrpSpPr>
          <p:grpSpPr bwMode="auto">
            <a:xfrm>
              <a:off x="8632" y="1737"/>
              <a:ext cx="487" cy="770"/>
              <a:chOff x="8633" y="1737"/>
              <a:chExt cx="487" cy="770"/>
            </a:xfrm>
          </p:grpSpPr>
          <p:sp>
            <p:nvSpPr>
              <p:cNvPr id="298" name="Freeform 80"/>
              <p:cNvSpPr>
                <a:spLocks/>
              </p:cNvSpPr>
              <p:nvPr/>
            </p:nvSpPr>
            <p:spPr bwMode="auto">
              <a:xfrm>
                <a:off x="8633" y="1737"/>
                <a:ext cx="486" cy="771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9" name="Freeform 79"/>
              <p:cNvSpPr>
                <a:spLocks/>
              </p:cNvSpPr>
              <p:nvPr/>
            </p:nvSpPr>
            <p:spPr bwMode="auto">
              <a:xfrm>
                <a:off x="8633" y="1737"/>
                <a:ext cx="486" cy="771"/>
              </a:xfrm>
              <a:custGeom>
                <a:avLst/>
                <a:gdLst>
                  <a:gd name="T0" fmla="*/ 29 w 487"/>
                  <a:gd name="T1" fmla="*/ 449 h 770"/>
                  <a:gd name="T2" fmla="*/ 48 w 487"/>
                  <a:gd name="T3" fmla="*/ 409 h 770"/>
                  <a:gd name="T4" fmla="*/ 87 w 487"/>
                  <a:gd name="T5" fmla="*/ 370 h 770"/>
                  <a:gd name="T6" fmla="*/ 87 w 487"/>
                  <a:gd name="T7" fmla="*/ 292 h 770"/>
                  <a:gd name="T8" fmla="*/ 48 w 487"/>
                  <a:gd name="T9" fmla="*/ 312 h 770"/>
                  <a:gd name="T10" fmla="*/ 39 w 487"/>
                  <a:gd name="T11" fmla="*/ 253 h 770"/>
                  <a:gd name="T12" fmla="*/ 78 w 487"/>
                  <a:gd name="T13" fmla="*/ 244 h 770"/>
                  <a:gd name="T14" fmla="*/ 87 w 487"/>
                  <a:gd name="T15" fmla="*/ 156 h 770"/>
                  <a:gd name="T16" fmla="*/ 58 w 487"/>
                  <a:gd name="T17" fmla="*/ 107 h 770"/>
                  <a:gd name="T18" fmla="*/ 78 w 487"/>
                  <a:gd name="T19" fmla="*/ 68 h 770"/>
                  <a:gd name="T20" fmla="*/ 126 w 487"/>
                  <a:gd name="T21" fmla="*/ 39 h 770"/>
                  <a:gd name="T22" fmla="*/ 175 w 487"/>
                  <a:gd name="T23" fmla="*/ 9 h 770"/>
                  <a:gd name="T24" fmla="*/ 204 w 487"/>
                  <a:gd name="T25" fmla="*/ 29 h 770"/>
                  <a:gd name="T26" fmla="*/ 234 w 487"/>
                  <a:gd name="T27" fmla="*/ 19 h 770"/>
                  <a:gd name="T28" fmla="*/ 253 w 487"/>
                  <a:gd name="T29" fmla="*/ 29 h 770"/>
                  <a:gd name="T30" fmla="*/ 292 w 487"/>
                  <a:gd name="T31" fmla="*/ 39 h 770"/>
                  <a:gd name="T32" fmla="*/ 292 w 487"/>
                  <a:gd name="T33" fmla="*/ 78 h 770"/>
                  <a:gd name="T34" fmla="*/ 253 w 487"/>
                  <a:gd name="T35" fmla="*/ 68 h 770"/>
                  <a:gd name="T36" fmla="*/ 243 w 487"/>
                  <a:gd name="T37" fmla="*/ 39 h 770"/>
                  <a:gd name="T38" fmla="*/ 243 w 487"/>
                  <a:gd name="T39" fmla="*/ 78 h 770"/>
                  <a:gd name="T40" fmla="*/ 253 w 487"/>
                  <a:gd name="T41" fmla="*/ 117 h 770"/>
                  <a:gd name="T42" fmla="*/ 282 w 487"/>
                  <a:gd name="T43" fmla="*/ 166 h 770"/>
                  <a:gd name="T44" fmla="*/ 321 w 487"/>
                  <a:gd name="T45" fmla="*/ 195 h 770"/>
                  <a:gd name="T46" fmla="*/ 380 w 487"/>
                  <a:gd name="T47" fmla="*/ 214 h 770"/>
                  <a:gd name="T48" fmla="*/ 380 w 487"/>
                  <a:gd name="T49" fmla="*/ 253 h 770"/>
                  <a:gd name="T50" fmla="*/ 351 w 487"/>
                  <a:gd name="T51" fmla="*/ 273 h 770"/>
                  <a:gd name="T52" fmla="*/ 341 w 487"/>
                  <a:gd name="T53" fmla="*/ 312 h 770"/>
                  <a:gd name="T54" fmla="*/ 351 w 487"/>
                  <a:gd name="T55" fmla="*/ 341 h 770"/>
                  <a:gd name="T56" fmla="*/ 360 w 487"/>
                  <a:gd name="T57" fmla="*/ 380 h 770"/>
                  <a:gd name="T58" fmla="*/ 370 w 487"/>
                  <a:gd name="T59" fmla="*/ 400 h 770"/>
                  <a:gd name="T60" fmla="*/ 390 w 487"/>
                  <a:gd name="T61" fmla="*/ 400 h 770"/>
                  <a:gd name="T62" fmla="*/ 438 w 487"/>
                  <a:gd name="T63" fmla="*/ 429 h 770"/>
                  <a:gd name="T64" fmla="*/ 429 w 487"/>
                  <a:gd name="T65" fmla="*/ 439 h 770"/>
                  <a:gd name="T66" fmla="*/ 409 w 487"/>
                  <a:gd name="T67" fmla="*/ 468 h 770"/>
                  <a:gd name="T68" fmla="*/ 409 w 487"/>
                  <a:gd name="T69" fmla="*/ 497 h 770"/>
                  <a:gd name="T70" fmla="*/ 390 w 487"/>
                  <a:gd name="T71" fmla="*/ 517 h 770"/>
                  <a:gd name="T72" fmla="*/ 390 w 487"/>
                  <a:gd name="T73" fmla="*/ 527 h 770"/>
                  <a:gd name="T74" fmla="*/ 419 w 487"/>
                  <a:gd name="T75" fmla="*/ 546 h 770"/>
                  <a:gd name="T76" fmla="*/ 429 w 487"/>
                  <a:gd name="T77" fmla="*/ 556 h 770"/>
                  <a:gd name="T78" fmla="*/ 448 w 487"/>
                  <a:gd name="T79" fmla="*/ 575 h 770"/>
                  <a:gd name="T80" fmla="*/ 458 w 487"/>
                  <a:gd name="T81" fmla="*/ 595 h 770"/>
                  <a:gd name="T82" fmla="*/ 468 w 487"/>
                  <a:gd name="T83" fmla="*/ 614 h 770"/>
                  <a:gd name="T84" fmla="*/ 477 w 487"/>
                  <a:gd name="T85" fmla="*/ 644 h 770"/>
                  <a:gd name="T86" fmla="*/ 477 w 487"/>
                  <a:gd name="T87" fmla="*/ 673 h 770"/>
                  <a:gd name="T88" fmla="*/ 487 w 487"/>
                  <a:gd name="T89" fmla="*/ 702 h 770"/>
                  <a:gd name="T90" fmla="*/ 487 w 487"/>
                  <a:gd name="T91" fmla="*/ 751 h 770"/>
                  <a:gd name="T92" fmla="*/ 487 w 487"/>
                  <a:gd name="T93" fmla="*/ 770 h 770"/>
                  <a:gd name="T94" fmla="*/ 458 w 487"/>
                  <a:gd name="T95" fmla="*/ 761 h 770"/>
                  <a:gd name="T96" fmla="*/ 419 w 487"/>
                  <a:gd name="T97" fmla="*/ 741 h 770"/>
                  <a:gd name="T98" fmla="*/ 380 w 487"/>
                  <a:gd name="T99" fmla="*/ 702 h 770"/>
                  <a:gd name="T100" fmla="*/ 331 w 487"/>
                  <a:gd name="T101" fmla="*/ 663 h 770"/>
                  <a:gd name="T102" fmla="*/ 263 w 487"/>
                  <a:gd name="T103" fmla="*/ 644 h 770"/>
                  <a:gd name="T104" fmla="*/ 126 w 487"/>
                  <a:gd name="T105" fmla="*/ 556 h 770"/>
                  <a:gd name="T106" fmla="*/ 58 w 487"/>
                  <a:gd name="T107" fmla="*/ 507 h 770"/>
                  <a:gd name="T108" fmla="*/ 0 w 487"/>
                  <a:gd name="T109" fmla="*/ 458 h 77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87"/>
                  <a:gd name="T166" fmla="*/ 0 h 770"/>
                  <a:gd name="T167" fmla="*/ 487 w 487"/>
                  <a:gd name="T168" fmla="*/ 770 h 77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87" h="770">
                    <a:moveTo>
                      <a:pt x="0" y="458"/>
                    </a:moveTo>
                    <a:lnTo>
                      <a:pt x="9" y="449"/>
                    </a:lnTo>
                    <a:lnTo>
                      <a:pt x="29" y="449"/>
                    </a:lnTo>
                    <a:lnTo>
                      <a:pt x="39" y="439"/>
                    </a:lnTo>
                    <a:lnTo>
                      <a:pt x="48" y="429"/>
                    </a:lnTo>
                    <a:lnTo>
                      <a:pt x="48" y="409"/>
                    </a:lnTo>
                    <a:lnTo>
                      <a:pt x="58" y="390"/>
                    </a:lnTo>
                    <a:lnTo>
                      <a:pt x="78" y="390"/>
                    </a:lnTo>
                    <a:lnTo>
                      <a:pt x="87" y="370"/>
                    </a:lnTo>
                    <a:lnTo>
                      <a:pt x="97" y="370"/>
                    </a:lnTo>
                    <a:lnTo>
                      <a:pt x="97" y="292"/>
                    </a:lnTo>
                    <a:lnTo>
                      <a:pt x="87" y="292"/>
                    </a:lnTo>
                    <a:lnTo>
                      <a:pt x="68" y="302"/>
                    </a:lnTo>
                    <a:lnTo>
                      <a:pt x="48" y="312"/>
                    </a:lnTo>
                    <a:lnTo>
                      <a:pt x="39" y="302"/>
                    </a:lnTo>
                    <a:lnTo>
                      <a:pt x="29" y="292"/>
                    </a:lnTo>
                    <a:lnTo>
                      <a:pt x="39" y="253"/>
                    </a:lnTo>
                    <a:lnTo>
                      <a:pt x="68" y="244"/>
                    </a:lnTo>
                    <a:lnTo>
                      <a:pt x="78" y="244"/>
                    </a:lnTo>
                    <a:lnTo>
                      <a:pt x="97" y="185"/>
                    </a:lnTo>
                    <a:lnTo>
                      <a:pt x="97" y="175"/>
                    </a:lnTo>
                    <a:lnTo>
                      <a:pt x="87" y="156"/>
                    </a:lnTo>
                    <a:lnTo>
                      <a:pt x="78" y="146"/>
                    </a:lnTo>
                    <a:lnTo>
                      <a:pt x="78" y="127"/>
                    </a:lnTo>
                    <a:lnTo>
                      <a:pt x="58" y="107"/>
                    </a:lnTo>
                    <a:lnTo>
                      <a:pt x="58" y="97"/>
                    </a:lnTo>
                    <a:lnTo>
                      <a:pt x="58" y="88"/>
                    </a:lnTo>
                    <a:lnTo>
                      <a:pt x="78" y="68"/>
                    </a:lnTo>
                    <a:lnTo>
                      <a:pt x="107" y="58"/>
                    </a:lnTo>
                    <a:lnTo>
                      <a:pt x="117" y="58"/>
                    </a:lnTo>
                    <a:lnTo>
                      <a:pt x="126" y="39"/>
                    </a:lnTo>
                    <a:lnTo>
                      <a:pt x="146" y="19"/>
                    </a:lnTo>
                    <a:lnTo>
                      <a:pt x="156" y="0"/>
                    </a:lnTo>
                    <a:lnTo>
                      <a:pt x="175" y="9"/>
                    </a:lnTo>
                    <a:lnTo>
                      <a:pt x="185" y="19"/>
                    </a:lnTo>
                    <a:lnTo>
                      <a:pt x="195" y="19"/>
                    </a:lnTo>
                    <a:lnTo>
                      <a:pt x="204" y="29"/>
                    </a:lnTo>
                    <a:lnTo>
                      <a:pt x="214" y="39"/>
                    </a:lnTo>
                    <a:lnTo>
                      <a:pt x="224" y="39"/>
                    </a:lnTo>
                    <a:lnTo>
                      <a:pt x="234" y="19"/>
                    </a:lnTo>
                    <a:lnTo>
                      <a:pt x="243" y="19"/>
                    </a:lnTo>
                    <a:lnTo>
                      <a:pt x="253" y="29"/>
                    </a:lnTo>
                    <a:lnTo>
                      <a:pt x="263" y="39"/>
                    </a:lnTo>
                    <a:lnTo>
                      <a:pt x="273" y="39"/>
                    </a:lnTo>
                    <a:lnTo>
                      <a:pt x="292" y="39"/>
                    </a:lnTo>
                    <a:lnTo>
                      <a:pt x="292" y="58"/>
                    </a:lnTo>
                    <a:lnTo>
                      <a:pt x="292" y="78"/>
                    </a:lnTo>
                    <a:lnTo>
                      <a:pt x="273" y="78"/>
                    </a:lnTo>
                    <a:lnTo>
                      <a:pt x="263" y="78"/>
                    </a:lnTo>
                    <a:lnTo>
                      <a:pt x="253" y="68"/>
                    </a:lnTo>
                    <a:lnTo>
                      <a:pt x="253" y="58"/>
                    </a:lnTo>
                    <a:lnTo>
                      <a:pt x="253" y="39"/>
                    </a:lnTo>
                    <a:lnTo>
                      <a:pt x="243" y="39"/>
                    </a:lnTo>
                    <a:lnTo>
                      <a:pt x="243" y="58"/>
                    </a:lnTo>
                    <a:lnTo>
                      <a:pt x="243" y="68"/>
                    </a:lnTo>
                    <a:lnTo>
                      <a:pt x="243" y="78"/>
                    </a:lnTo>
                    <a:lnTo>
                      <a:pt x="253" y="88"/>
                    </a:lnTo>
                    <a:lnTo>
                      <a:pt x="253" y="97"/>
                    </a:lnTo>
                    <a:lnTo>
                      <a:pt x="253" y="117"/>
                    </a:lnTo>
                    <a:lnTo>
                      <a:pt x="253" y="127"/>
                    </a:lnTo>
                    <a:lnTo>
                      <a:pt x="263" y="136"/>
                    </a:lnTo>
                    <a:lnTo>
                      <a:pt x="282" y="166"/>
                    </a:lnTo>
                    <a:lnTo>
                      <a:pt x="292" y="175"/>
                    </a:lnTo>
                    <a:lnTo>
                      <a:pt x="302" y="185"/>
                    </a:lnTo>
                    <a:lnTo>
                      <a:pt x="321" y="195"/>
                    </a:lnTo>
                    <a:lnTo>
                      <a:pt x="341" y="195"/>
                    </a:lnTo>
                    <a:lnTo>
                      <a:pt x="360" y="205"/>
                    </a:lnTo>
                    <a:lnTo>
                      <a:pt x="380" y="214"/>
                    </a:lnTo>
                    <a:lnTo>
                      <a:pt x="380" y="224"/>
                    </a:lnTo>
                    <a:lnTo>
                      <a:pt x="380" y="234"/>
                    </a:lnTo>
                    <a:lnTo>
                      <a:pt x="380" y="253"/>
                    </a:lnTo>
                    <a:lnTo>
                      <a:pt x="380" y="263"/>
                    </a:lnTo>
                    <a:lnTo>
                      <a:pt x="370" y="273"/>
                    </a:lnTo>
                    <a:lnTo>
                      <a:pt x="351" y="273"/>
                    </a:lnTo>
                    <a:lnTo>
                      <a:pt x="341" y="283"/>
                    </a:lnTo>
                    <a:lnTo>
                      <a:pt x="341" y="302"/>
                    </a:lnTo>
                    <a:lnTo>
                      <a:pt x="341" y="312"/>
                    </a:lnTo>
                    <a:lnTo>
                      <a:pt x="341" y="322"/>
                    </a:lnTo>
                    <a:lnTo>
                      <a:pt x="341" y="341"/>
                    </a:lnTo>
                    <a:lnTo>
                      <a:pt x="351" y="341"/>
                    </a:lnTo>
                    <a:lnTo>
                      <a:pt x="351" y="351"/>
                    </a:lnTo>
                    <a:lnTo>
                      <a:pt x="351" y="361"/>
                    </a:lnTo>
                    <a:lnTo>
                      <a:pt x="360" y="380"/>
                    </a:lnTo>
                    <a:lnTo>
                      <a:pt x="370" y="390"/>
                    </a:lnTo>
                    <a:lnTo>
                      <a:pt x="370" y="400"/>
                    </a:lnTo>
                    <a:lnTo>
                      <a:pt x="380" y="400"/>
                    </a:lnTo>
                    <a:lnTo>
                      <a:pt x="380" y="409"/>
                    </a:lnTo>
                    <a:lnTo>
                      <a:pt x="390" y="400"/>
                    </a:lnTo>
                    <a:lnTo>
                      <a:pt x="399" y="409"/>
                    </a:lnTo>
                    <a:lnTo>
                      <a:pt x="419" y="429"/>
                    </a:lnTo>
                    <a:lnTo>
                      <a:pt x="438" y="429"/>
                    </a:lnTo>
                    <a:lnTo>
                      <a:pt x="448" y="429"/>
                    </a:lnTo>
                    <a:lnTo>
                      <a:pt x="438" y="439"/>
                    </a:lnTo>
                    <a:lnTo>
                      <a:pt x="429" y="439"/>
                    </a:lnTo>
                    <a:lnTo>
                      <a:pt x="419" y="439"/>
                    </a:lnTo>
                    <a:lnTo>
                      <a:pt x="409" y="449"/>
                    </a:lnTo>
                    <a:lnTo>
                      <a:pt x="409" y="468"/>
                    </a:lnTo>
                    <a:lnTo>
                      <a:pt x="399" y="468"/>
                    </a:lnTo>
                    <a:lnTo>
                      <a:pt x="399" y="488"/>
                    </a:lnTo>
                    <a:lnTo>
                      <a:pt x="409" y="497"/>
                    </a:lnTo>
                    <a:lnTo>
                      <a:pt x="399" y="507"/>
                    </a:lnTo>
                    <a:lnTo>
                      <a:pt x="399" y="517"/>
                    </a:lnTo>
                    <a:lnTo>
                      <a:pt x="390" y="517"/>
                    </a:lnTo>
                    <a:lnTo>
                      <a:pt x="380" y="527"/>
                    </a:lnTo>
                    <a:lnTo>
                      <a:pt x="390" y="527"/>
                    </a:lnTo>
                    <a:lnTo>
                      <a:pt x="399" y="527"/>
                    </a:lnTo>
                    <a:lnTo>
                      <a:pt x="409" y="536"/>
                    </a:lnTo>
                    <a:lnTo>
                      <a:pt x="419" y="546"/>
                    </a:lnTo>
                    <a:lnTo>
                      <a:pt x="419" y="556"/>
                    </a:lnTo>
                    <a:lnTo>
                      <a:pt x="429" y="556"/>
                    </a:lnTo>
                    <a:lnTo>
                      <a:pt x="438" y="566"/>
                    </a:lnTo>
                    <a:lnTo>
                      <a:pt x="448" y="566"/>
                    </a:lnTo>
                    <a:lnTo>
                      <a:pt x="448" y="575"/>
                    </a:lnTo>
                    <a:lnTo>
                      <a:pt x="448" y="585"/>
                    </a:lnTo>
                    <a:lnTo>
                      <a:pt x="448" y="595"/>
                    </a:lnTo>
                    <a:lnTo>
                      <a:pt x="458" y="595"/>
                    </a:lnTo>
                    <a:lnTo>
                      <a:pt x="458" y="605"/>
                    </a:lnTo>
                    <a:lnTo>
                      <a:pt x="468" y="614"/>
                    </a:lnTo>
                    <a:lnTo>
                      <a:pt x="468" y="624"/>
                    </a:lnTo>
                    <a:lnTo>
                      <a:pt x="477" y="634"/>
                    </a:lnTo>
                    <a:lnTo>
                      <a:pt x="477" y="644"/>
                    </a:lnTo>
                    <a:lnTo>
                      <a:pt x="487" y="653"/>
                    </a:lnTo>
                    <a:lnTo>
                      <a:pt x="487" y="663"/>
                    </a:lnTo>
                    <a:lnTo>
                      <a:pt x="477" y="673"/>
                    </a:lnTo>
                    <a:lnTo>
                      <a:pt x="477" y="692"/>
                    </a:lnTo>
                    <a:lnTo>
                      <a:pt x="487" y="702"/>
                    </a:lnTo>
                    <a:lnTo>
                      <a:pt x="487" y="722"/>
                    </a:lnTo>
                    <a:lnTo>
                      <a:pt x="487" y="741"/>
                    </a:lnTo>
                    <a:lnTo>
                      <a:pt x="487" y="751"/>
                    </a:lnTo>
                    <a:lnTo>
                      <a:pt x="487" y="761"/>
                    </a:lnTo>
                    <a:lnTo>
                      <a:pt x="487" y="770"/>
                    </a:lnTo>
                    <a:lnTo>
                      <a:pt x="477" y="761"/>
                    </a:lnTo>
                    <a:lnTo>
                      <a:pt x="468" y="761"/>
                    </a:lnTo>
                    <a:lnTo>
                      <a:pt x="458" y="761"/>
                    </a:lnTo>
                    <a:lnTo>
                      <a:pt x="448" y="761"/>
                    </a:lnTo>
                    <a:lnTo>
                      <a:pt x="429" y="751"/>
                    </a:lnTo>
                    <a:lnTo>
                      <a:pt x="419" y="741"/>
                    </a:lnTo>
                    <a:lnTo>
                      <a:pt x="399" y="731"/>
                    </a:lnTo>
                    <a:lnTo>
                      <a:pt x="390" y="712"/>
                    </a:lnTo>
                    <a:lnTo>
                      <a:pt x="380" y="702"/>
                    </a:lnTo>
                    <a:lnTo>
                      <a:pt x="351" y="683"/>
                    </a:lnTo>
                    <a:lnTo>
                      <a:pt x="331" y="673"/>
                    </a:lnTo>
                    <a:lnTo>
                      <a:pt x="331" y="663"/>
                    </a:lnTo>
                    <a:lnTo>
                      <a:pt x="312" y="673"/>
                    </a:lnTo>
                    <a:lnTo>
                      <a:pt x="292" y="663"/>
                    </a:lnTo>
                    <a:lnTo>
                      <a:pt x="263" y="644"/>
                    </a:lnTo>
                    <a:lnTo>
                      <a:pt x="234" y="614"/>
                    </a:lnTo>
                    <a:lnTo>
                      <a:pt x="195" y="585"/>
                    </a:lnTo>
                    <a:lnTo>
                      <a:pt x="126" y="556"/>
                    </a:lnTo>
                    <a:lnTo>
                      <a:pt x="107" y="536"/>
                    </a:lnTo>
                    <a:lnTo>
                      <a:pt x="78" y="527"/>
                    </a:lnTo>
                    <a:lnTo>
                      <a:pt x="58" y="507"/>
                    </a:lnTo>
                    <a:lnTo>
                      <a:pt x="39" y="488"/>
                    </a:lnTo>
                    <a:lnTo>
                      <a:pt x="19" y="468"/>
                    </a:lnTo>
                    <a:lnTo>
                      <a:pt x="0" y="458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36" name="Freeform 77"/>
            <p:cNvSpPr>
              <a:spLocks/>
            </p:cNvSpPr>
            <p:nvPr/>
          </p:nvSpPr>
          <p:spPr bwMode="auto">
            <a:xfrm>
              <a:off x="2997" y="1171"/>
              <a:ext cx="946" cy="635"/>
            </a:xfrm>
            <a:custGeom>
              <a:avLst/>
              <a:gdLst/>
              <a:ahLst/>
              <a:cxnLst>
                <a:cxn ang="0">
                  <a:pos x="282" y="390"/>
                </a:cxn>
                <a:cxn ang="0">
                  <a:pos x="370" y="429"/>
                </a:cxn>
                <a:cxn ang="0">
                  <a:pos x="497" y="527"/>
                </a:cxn>
                <a:cxn ang="0">
                  <a:pos x="663" y="634"/>
                </a:cxn>
                <a:cxn ang="0">
                  <a:pos x="741" y="614"/>
                </a:cxn>
                <a:cxn ang="0">
                  <a:pos x="790" y="595"/>
                </a:cxn>
                <a:cxn ang="0">
                  <a:pos x="838" y="585"/>
                </a:cxn>
                <a:cxn ang="0">
                  <a:pos x="897" y="585"/>
                </a:cxn>
                <a:cxn ang="0">
                  <a:pos x="907" y="517"/>
                </a:cxn>
                <a:cxn ang="0">
                  <a:pos x="946" y="517"/>
                </a:cxn>
                <a:cxn ang="0">
                  <a:pos x="946" y="497"/>
                </a:cxn>
                <a:cxn ang="0">
                  <a:pos x="916" y="439"/>
                </a:cxn>
                <a:cxn ang="0">
                  <a:pos x="829" y="361"/>
                </a:cxn>
                <a:cxn ang="0">
                  <a:pos x="780" y="371"/>
                </a:cxn>
                <a:cxn ang="0">
                  <a:pos x="770" y="419"/>
                </a:cxn>
                <a:cxn ang="0">
                  <a:pos x="731" y="458"/>
                </a:cxn>
                <a:cxn ang="0">
                  <a:pos x="702" y="458"/>
                </a:cxn>
                <a:cxn ang="0">
                  <a:pos x="673" y="458"/>
                </a:cxn>
                <a:cxn ang="0">
                  <a:pos x="702" y="429"/>
                </a:cxn>
                <a:cxn ang="0">
                  <a:pos x="712" y="400"/>
                </a:cxn>
                <a:cxn ang="0">
                  <a:pos x="673" y="400"/>
                </a:cxn>
                <a:cxn ang="0">
                  <a:pos x="653" y="390"/>
                </a:cxn>
                <a:cxn ang="0">
                  <a:pos x="624" y="400"/>
                </a:cxn>
                <a:cxn ang="0">
                  <a:pos x="585" y="361"/>
                </a:cxn>
                <a:cxn ang="0">
                  <a:pos x="526" y="341"/>
                </a:cxn>
                <a:cxn ang="0">
                  <a:pos x="497" y="341"/>
                </a:cxn>
                <a:cxn ang="0">
                  <a:pos x="458" y="312"/>
                </a:cxn>
                <a:cxn ang="0">
                  <a:pos x="497" y="312"/>
                </a:cxn>
                <a:cxn ang="0">
                  <a:pos x="517" y="273"/>
                </a:cxn>
                <a:cxn ang="0">
                  <a:pos x="507" y="253"/>
                </a:cxn>
                <a:cxn ang="0">
                  <a:pos x="448" y="263"/>
                </a:cxn>
                <a:cxn ang="0">
                  <a:pos x="419" y="283"/>
                </a:cxn>
                <a:cxn ang="0">
                  <a:pos x="409" y="244"/>
                </a:cxn>
                <a:cxn ang="0">
                  <a:pos x="321" y="234"/>
                </a:cxn>
                <a:cxn ang="0">
                  <a:pos x="263" y="224"/>
                </a:cxn>
                <a:cxn ang="0">
                  <a:pos x="214" y="214"/>
                </a:cxn>
                <a:cxn ang="0">
                  <a:pos x="156" y="253"/>
                </a:cxn>
                <a:cxn ang="0">
                  <a:pos x="87" y="205"/>
                </a:cxn>
                <a:cxn ang="0">
                  <a:pos x="107" y="156"/>
                </a:cxn>
                <a:cxn ang="0">
                  <a:pos x="136" y="136"/>
                </a:cxn>
                <a:cxn ang="0">
                  <a:pos x="185" y="146"/>
                </a:cxn>
                <a:cxn ang="0">
                  <a:pos x="224" y="117"/>
                </a:cxn>
                <a:cxn ang="0">
                  <a:pos x="224" y="58"/>
                </a:cxn>
                <a:cxn ang="0">
                  <a:pos x="185" y="0"/>
                </a:cxn>
                <a:cxn ang="0">
                  <a:pos x="165" y="29"/>
                </a:cxn>
                <a:cxn ang="0">
                  <a:pos x="126" y="68"/>
                </a:cxn>
                <a:cxn ang="0">
                  <a:pos x="97" y="88"/>
                </a:cxn>
                <a:cxn ang="0">
                  <a:pos x="58" y="117"/>
                </a:cxn>
                <a:cxn ang="0">
                  <a:pos x="48" y="166"/>
                </a:cxn>
                <a:cxn ang="0">
                  <a:pos x="0" y="185"/>
                </a:cxn>
                <a:cxn ang="0">
                  <a:pos x="29" y="302"/>
                </a:cxn>
                <a:cxn ang="0">
                  <a:pos x="97" y="332"/>
                </a:cxn>
              </a:cxnLst>
              <a:rect l="0" t="0" r="r" b="b"/>
              <a:pathLst>
                <a:path w="946" h="634">
                  <a:moveTo>
                    <a:pt x="136" y="361"/>
                  </a:moveTo>
                  <a:lnTo>
                    <a:pt x="185" y="371"/>
                  </a:lnTo>
                  <a:lnTo>
                    <a:pt x="253" y="380"/>
                  </a:lnTo>
                  <a:lnTo>
                    <a:pt x="282" y="390"/>
                  </a:lnTo>
                  <a:lnTo>
                    <a:pt x="302" y="380"/>
                  </a:lnTo>
                  <a:lnTo>
                    <a:pt x="331" y="390"/>
                  </a:lnTo>
                  <a:lnTo>
                    <a:pt x="351" y="410"/>
                  </a:lnTo>
                  <a:lnTo>
                    <a:pt x="370" y="429"/>
                  </a:lnTo>
                  <a:lnTo>
                    <a:pt x="409" y="458"/>
                  </a:lnTo>
                  <a:lnTo>
                    <a:pt x="419" y="478"/>
                  </a:lnTo>
                  <a:lnTo>
                    <a:pt x="438" y="488"/>
                  </a:lnTo>
                  <a:lnTo>
                    <a:pt x="497" y="527"/>
                  </a:lnTo>
                  <a:lnTo>
                    <a:pt x="546" y="556"/>
                  </a:lnTo>
                  <a:lnTo>
                    <a:pt x="595" y="595"/>
                  </a:lnTo>
                  <a:lnTo>
                    <a:pt x="643" y="634"/>
                  </a:lnTo>
                  <a:lnTo>
                    <a:pt x="663" y="634"/>
                  </a:lnTo>
                  <a:lnTo>
                    <a:pt x="682" y="634"/>
                  </a:lnTo>
                  <a:lnTo>
                    <a:pt x="702" y="634"/>
                  </a:lnTo>
                  <a:lnTo>
                    <a:pt x="721" y="624"/>
                  </a:lnTo>
                  <a:lnTo>
                    <a:pt x="741" y="614"/>
                  </a:lnTo>
                  <a:lnTo>
                    <a:pt x="751" y="614"/>
                  </a:lnTo>
                  <a:lnTo>
                    <a:pt x="760" y="595"/>
                  </a:lnTo>
                  <a:lnTo>
                    <a:pt x="770" y="595"/>
                  </a:lnTo>
                  <a:lnTo>
                    <a:pt x="790" y="595"/>
                  </a:lnTo>
                  <a:lnTo>
                    <a:pt x="799" y="605"/>
                  </a:lnTo>
                  <a:lnTo>
                    <a:pt x="819" y="605"/>
                  </a:lnTo>
                  <a:lnTo>
                    <a:pt x="819" y="595"/>
                  </a:lnTo>
                  <a:lnTo>
                    <a:pt x="838" y="585"/>
                  </a:lnTo>
                  <a:lnTo>
                    <a:pt x="848" y="575"/>
                  </a:lnTo>
                  <a:lnTo>
                    <a:pt x="858" y="575"/>
                  </a:lnTo>
                  <a:lnTo>
                    <a:pt x="887" y="575"/>
                  </a:lnTo>
                  <a:lnTo>
                    <a:pt x="897" y="585"/>
                  </a:lnTo>
                  <a:lnTo>
                    <a:pt x="907" y="575"/>
                  </a:lnTo>
                  <a:lnTo>
                    <a:pt x="916" y="556"/>
                  </a:lnTo>
                  <a:lnTo>
                    <a:pt x="916" y="536"/>
                  </a:lnTo>
                  <a:lnTo>
                    <a:pt x="907" y="517"/>
                  </a:lnTo>
                  <a:lnTo>
                    <a:pt x="916" y="507"/>
                  </a:lnTo>
                  <a:lnTo>
                    <a:pt x="936" y="517"/>
                  </a:lnTo>
                  <a:lnTo>
                    <a:pt x="946" y="517"/>
                  </a:lnTo>
                  <a:lnTo>
                    <a:pt x="946" y="507"/>
                  </a:lnTo>
                  <a:lnTo>
                    <a:pt x="926" y="497"/>
                  </a:lnTo>
                  <a:lnTo>
                    <a:pt x="946" y="497"/>
                  </a:lnTo>
                  <a:lnTo>
                    <a:pt x="926" y="478"/>
                  </a:lnTo>
                  <a:lnTo>
                    <a:pt x="926" y="458"/>
                  </a:lnTo>
                  <a:lnTo>
                    <a:pt x="916" y="458"/>
                  </a:lnTo>
                  <a:lnTo>
                    <a:pt x="916" y="439"/>
                  </a:lnTo>
                  <a:lnTo>
                    <a:pt x="877" y="410"/>
                  </a:lnTo>
                  <a:lnTo>
                    <a:pt x="848" y="380"/>
                  </a:lnTo>
                  <a:lnTo>
                    <a:pt x="848" y="371"/>
                  </a:lnTo>
                  <a:lnTo>
                    <a:pt x="829" y="361"/>
                  </a:lnTo>
                  <a:lnTo>
                    <a:pt x="819" y="361"/>
                  </a:lnTo>
                  <a:lnTo>
                    <a:pt x="809" y="371"/>
                  </a:lnTo>
                  <a:lnTo>
                    <a:pt x="799" y="361"/>
                  </a:lnTo>
                  <a:lnTo>
                    <a:pt x="780" y="371"/>
                  </a:lnTo>
                  <a:lnTo>
                    <a:pt x="780" y="390"/>
                  </a:lnTo>
                  <a:lnTo>
                    <a:pt x="780" y="400"/>
                  </a:lnTo>
                  <a:lnTo>
                    <a:pt x="770" y="410"/>
                  </a:lnTo>
                  <a:lnTo>
                    <a:pt x="770" y="419"/>
                  </a:lnTo>
                  <a:lnTo>
                    <a:pt x="780" y="429"/>
                  </a:lnTo>
                  <a:lnTo>
                    <a:pt x="770" y="439"/>
                  </a:lnTo>
                  <a:lnTo>
                    <a:pt x="770" y="449"/>
                  </a:lnTo>
                  <a:lnTo>
                    <a:pt x="731" y="458"/>
                  </a:lnTo>
                  <a:lnTo>
                    <a:pt x="721" y="439"/>
                  </a:lnTo>
                  <a:lnTo>
                    <a:pt x="712" y="439"/>
                  </a:lnTo>
                  <a:lnTo>
                    <a:pt x="702" y="449"/>
                  </a:lnTo>
                  <a:lnTo>
                    <a:pt x="702" y="458"/>
                  </a:lnTo>
                  <a:lnTo>
                    <a:pt x="702" y="468"/>
                  </a:lnTo>
                  <a:lnTo>
                    <a:pt x="682" y="468"/>
                  </a:lnTo>
                  <a:lnTo>
                    <a:pt x="673" y="458"/>
                  </a:lnTo>
                  <a:lnTo>
                    <a:pt x="673" y="449"/>
                  </a:lnTo>
                  <a:lnTo>
                    <a:pt x="673" y="429"/>
                  </a:lnTo>
                  <a:lnTo>
                    <a:pt x="692" y="429"/>
                  </a:lnTo>
                  <a:lnTo>
                    <a:pt x="702" y="429"/>
                  </a:lnTo>
                  <a:lnTo>
                    <a:pt x="702" y="419"/>
                  </a:lnTo>
                  <a:lnTo>
                    <a:pt x="702" y="400"/>
                  </a:lnTo>
                  <a:lnTo>
                    <a:pt x="712" y="400"/>
                  </a:lnTo>
                  <a:lnTo>
                    <a:pt x="702" y="390"/>
                  </a:lnTo>
                  <a:lnTo>
                    <a:pt x="682" y="380"/>
                  </a:lnTo>
                  <a:lnTo>
                    <a:pt x="673" y="380"/>
                  </a:lnTo>
                  <a:lnTo>
                    <a:pt x="673" y="400"/>
                  </a:lnTo>
                  <a:lnTo>
                    <a:pt x="663" y="400"/>
                  </a:lnTo>
                  <a:lnTo>
                    <a:pt x="663" y="390"/>
                  </a:lnTo>
                  <a:lnTo>
                    <a:pt x="653" y="390"/>
                  </a:lnTo>
                  <a:lnTo>
                    <a:pt x="643" y="400"/>
                  </a:lnTo>
                  <a:lnTo>
                    <a:pt x="643" y="390"/>
                  </a:lnTo>
                  <a:lnTo>
                    <a:pt x="634" y="390"/>
                  </a:lnTo>
                  <a:lnTo>
                    <a:pt x="624" y="400"/>
                  </a:lnTo>
                  <a:lnTo>
                    <a:pt x="614" y="390"/>
                  </a:lnTo>
                  <a:lnTo>
                    <a:pt x="604" y="380"/>
                  </a:lnTo>
                  <a:lnTo>
                    <a:pt x="595" y="371"/>
                  </a:lnTo>
                  <a:lnTo>
                    <a:pt x="585" y="361"/>
                  </a:lnTo>
                  <a:lnTo>
                    <a:pt x="575" y="351"/>
                  </a:lnTo>
                  <a:lnTo>
                    <a:pt x="565" y="351"/>
                  </a:lnTo>
                  <a:lnTo>
                    <a:pt x="546" y="341"/>
                  </a:lnTo>
                  <a:lnTo>
                    <a:pt x="526" y="341"/>
                  </a:lnTo>
                  <a:lnTo>
                    <a:pt x="517" y="351"/>
                  </a:lnTo>
                  <a:lnTo>
                    <a:pt x="507" y="361"/>
                  </a:lnTo>
                  <a:lnTo>
                    <a:pt x="497" y="361"/>
                  </a:lnTo>
                  <a:lnTo>
                    <a:pt x="497" y="341"/>
                  </a:lnTo>
                  <a:lnTo>
                    <a:pt x="478" y="341"/>
                  </a:lnTo>
                  <a:lnTo>
                    <a:pt x="468" y="332"/>
                  </a:lnTo>
                  <a:lnTo>
                    <a:pt x="458" y="312"/>
                  </a:lnTo>
                  <a:lnTo>
                    <a:pt x="468" y="312"/>
                  </a:lnTo>
                  <a:lnTo>
                    <a:pt x="478" y="312"/>
                  </a:lnTo>
                  <a:lnTo>
                    <a:pt x="487" y="322"/>
                  </a:lnTo>
                  <a:lnTo>
                    <a:pt x="497" y="312"/>
                  </a:lnTo>
                  <a:lnTo>
                    <a:pt x="497" y="302"/>
                  </a:lnTo>
                  <a:lnTo>
                    <a:pt x="517" y="283"/>
                  </a:lnTo>
                  <a:lnTo>
                    <a:pt x="517" y="273"/>
                  </a:lnTo>
                  <a:lnTo>
                    <a:pt x="536" y="283"/>
                  </a:lnTo>
                  <a:lnTo>
                    <a:pt x="546" y="283"/>
                  </a:lnTo>
                  <a:lnTo>
                    <a:pt x="526" y="263"/>
                  </a:lnTo>
                  <a:lnTo>
                    <a:pt x="507" y="253"/>
                  </a:lnTo>
                  <a:lnTo>
                    <a:pt x="458" y="253"/>
                  </a:lnTo>
                  <a:lnTo>
                    <a:pt x="448" y="253"/>
                  </a:lnTo>
                  <a:lnTo>
                    <a:pt x="458" y="263"/>
                  </a:lnTo>
                  <a:lnTo>
                    <a:pt x="448" y="263"/>
                  </a:lnTo>
                  <a:lnTo>
                    <a:pt x="458" y="283"/>
                  </a:lnTo>
                  <a:lnTo>
                    <a:pt x="448" y="283"/>
                  </a:lnTo>
                  <a:lnTo>
                    <a:pt x="438" y="283"/>
                  </a:lnTo>
                  <a:lnTo>
                    <a:pt x="419" y="283"/>
                  </a:lnTo>
                  <a:lnTo>
                    <a:pt x="438" y="273"/>
                  </a:lnTo>
                  <a:lnTo>
                    <a:pt x="438" y="253"/>
                  </a:lnTo>
                  <a:lnTo>
                    <a:pt x="419" y="253"/>
                  </a:lnTo>
                  <a:lnTo>
                    <a:pt x="409" y="244"/>
                  </a:lnTo>
                  <a:lnTo>
                    <a:pt x="390" y="244"/>
                  </a:lnTo>
                  <a:lnTo>
                    <a:pt x="380" y="234"/>
                  </a:lnTo>
                  <a:lnTo>
                    <a:pt x="360" y="234"/>
                  </a:lnTo>
                  <a:lnTo>
                    <a:pt x="321" y="234"/>
                  </a:lnTo>
                  <a:lnTo>
                    <a:pt x="292" y="234"/>
                  </a:lnTo>
                  <a:lnTo>
                    <a:pt x="273" y="224"/>
                  </a:lnTo>
                  <a:lnTo>
                    <a:pt x="273" y="214"/>
                  </a:lnTo>
                  <a:lnTo>
                    <a:pt x="263" y="224"/>
                  </a:lnTo>
                  <a:lnTo>
                    <a:pt x="263" y="234"/>
                  </a:lnTo>
                  <a:lnTo>
                    <a:pt x="243" y="224"/>
                  </a:lnTo>
                  <a:lnTo>
                    <a:pt x="234" y="214"/>
                  </a:lnTo>
                  <a:lnTo>
                    <a:pt x="214" y="214"/>
                  </a:lnTo>
                  <a:lnTo>
                    <a:pt x="214" y="224"/>
                  </a:lnTo>
                  <a:lnTo>
                    <a:pt x="175" y="234"/>
                  </a:lnTo>
                  <a:lnTo>
                    <a:pt x="175" y="253"/>
                  </a:lnTo>
                  <a:lnTo>
                    <a:pt x="156" y="253"/>
                  </a:lnTo>
                  <a:lnTo>
                    <a:pt x="146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87" y="205"/>
                  </a:lnTo>
                  <a:lnTo>
                    <a:pt x="97" y="195"/>
                  </a:lnTo>
                  <a:lnTo>
                    <a:pt x="97" y="185"/>
                  </a:lnTo>
                  <a:lnTo>
                    <a:pt x="107" y="175"/>
                  </a:lnTo>
                  <a:lnTo>
                    <a:pt x="107" y="156"/>
                  </a:lnTo>
                  <a:lnTo>
                    <a:pt x="107" y="146"/>
                  </a:lnTo>
                  <a:lnTo>
                    <a:pt x="117" y="136"/>
                  </a:lnTo>
                  <a:lnTo>
                    <a:pt x="136" y="136"/>
                  </a:lnTo>
                  <a:lnTo>
                    <a:pt x="146" y="127"/>
                  </a:lnTo>
                  <a:lnTo>
                    <a:pt x="156" y="127"/>
                  </a:lnTo>
                  <a:lnTo>
                    <a:pt x="175" y="136"/>
                  </a:lnTo>
                  <a:lnTo>
                    <a:pt x="185" y="146"/>
                  </a:lnTo>
                  <a:lnTo>
                    <a:pt x="195" y="166"/>
                  </a:lnTo>
                  <a:lnTo>
                    <a:pt x="204" y="146"/>
                  </a:lnTo>
                  <a:lnTo>
                    <a:pt x="214" y="136"/>
                  </a:lnTo>
                  <a:lnTo>
                    <a:pt x="224" y="117"/>
                  </a:lnTo>
                  <a:lnTo>
                    <a:pt x="214" y="97"/>
                  </a:lnTo>
                  <a:lnTo>
                    <a:pt x="224" y="88"/>
                  </a:lnTo>
                  <a:lnTo>
                    <a:pt x="224" y="78"/>
                  </a:lnTo>
                  <a:lnTo>
                    <a:pt x="224" y="58"/>
                  </a:lnTo>
                  <a:lnTo>
                    <a:pt x="214" y="49"/>
                  </a:lnTo>
                  <a:lnTo>
                    <a:pt x="195" y="29"/>
                  </a:lnTo>
                  <a:lnTo>
                    <a:pt x="185" y="19"/>
                  </a:lnTo>
                  <a:lnTo>
                    <a:pt x="185" y="0"/>
                  </a:lnTo>
                  <a:lnTo>
                    <a:pt x="175" y="0"/>
                  </a:lnTo>
                  <a:lnTo>
                    <a:pt x="165" y="10"/>
                  </a:lnTo>
                  <a:lnTo>
                    <a:pt x="165" y="29"/>
                  </a:lnTo>
                  <a:lnTo>
                    <a:pt x="165" y="49"/>
                  </a:lnTo>
                  <a:lnTo>
                    <a:pt x="156" y="58"/>
                  </a:lnTo>
                  <a:lnTo>
                    <a:pt x="136" y="58"/>
                  </a:lnTo>
                  <a:lnTo>
                    <a:pt x="126" y="68"/>
                  </a:lnTo>
                  <a:lnTo>
                    <a:pt x="136" y="78"/>
                  </a:lnTo>
                  <a:lnTo>
                    <a:pt x="117" y="78"/>
                  </a:lnTo>
                  <a:lnTo>
                    <a:pt x="107" y="88"/>
                  </a:lnTo>
                  <a:lnTo>
                    <a:pt x="97" y="88"/>
                  </a:lnTo>
                  <a:lnTo>
                    <a:pt x="78" y="97"/>
                  </a:lnTo>
                  <a:lnTo>
                    <a:pt x="68" y="107"/>
                  </a:lnTo>
                  <a:lnTo>
                    <a:pt x="58" y="107"/>
                  </a:lnTo>
                  <a:lnTo>
                    <a:pt x="58" y="117"/>
                  </a:lnTo>
                  <a:lnTo>
                    <a:pt x="68" y="127"/>
                  </a:lnTo>
                  <a:lnTo>
                    <a:pt x="58" y="136"/>
                  </a:lnTo>
                  <a:lnTo>
                    <a:pt x="58" y="156"/>
                  </a:lnTo>
                  <a:lnTo>
                    <a:pt x="48" y="166"/>
                  </a:lnTo>
                  <a:lnTo>
                    <a:pt x="39" y="166"/>
                  </a:lnTo>
                  <a:lnTo>
                    <a:pt x="29" y="175"/>
                  </a:lnTo>
                  <a:lnTo>
                    <a:pt x="19" y="185"/>
                  </a:lnTo>
                  <a:lnTo>
                    <a:pt x="0" y="185"/>
                  </a:lnTo>
                  <a:lnTo>
                    <a:pt x="9" y="214"/>
                  </a:lnTo>
                  <a:lnTo>
                    <a:pt x="19" y="253"/>
                  </a:lnTo>
                  <a:lnTo>
                    <a:pt x="29" y="273"/>
                  </a:lnTo>
                  <a:lnTo>
                    <a:pt x="29" y="302"/>
                  </a:lnTo>
                  <a:lnTo>
                    <a:pt x="39" y="322"/>
                  </a:lnTo>
                  <a:lnTo>
                    <a:pt x="48" y="322"/>
                  </a:lnTo>
                  <a:lnTo>
                    <a:pt x="68" y="341"/>
                  </a:lnTo>
                  <a:lnTo>
                    <a:pt x="97" y="332"/>
                  </a:lnTo>
                  <a:lnTo>
                    <a:pt x="117" y="351"/>
                  </a:lnTo>
                  <a:lnTo>
                    <a:pt x="136" y="361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7" name="Freeform 76"/>
            <p:cNvSpPr>
              <a:spLocks/>
            </p:cNvSpPr>
            <p:nvPr/>
          </p:nvSpPr>
          <p:spPr bwMode="auto">
            <a:xfrm>
              <a:off x="772" y="2870"/>
              <a:ext cx="177" cy="134"/>
            </a:xfrm>
            <a:custGeom>
              <a:avLst/>
              <a:gdLst/>
              <a:ahLst/>
              <a:cxnLst>
                <a:cxn ang="0">
                  <a:pos x="68" y="137"/>
                </a:cxn>
                <a:cxn ang="0">
                  <a:pos x="97" y="127"/>
                </a:cxn>
                <a:cxn ang="0">
                  <a:pos x="107" y="127"/>
                </a:cxn>
                <a:cxn ang="0">
                  <a:pos x="146" y="127"/>
                </a:cxn>
                <a:cxn ang="0">
                  <a:pos x="146" y="108"/>
                </a:cxn>
                <a:cxn ang="0">
                  <a:pos x="146" y="98"/>
                </a:cxn>
                <a:cxn ang="0">
                  <a:pos x="136" y="88"/>
                </a:cxn>
                <a:cxn ang="0">
                  <a:pos x="136" y="79"/>
                </a:cxn>
                <a:cxn ang="0">
                  <a:pos x="136" y="79"/>
                </a:cxn>
                <a:cxn ang="0">
                  <a:pos x="156" y="79"/>
                </a:cxn>
                <a:cxn ang="0">
                  <a:pos x="175" y="79"/>
                </a:cxn>
                <a:cxn ang="0">
                  <a:pos x="175" y="59"/>
                </a:cxn>
                <a:cxn ang="0">
                  <a:pos x="165" y="49"/>
                </a:cxn>
                <a:cxn ang="0">
                  <a:pos x="156" y="49"/>
                </a:cxn>
                <a:cxn ang="0">
                  <a:pos x="146" y="30"/>
                </a:cxn>
                <a:cxn ang="0">
                  <a:pos x="146" y="10"/>
                </a:cxn>
                <a:cxn ang="0">
                  <a:pos x="126" y="10"/>
                </a:cxn>
                <a:cxn ang="0">
                  <a:pos x="126" y="30"/>
                </a:cxn>
                <a:cxn ang="0">
                  <a:pos x="97" y="30"/>
                </a:cxn>
                <a:cxn ang="0">
                  <a:pos x="87" y="40"/>
                </a:cxn>
                <a:cxn ang="0">
                  <a:pos x="78" y="30"/>
                </a:cxn>
                <a:cxn ang="0">
                  <a:pos x="87" y="10"/>
                </a:cxn>
                <a:cxn ang="0">
                  <a:pos x="68" y="0"/>
                </a:cxn>
                <a:cxn ang="0">
                  <a:pos x="48" y="0"/>
                </a:cxn>
                <a:cxn ang="0">
                  <a:pos x="29" y="0"/>
                </a:cxn>
                <a:cxn ang="0">
                  <a:pos x="0" y="20"/>
                </a:cxn>
                <a:cxn ang="0">
                  <a:pos x="9" y="40"/>
                </a:cxn>
                <a:cxn ang="0">
                  <a:pos x="19" y="59"/>
                </a:cxn>
                <a:cxn ang="0">
                  <a:pos x="29" y="79"/>
                </a:cxn>
                <a:cxn ang="0">
                  <a:pos x="29" y="98"/>
                </a:cxn>
                <a:cxn ang="0">
                  <a:pos x="39" y="108"/>
                </a:cxn>
                <a:cxn ang="0">
                  <a:pos x="48" y="108"/>
                </a:cxn>
                <a:cxn ang="0">
                  <a:pos x="58" y="118"/>
                </a:cxn>
                <a:cxn ang="0">
                  <a:pos x="68" y="137"/>
                </a:cxn>
              </a:cxnLst>
              <a:rect l="0" t="0" r="r" b="b"/>
              <a:pathLst>
                <a:path w="175" h="137">
                  <a:moveTo>
                    <a:pt x="68" y="137"/>
                  </a:moveTo>
                  <a:lnTo>
                    <a:pt x="97" y="127"/>
                  </a:lnTo>
                  <a:lnTo>
                    <a:pt x="107" y="127"/>
                  </a:lnTo>
                  <a:lnTo>
                    <a:pt x="146" y="127"/>
                  </a:lnTo>
                  <a:lnTo>
                    <a:pt x="146" y="108"/>
                  </a:lnTo>
                  <a:lnTo>
                    <a:pt x="146" y="98"/>
                  </a:lnTo>
                  <a:lnTo>
                    <a:pt x="136" y="88"/>
                  </a:lnTo>
                  <a:lnTo>
                    <a:pt x="136" y="79"/>
                  </a:lnTo>
                  <a:lnTo>
                    <a:pt x="156" y="79"/>
                  </a:lnTo>
                  <a:lnTo>
                    <a:pt x="175" y="79"/>
                  </a:lnTo>
                  <a:lnTo>
                    <a:pt x="175" y="59"/>
                  </a:lnTo>
                  <a:lnTo>
                    <a:pt x="165" y="49"/>
                  </a:lnTo>
                  <a:lnTo>
                    <a:pt x="156" y="49"/>
                  </a:lnTo>
                  <a:lnTo>
                    <a:pt x="146" y="30"/>
                  </a:lnTo>
                  <a:lnTo>
                    <a:pt x="146" y="10"/>
                  </a:lnTo>
                  <a:lnTo>
                    <a:pt x="126" y="10"/>
                  </a:lnTo>
                  <a:lnTo>
                    <a:pt x="126" y="30"/>
                  </a:lnTo>
                  <a:lnTo>
                    <a:pt x="97" y="30"/>
                  </a:lnTo>
                  <a:lnTo>
                    <a:pt x="87" y="40"/>
                  </a:lnTo>
                  <a:lnTo>
                    <a:pt x="78" y="30"/>
                  </a:lnTo>
                  <a:lnTo>
                    <a:pt x="87" y="10"/>
                  </a:lnTo>
                  <a:lnTo>
                    <a:pt x="68" y="0"/>
                  </a:lnTo>
                  <a:lnTo>
                    <a:pt x="48" y="0"/>
                  </a:lnTo>
                  <a:lnTo>
                    <a:pt x="29" y="0"/>
                  </a:lnTo>
                  <a:lnTo>
                    <a:pt x="0" y="20"/>
                  </a:lnTo>
                  <a:lnTo>
                    <a:pt x="9" y="40"/>
                  </a:lnTo>
                  <a:lnTo>
                    <a:pt x="19" y="59"/>
                  </a:lnTo>
                  <a:lnTo>
                    <a:pt x="29" y="79"/>
                  </a:lnTo>
                  <a:lnTo>
                    <a:pt x="29" y="98"/>
                  </a:lnTo>
                  <a:lnTo>
                    <a:pt x="39" y="108"/>
                  </a:lnTo>
                  <a:lnTo>
                    <a:pt x="48" y="108"/>
                  </a:lnTo>
                  <a:lnTo>
                    <a:pt x="58" y="118"/>
                  </a:lnTo>
                  <a:lnTo>
                    <a:pt x="68" y="137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8" name="Freeform 75"/>
            <p:cNvSpPr>
              <a:spLocks/>
            </p:cNvSpPr>
            <p:nvPr/>
          </p:nvSpPr>
          <p:spPr bwMode="auto">
            <a:xfrm>
              <a:off x="2741" y="2069"/>
              <a:ext cx="218" cy="322"/>
            </a:xfrm>
            <a:custGeom>
              <a:avLst/>
              <a:gdLst>
                <a:gd name="T0" fmla="*/ 58 w 215"/>
                <a:gd name="T1" fmla="*/ 157 h 322"/>
                <a:gd name="T2" fmla="*/ 68 w 215"/>
                <a:gd name="T3" fmla="*/ 157 h 322"/>
                <a:gd name="T4" fmla="*/ 88 w 215"/>
                <a:gd name="T5" fmla="*/ 137 h 322"/>
                <a:gd name="T6" fmla="*/ 97 w 215"/>
                <a:gd name="T7" fmla="*/ 127 h 322"/>
                <a:gd name="T8" fmla="*/ 97 w 215"/>
                <a:gd name="T9" fmla="*/ 108 h 322"/>
                <a:gd name="T10" fmla="*/ 78 w 215"/>
                <a:gd name="T11" fmla="*/ 108 h 322"/>
                <a:gd name="T12" fmla="*/ 58 w 215"/>
                <a:gd name="T13" fmla="*/ 78 h 322"/>
                <a:gd name="T14" fmla="*/ 49 w 215"/>
                <a:gd name="T15" fmla="*/ 69 h 322"/>
                <a:gd name="T16" fmla="*/ 68 w 215"/>
                <a:gd name="T17" fmla="*/ 59 h 322"/>
                <a:gd name="T18" fmla="*/ 68 w 215"/>
                <a:gd name="T19" fmla="*/ 20 h 322"/>
                <a:gd name="T20" fmla="*/ 78 w 215"/>
                <a:gd name="T21" fmla="*/ 0 h 322"/>
                <a:gd name="T22" fmla="*/ 97 w 215"/>
                <a:gd name="T23" fmla="*/ 10 h 322"/>
                <a:gd name="T24" fmla="*/ 107 w 215"/>
                <a:gd name="T25" fmla="*/ 10 h 322"/>
                <a:gd name="T26" fmla="*/ 117 w 215"/>
                <a:gd name="T27" fmla="*/ 20 h 322"/>
                <a:gd name="T28" fmla="*/ 136 w 215"/>
                <a:gd name="T29" fmla="*/ 10 h 322"/>
                <a:gd name="T30" fmla="*/ 166 w 215"/>
                <a:gd name="T31" fmla="*/ 30 h 322"/>
                <a:gd name="T32" fmla="*/ 156 w 215"/>
                <a:gd name="T33" fmla="*/ 49 h 322"/>
                <a:gd name="T34" fmla="*/ 166 w 215"/>
                <a:gd name="T35" fmla="*/ 69 h 322"/>
                <a:gd name="T36" fmla="*/ 185 w 215"/>
                <a:gd name="T37" fmla="*/ 59 h 322"/>
                <a:gd name="T38" fmla="*/ 215 w 215"/>
                <a:gd name="T39" fmla="*/ 108 h 322"/>
                <a:gd name="T40" fmla="*/ 215 w 215"/>
                <a:gd name="T41" fmla="*/ 127 h 322"/>
                <a:gd name="T42" fmla="*/ 205 w 215"/>
                <a:gd name="T43" fmla="*/ 127 h 322"/>
                <a:gd name="T44" fmla="*/ 195 w 215"/>
                <a:gd name="T45" fmla="*/ 137 h 322"/>
                <a:gd name="T46" fmla="*/ 185 w 215"/>
                <a:gd name="T47" fmla="*/ 147 h 322"/>
                <a:gd name="T48" fmla="*/ 195 w 215"/>
                <a:gd name="T49" fmla="*/ 157 h 322"/>
                <a:gd name="T50" fmla="*/ 185 w 215"/>
                <a:gd name="T51" fmla="*/ 187 h 322"/>
                <a:gd name="T52" fmla="*/ 185 w 215"/>
                <a:gd name="T53" fmla="*/ 197 h 322"/>
                <a:gd name="T54" fmla="*/ 185 w 215"/>
                <a:gd name="T55" fmla="*/ 207 h 322"/>
                <a:gd name="T56" fmla="*/ 176 w 215"/>
                <a:gd name="T57" fmla="*/ 216 h 322"/>
                <a:gd name="T58" fmla="*/ 166 w 215"/>
                <a:gd name="T59" fmla="*/ 207 h 322"/>
                <a:gd name="T60" fmla="*/ 166 w 215"/>
                <a:gd name="T61" fmla="*/ 216 h 322"/>
                <a:gd name="T62" fmla="*/ 156 w 215"/>
                <a:gd name="T63" fmla="*/ 226 h 322"/>
                <a:gd name="T64" fmla="*/ 156 w 215"/>
                <a:gd name="T65" fmla="*/ 236 h 322"/>
                <a:gd name="T66" fmla="*/ 146 w 215"/>
                <a:gd name="T67" fmla="*/ 246 h 322"/>
                <a:gd name="T68" fmla="*/ 136 w 215"/>
                <a:gd name="T69" fmla="*/ 246 h 322"/>
                <a:gd name="T70" fmla="*/ 136 w 215"/>
                <a:gd name="T71" fmla="*/ 255 h 322"/>
                <a:gd name="T72" fmla="*/ 136 w 215"/>
                <a:gd name="T73" fmla="*/ 265 h 322"/>
                <a:gd name="T74" fmla="*/ 127 w 215"/>
                <a:gd name="T75" fmla="*/ 275 h 322"/>
                <a:gd name="T76" fmla="*/ 127 w 215"/>
                <a:gd name="T77" fmla="*/ 285 h 322"/>
                <a:gd name="T78" fmla="*/ 146 w 215"/>
                <a:gd name="T79" fmla="*/ 304 h 322"/>
                <a:gd name="T80" fmla="*/ 146 w 215"/>
                <a:gd name="T81" fmla="*/ 314 h 322"/>
                <a:gd name="T82" fmla="*/ 146 w 215"/>
                <a:gd name="T83" fmla="*/ 324 h 322"/>
                <a:gd name="T84" fmla="*/ 136 w 215"/>
                <a:gd name="T85" fmla="*/ 333 h 322"/>
                <a:gd name="T86" fmla="*/ 127 w 215"/>
                <a:gd name="T87" fmla="*/ 324 h 322"/>
                <a:gd name="T88" fmla="*/ 107 w 215"/>
                <a:gd name="T89" fmla="*/ 324 h 322"/>
                <a:gd name="T90" fmla="*/ 78 w 215"/>
                <a:gd name="T91" fmla="*/ 324 h 322"/>
                <a:gd name="T92" fmla="*/ 58 w 215"/>
                <a:gd name="T93" fmla="*/ 294 h 322"/>
                <a:gd name="T94" fmla="*/ 49 w 215"/>
                <a:gd name="T95" fmla="*/ 304 h 322"/>
                <a:gd name="T96" fmla="*/ 49 w 215"/>
                <a:gd name="T97" fmla="*/ 314 h 322"/>
                <a:gd name="T98" fmla="*/ 19 w 215"/>
                <a:gd name="T99" fmla="*/ 314 h 322"/>
                <a:gd name="T100" fmla="*/ 10 w 215"/>
                <a:gd name="T101" fmla="*/ 304 h 322"/>
                <a:gd name="T102" fmla="*/ 0 w 215"/>
                <a:gd name="T103" fmla="*/ 275 h 322"/>
                <a:gd name="T104" fmla="*/ 0 w 215"/>
                <a:gd name="T105" fmla="*/ 255 h 322"/>
                <a:gd name="T106" fmla="*/ 10 w 215"/>
                <a:gd name="T107" fmla="*/ 236 h 322"/>
                <a:gd name="T108" fmla="*/ 19 w 215"/>
                <a:gd name="T109" fmla="*/ 226 h 322"/>
                <a:gd name="T110" fmla="*/ 10 w 215"/>
                <a:gd name="T111" fmla="*/ 216 h 322"/>
                <a:gd name="T112" fmla="*/ 10 w 215"/>
                <a:gd name="T113" fmla="*/ 207 h 322"/>
                <a:gd name="T114" fmla="*/ 19 w 215"/>
                <a:gd name="T115" fmla="*/ 197 h 322"/>
                <a:gd name="T116" fmla="*/ 58 w 215"/>
                <a:gd name="T117" fmla="*/ 157 h 3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5"/>
                <a:gd name="T178" fmla="*/ 0 h 322"/>
                <a:gd name="T179" fmla="*/ 215 w 215"/>
                <a:gd name="T180" fmla="*/ 322 h 3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5" h="322">
                  <a:moveTo>
                    <a:pt x="58" y="157"/>
                  </a:moveTo>
                  <a:lnTo>
                    <a:pt x="68" y="157"/>
                  </a:lnTo>
                  <a:lnTo>
                    <a:pt x="88" y="137"/>
                  </a:lnTo>
                  <a:lnTo>
                    <a:pt x="97" y="127"/>
                  </a:lnTo>
                  <a:lnTo>
                    <a:pt x="97" y="108"/>
                  </a:lnTo>
                  <a:lnTo>
                    <a:pt x="78" y="108"/>
                  </a:lnTo>
                  <a:lnTo>
                    <a:pt x="58" y="78"/>
                  </a:lnTo>
                  <a:lnTo>
                    <a:pt x="49" y="69"/>
                  </a:lnTo>
                  <a:lnTo>
                    <a:pt x="68" y="59"/>
                  </a:lnTo>
                  <a:lnTo>
                    <a:pt x="68" y="20"/>
                  </a:lnTo>
                  <a:lnTo>
                    <a:pt x="78" y="0"/>
                  </a:lnTo>
                  <a:lnTo>
                    <a:pt x="97" y="10"/>
                  </a:lnTo>
                  <a:lnTo>
                    <a:pt x="107" y="10"/>
                  </a:lnTo>
                  <a:lnTo>
                    <a:pt x="117" y="20"/>
                  </a:lnTo>
                  <a:lnTo>
                    <a:pt x="136" y="10"/>
                  </a:lnTo>
                  <a:lnTo>
                    <a:pt x="166" y="30"/>
                  </a:lnTo>
                  <a:lnTo>
                    <a:pt x="156" y="49"/>
                  </a:lnTo>
                  <a:lnTo>
                    <a:pt x="166" y="69"/>
                  </a:lnTo>
                  <a:lnTo>
                    <a:pt x="185" y="59"/>
                  </a:lnTo>
                  <a:lnTo>
                    <a:pt x="215" y="108"/>
                  </a:lnTo>
                  <a:lnTo>
                    <a:pt x="215" y="127"/>
                  </a:lnTo>
                  <a:lnTo>
                    <a:pt x="205" y="127"/>
                  </a:lnTo>
                  <a:lnTo>
                    <a:pt x="195" y="137"/>
                  </a:lnTo>
                  <a:lnTo>
                    <a:pt x="185" y="147"/>
                  </a:lnTo>
                  <a:lnTo>
                    <a:pt x="195" y="157"/>
                  </a:lnTo>
                  <a:lnTo>
                    <a:pt x="185" y="176"/>
                  </a:lnTo>
                  <a:lnTo>
                    <a:pt x="185" y="186"/>
                  </a:lnTo>
                  <a:lnTo>
                    <a:pt x="185" y="196"/>
                  </a:lnTo>
                  <a:lnTo>
                    <a:pt x="176" y="205"/>
                  </a:lnTo>
                  <a:lnTo>
                    <a:pt x="166" y="196"/>
                  </a:lnTo>
                  <a:lnTo>
                    <a:pt x="166" y="205"/>
                  </a:lnTo>
                  <a:lnTo>
                    <a:pt x="156" y="215"/>
                  </a:lnTo>
                  <a:lnTo>
                    <a:pt x="156" y="225"/>
                  </a:lnTo>
                  <a:lnTo>
                    <a:pt x="146" y="235"/>
                  </a:lnTo>
                  <a:lnTo>
                    <a:pt x="136" y="235"/>
                  </a:lnTo>
                  <a:lnTo>
                    <a:pt x="136" y="244"/>
                  </a:lnTo>
                  <a:lnTo>
                    <a:pt x="136" y="254"/>
                  </a:lnTo>
                  <a:lnTo>
                    <a:pt x="127" y="264"/>
                  </a:lnTo>
                  <a:lnTo>
                    <a:pt x="127" y="274"/>
                  </a:lnTo>
                  <a:lnTo>
                    <a:pt x="146" y="293"/>
                  </a:lnTo>
                  <a:lnTo>
                    <a:pt x="146" y="303"/>
                  </a:lnTo>
                  <a:lnTo>
                    <a:pt x="146" y="313"/>
                  </a:lnTo>
                  <a:lnTo>
                    <a:pt x="136" y="322"/>
                  </a:lnTo>
                  <a:lnTo>
                    <a:pt x="127" y="313"/>
                  </a:lnTo>
                  <a:lnTo>
                    <a:pt x="107" y="313"/>
                  </a:lnTo>
                  <a:lnTo>
                    <a:pt x="78" y="313"/>
                  </a:lnTo>
                  <a:lnTo>
                    <a:pt x="58" y="283"/>
                  </a:lnTo>
                  <a:lnTo>
                    <a:pt x="49" y="293"/>
                  </a:lnTo>
                  <a:lnTo>
                    <a:pt x="49" y="303"/>
                  </a:lnTo>
                  <a:lnTo>
                    <a:pt x="19" y="303"/>
                  </a:lnTo>
                  <a:lnTo>
                    <a:pt x="10" y="293"/>
                  </a:lnTo>
                  <a:lnTo>
                    <a:pt x="0" y="264"/>
                  </a:lnTo>
                  <a:lnTo>
                    <a:pt x="0" y="244"/>
                  </a:lnTo>
                  <a:lnTo>
                    <a:pt x="10" y="225"/>
                  </a:lnTo>
                  <a:lnTo>
                    <a:pt x="19" y="215"/>
                  </a:lnTo>
                  <a:lnTo>
                    <a:pt x="10" y="205"/>
                  </a:lnTo>
                  <a:lnTo>
                    <a:pt x="10" y="196"/>
                  </a:lnTo>
                  <a:lnTo>
                    <a:pt x="19" y="186"/>
                  </a:lnTo>
                  <a:lnTo>
                    <a:pt x="58" y="157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9" name="Freeform 74"/>
            <p:cNvSpPr>
              <a:spLocks/>
            </p:cNvSpPr>
            <p:nvPr/>
          </p:nvSpPr>
          <p:spPr bwMode="auto">
            <a:xfrm>
              <a:off x="4156" y="3845"/>
              <a:ext cx="428" cy="388"/>
            </a:xfrm>
            <a:custGeom>
              <a:avLst/>
              <a:gdLst>
                <a:gd name="T0" fmla="*/ 282 w 429"/>
                <a:gd name="T1" fmla="*/ 29 h 390"/>
                <a:gd name="T2" fmla="*/ 311 w 429"/>
                <a:gd name="T3" fmla="*/ 20 h 390"/>
                <a:gd name="T4" fmla="*/ 340 w 429"/>
                <a:gd name="T5" fmla="*/ 49 h 390"/>
                <a:gd name="T6" fmla="*/ 321 w 429"/>
                <a:gd name="T7" fmla="*/ 68 h 390"/>
                <a:gd name="T8" fmla="*/ 301 w 429"/>
                <a:gd name="T9" fmla="*/ 78 h 390"/>
                <a:gd name="T10" fmla="*/ 301 w 429"/>
                <a:gd name="T11" fmla="*/ 98 h 390"/>
                <a:gd name="T12" fmla="*/ 301 w 429"/>
                <a:gd name="T13" fmla="*/ 117 h 390"/>
                <a:gd name="T14" fmla="*/ 321 w 429"/>
                <a:gd name="T15" fmla="*/ 147 h 390"/>
                <a:gd name="T16" fmla="*/ 360 w 429"/>
                <a:gd name="T17" fmla="*/ 147 h 390"/>
                <a:gd name="T18" fmla="*/ 360 w 429"/>
                <a:gd name="T19" fmla="*/ 166 h 390"/>
                <a:gd name="T20" fmla="*/ 360 w 429"/>
                <a:gd name="T21" fmla="*/ 195 h 390"/>
                <a:gd name="T22" fmla="*/ 389 w 429"/>
                <a:gd name="T23" fmla="*/ 223 h 390"/>
                <a:gd name="T24" fmla="*/ 418 w 429"/>
                <a:gd name="T25" fmla="*/ 272 h 390"/>
                <a:gd name="T26" fmla="*/ 399 w 429"/>
                <a:gd name="T27" fmla="*/ 262 h 390"/>
                <a:gd name="T28" fmla="*/ 389 w 429"/>
                <a:gd name="T29" fmla="*/ 272 h 390"/>
                <a:gd name="T30" fmla="*/ 360 w 429"/>
                <a:gd name="T31" fmla="*/ 282 h 390"/>
                <a:gd name="T32" fmla="*/ 379 w 429"/>
                <a:gd name="T33" fmla="*/ 292 h 390"/>
                <a:gd name="T34" fmla="*/ 389 w 429"/>
                <a:gd name="T35" fmla="*/ 311 h 390"/>
                <a:gd name="T36" fmla="*/ 389 w 429"/>
                <a:gd name="T37" fmla="*/ 321 h 390"/>
                <a:gd name="T38" fmla="*/ 399 w 429"/>
                <a:gd name="T39" fmla="*/ 331 h 390"/>
                <a:gd name="T40" fmla="*/ 389 w 429"/>
                <a:gd name="T41" fmla="*/ 350 h 390"/>
                <a:gd name="T42" fmla="*/ 340 w 429"/>
                <a:gd name="T43" fmla="*/ 360 h 390"/>
                <a:gd name="T44" fmla="*/ 282 w 429"/>
                <a:gd name="T45" fmla="*/ 360 h 390"/>
                <a:gd name="T46" fmla="*/ 262 w 429"/>
                <a:gd name="T47" fmla="*/ 379 h 390"/>
                <a:gd name="T48" fmla="*/ 223 w 429"/>
                <a:gd name="T49" fmla="*/ 379 h 390"/>
                <a:gd name="T50" fmla="*/ 205 w 429"/>
                <a:gd name="T51" fmla="*/ 379 h 390"/>
                <a:gd name="T52" fmla="*/ 186 w 429"/>
                <a:gd name="T53" fmla="*/ 360 h 390"/>
                <a:gd name="T54" fmla="*/ 176 w 429"/>
                <a:gd name="T55" fmla="*/ 321 h 390"/>
                <a:gd name="T56" fmla="*/ 176 w 429"/>
                <a:gd name="T57" fmla="*/ 311 h 390"/>
                <a:gd name="T58" fmla="*/ 176 w 429"/>
                <a:gd name="T59" fmla="*/ 301 h 390"/>
                <a:gd name="T60" fmla="*/ 147 w 429"/>
                <a:gd name="T61" fmla="*/ 311 h 390"/>
                <a:gd name="T62" fmla="*/ 108 w 429"/>
                <a:gd name="T63" fmla="*/ 311 h 390"/>
                <a:gd name="T64" fmla="*/ 78 w 429"/>
                <a:gd name="T65" fmla="*/ 301 h 390"/>
                <a:gd name="T66" fmla="*/ 59 w 429"/>
                <a:gd name="T67" fmla="*/ 292 h 390"/>
                <a:gd name="T68" fmla="*/ 49 w 429"/>
                <a:gd name="T69" fmla="*/ 262 h 390"/>
                <a:gd name="T70" fmla="*/ 49 w 429"/>
                <a:gd name="T71" fmla="*/ 243 h 390"/>
                <a:gd name="T72" fmla="*/ 30 w 429"/>
                <a:gd name="T73" fmla="*/ 214 h 390"/>
                <a:gd name="T74" fmla="*/ 10 w 429"/>
                <a:gd name="T75" fmla="*/ 204 h 390"/>
                <a:gd name="T76" fmla="*/ 10 w 429"/>
                <a:gd name="T77" fmla="*/ 176 h 390"/>
                <a:gd name="T78" fmla="*/ 10 w 429"/>
                <a:gd name="T79" fmla="*/ 166 h 390"/>
                <a:gd name="T80" fmla="*/ 30 w 429"/>
                <a:gd name="T81" fmla="*/ 156 h 390"/>
                <a:gd name="T82" fmla="*/ 30 w 429"/>
                <a:gd name="T83" fmla="*/ 137 h 390"/>
                <a:gd name="T84" fmla="*/ 10 w 429"/>
                <a:gd name="T85" fmla="*/ 107 h 390"/>
                <a:gd name="T86" fmla="*/ 39 w 429"/>
                <a:gd name="T87" fmla="*/ 107 h 390"/>
                <a:gd name="T88" fmla="*/ 98 w 429"/>
                <a:gd name="T89" fmla="*/ 88 h 390"/>
                <a:gd name="T90" fmla="*/ 147 w 429"/>
                <a:gd name="T91" fmla="*/ 78 h 390"/>
                <a:gd name="T92" fmla="*/ 166 w 429"/>
                <a:gd name="T93" fmla="*/ 49 h 390"/>
                <a:gd name="T94" fmla="*/ 195 w 429"/>
                <a:gd name="T95" fmla="*/ 39 h 390"/>
                <a:gd name="T96" fmla="*/ 214 w 429"/>
                <a:gd name="T97" fmla="*/ 29 h 390"/>
                <a:gd name="T98" fmla="*/ 223 w 429"/>
                <a:gd name="T99" fmla="*/ 20 h 390"/>
                <a:gd name="T100" fmla="*/ 243 w 429"/>
                <a:gd name="T101" fmla="*/ 0 h 390"/>
                <a:gd name="T102" fmla="*/ 262 w 429"/>
                <a:gd name="T103" fmla="*/ 10 h 39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29"/>
                <a:gd name="T157" fmla="*/ 0 h 390"/>
                <a:gd name="T158" fmla="*/ 429 w 429"/>
                <a:gd name="T159" fmla="*/ 390 h 39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29" h="390">
                  <a:moveTo>
                    <a:pt x="273" y="10"/>
                  </a:moveTo>
                  <a:lnTo>
                    <a:pt x="293" y="29"/>
                  </a:lnTo>
                  <a:lnTo>
                    <a:pt x="312" y="20"/>
                  </a:lnTo>
                  <a:lnTo>
                    <a:pt x="322" y="20"/>
                  </a:lnTo>
                  <a:lnTo>
                    <a:pt x="342" y="39"/>
                  </a:lnTo>
                  <a:lnTo>
                    <a:pt x="351" y="49"/>
                  </a:lnTo>
                  <a:lnTo>
                    <a:pt x="342" y="68"/>
                  </a:lnTo>
                  <a:lnTo>
                    <a:pt x="332" y="68"/>
                  </a:lnTo>
                  <a:lnTo>
                    <a:pt x="322" y="68"/>
                  </a:lnTo>
                  <a:lnTo>
                    <a:pt x="312" y="78"/>
                  </a:lnTo>
                  <a:lnTo>
                    <a:pt x="303" y="88"/>
                  </a:lnTo>
                  <a:lnTo>
                    <a:pt x="312" y="98"/>
                  </a:lnTo>
                  <a:lnTo>
                    <a:pt x="322" y="107"/>
                  </a:lnTo>
                  <a:lnTo>
                    <a:pt x="312" y="117"/>
                  </a:lnTo>
                  <a:lnTo>
                    <a:pt x="312" y="127"/>
                  </a:lnTo>
                  <a:lnTo>
                    <a:pt x="332" y="147"/>
                  </a:lnTo>
                  <a:lnTo>
                    <a:pt x="351" y="137"/>
                  </a:lnTo>
                  <a:lnTo>
                    <a:pt x="371" y="147"/>
                  </a:lnTo>
                  <a:lnTo>
                    <a:pt x="371" y="156"/>
                  </a:lnTo>
                  <a:lnTo>
                    <a:pt x="371" y="166"/>
                  </a:lnTo>
                  <a:lnTo>
                    <a:pt x="361" y="186"/>
                  </a:lnTo>
                  <a:lnTo>
                    <a:pt x="371" y="205"/>
                  </a:lnTo>
                  <a:lnTo>
                    <a:pt x="381" y="215"/>
                  </a:lnTo>
                  <a:lnTo>
                    <a:pt x="400" y="234"/>
                  </a:lnTo>
                  <a:lnTo>
                    <a:pt x="420" y="264"/>
                  </a:lnTo>
                  <a:lnTo>
                    <a:pt x="429" y="283"/>
                  </a:lnTo>
                  <a:lnTo>
                    <a:pt x="420" y="283"/>
                  </a:lnTo>
                  <a:lnTo>
                    <a:pt x="410" y="273"/>
                  </a:lnTo>
                  <a:lnTo>
                    <a:pt x="400" y="273"/>
                  </a:lnTo>
                  <a:lnTo>
                    <a:pt x="400" y="283"/>
                  </a:lnTo>
                  <a:lnTo>
                    <a:pt x="390" y="283"/>
                  </a:lnTo>
                  <a:lnTo>
                    <a:pt x="371" y="293"/>
                  </a:lnTo>
                  <a:lnTo>
                    <a:pt x="371" y="303"/>
                  </a:lnTo>
                  <a:lnTo>
                    <a:pt x="390" y="303"/>
                  </a:lnTo>
                  <a:lnTo>
                    <a:pt x="400" y="312"/>
                  </a:lnTo>
                  <a:lnTo>
                    <a:pt x="400" y="322"/>
                  </a:lnTo>
                  <a:lnTo>
                    <a:pt x="400" y="332"/>
                  </a:lnTo>
                  <a:lnTo>
                    <a:pt x="410" y="342"/>
                  </a:lnTo>
                  <a:lnTo>
                    <a:pt x="410" y="351"/>
                  </a:lnTo>
                  <a:lnTo>
                    <a:pt x="400" y="361"/>
                  </a:lnTo>
                  <a:lnTo>
                    <a:pt x="381" y="361"/>
                  </a:lnTo>
                  <a:lnTo>
                    <a:pt x="351" y="371"/>
                  </a:lnTo>
                  <a:lnTo>
                    <a:pt x="312" y="371"/>
                  </a:lnTo>
                  <a:lnTo>
                    <a:pt x="293" y="371"/>
                  </a:lnTo>
                  <a:lnTo>
                    <a:pt x="283" y="371"/>
                  </a:lnTo>
                  <a:lnTo>
                    <a:pt x="273" y="390"/>
                  </a:lnTo>
                  <a:lnTo>
                    <a:pt x="254" y="390"/>
                  </a:lnTo>
                  <a:lnTo>
                    <a:pt x="234" y="390"/>
                  </a:lnTo>
                  <a:lnTo>
                    <a:pt x="205" y="390"/>
                  </a:lnTo>
                  <a:lnTo>
                    <a:pt x="195" y="371"/>
                  </a:lnTo>
                  <a:lnTo>
                    <a:pt x="186" y="371"/>
                  </a:lnTo>
                  <a:lnTo>
                    <a:pt x="186" y="351"/>
                  </a:lnTo>
                  <a:lnTo>
                    <a:pt x="176" y="332"/>
                  </a:lnTo>
                  <a:lnTo>
                    <a:pt x="166" y="332"/>
                  </a:lnTo>
                  <a:lnTo>
                    <a:pt x="176" y="322"/>
                  </a:lnTo>
                  <a:lnTo>
                    <a:pt x="186" y="312"/>
                  </a:lnTo>
                  <a:lnTo>
                    <a:pt x="176" y="312"/>
                  </a:lnTo>
                  <a:lnTo>
                    <a:pt x="156" y="322"/>
                  </a:lnTo>
                  <a:lnTo>
                    <a:pt x="147" y="322"/>
                  </a:lnTo>
                  <a:lnTo>
                    <a:pt x="127" y="332"/>
                  </a:lnTo>
                  <a:lnTo>
                    <a:pt x="108" y="322"/>
                  </a:lnTo>
                  <a:lnTo>
                    <a:pt x="98" y="312"/>
                  </a:lnTo>
                  <a:lnTo>
                    <a:pt x="78" y="312"/>
                  </a:lnTo>
                  <a:lnTo>
                    <a:pt x="69" y="312"/>
                  </a:lnTo>
                  <a:lnTo>
                    <a:pt x="59" y="303"/>
                  </a:lnTo>
                  <a:lnTo>
                    <a:pt x="59" y="283"/>
                  </a:lnTo>
                  <a:lnTo>
                    <a:pt x="49" y="273"/>
                  </a:lnTo>
                  <a:lnTo>
                    <a:pt x="49" y="264"/>
                  </a:lnTo>
                  <a:lnTo>
                    <a:pt x="49" y="254"/>
                  </a:lnTo>
                  <a:lnTo>
                    <a:pt x="39" y="244"/>
                  </a:lnTo>
                  <a:lnTo>
                    <a:pt x="30" y="225"/>
                  </a:lnTo>
                  <a:lnTo>
                    <a:pt x="10" y="225"/>
                  </a:lnTo>
                  <a:lnTo>
                    <a:pt x="10" y="215"/>
                  </a:lnTo>
                  <a:lnTo>
                    <a:pt x="10" y="195"/>
                  </a:lnTo>
                  <a:lnTo>
                    <a:pt x="10" y="176"/>
                  </a:lnTo>
                  <a:lnTo>
                    <a:pt x="0" y="166"/>
                  </a:lnTo>
                  <a:lnTo>
                    <a:pt x="10" y="166"/>
                  </a:lnTo>
                  <a:lnTo>
                    <a:pt x="20" y="156"/>
                  </a:lnTo>
                  <a:lnTo>
                    <a:pt x="30" y="156"/>
                  </a:lnTo>
                  <a:lnTo>
                    <a:pt x="30" y="137"/>
                  </a:lnTo>
                  <a:lnTo>
                    <a:pt x="10" y="127"/>
                  </a:lnTo>
                  <a:lnTo>
                    <a:pt x="10" y="107"/>
                  </a:lnTo>
                  <a:lnTo>
                    <a:pt x="39" y="107"/>
                  </a:lnTo>
                  <a:lnTo>
                    <a:pt x="69" y="98"/>
                  </a:lnTo>
                  <a:lnTo>
                    <a:pt x="98" y="88"/>
                  </a:lnTo>
                  <a:lnTo>
                    <a:pt x="117" y="78"/>
                  </a:lnTo>
                  <a:lnTo>
                    <a:pt x="147" y="78"/>
                  </a:lnTo>
                  <a:lnTo>
                    <a:pt x="166" y="59"/>
                  </a:lnTo>
                  <a:lnTo>
                    <a:pt x="166" y="49"/>
                  </a:lnTo>
                  <a:lnTo>
                    <a:pt x="176" y="39"/>
                  </a:lnTo>
                  <a:lnTo>
                    <a:pt x="195" y="39"/>
                  </a:lnTo>
                  <a:lnTo>
                    <a:pt x="205" y="39"/>
                  </a:lnTo>
                  <a:lnTo>
                    <a:pt x="215" y="29"/>
                  </a:lnTo>
                  <a:lnTo>
                    <a:pt x="234" y="29"/>
                  </a:lnTo>
                  <a:lnTo>
                    <a:pt x="234" y="20"/>
                  </a:lnTo>
                  <a:lnTo>
                    <a:pt x="234" y="0"/>
                  </a:lnTo>
                  <a:lnTo>
                    <a:pt x="254" y="0"/>
                  </a:lnTo>
                  <a:lnTo>
                    <a:pt x="273" y="10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0" name="Freeform 73"/>
            <p:cNvSpPr>
              <a:spLocks/>
            </p:cNvSpPr>
            <p:nvPr/>
          </p:nvSpPr>
          <p:spPr bwMode="auto">
            <a:xfrm>
              <a:off x="3239" y="1944"/>
              <a:ext cx="1318" cy="1025"/>
            </a:xfrm>
            <a:custGeom>
              <a:avLst/>
              <a:gdLst>
                <a:gd name="T0" fmla="*/ 673 w 1317"/>
                <a:gd name="T1" fmla="*/ 996 h 1024"/>
                <a:gd name="T2" fmla="*/ 732 w 1317"/>
                <a:gd name="T3" fmla="*/ 957 h 1024"/>
                <a:gd name="T4" fmla="*/ 771 w 1317"/>
                <a:gd name="T5" fmla="*/ 918 h 1024"/>
                <a:gd name="T6" fmla="*/ 810 w 1317"/>
                <a:gd name="T7" fmla="*/ 869 h 1024"/>
                <a:gd name="T8" fmla="*/ 849 w 1317"/>
                <a:gd name="T9" fmla="*/ 850 h 1024"/>
                <a:gd name="T10" fmla="*/ 888 w 1317"/>
                <a:gd name="T11" fmla="*/ 869 h 1024"/>
                <a:gd name="T12" fmla="*/ 976 w 1317"/>
                <a:gd name="T13" fmla="*/ 918 h 1024"/>
                <a:gd name="T14" fmla="*/ 1025 w 1317"/>
                <a:gd name="T15" fmla="*/ 908 h 1024"/>
                <a:gd name="T16" fmla="*/ 1064 w 1317"/>
                <a:gd name="T17" fmla="*/ 947 h 1024"/>
                <a:gd name="T18" fmla="*/ 1103 w 1317"/>
                <a:gd name="T19" fmla="*/ 947 h 1024"/>
                <a:gd name="T20" fmla="*/ 1181 w 1317"/>
                <a:gd name="T21" fmla="*/ 937 h 1024"/>
                <a:gd name="T22" fmla="*/ 1249 w 1317"/>
                <a:gd name="T23" fmla="*/ 947 h 1024"/>
                <a:gd name="T24" fmla="*/ 1317 w 1317"/>
                <a:gd name="T25" fmla="*/ 889 h 1024"/>
                <a:gd name="T26" fmla="*/ 1259 w 1317"/>
                <a:gd name="T27" fmla="*/ 840 h 1024"/>
                <a:gd name="T28" fmla="*/ 1249 w 1317"/>
                <a:gd name="T29" fmla="*/ 762 h 1024"/>
                <a:gd name="T30" fmla="*/ 1190 w 1317"/>
                <a:gd name="T31" fmla="*/ 733 h 1024"/>
                <a:gd name="T32" fmla="*/ 1142 w 1317"/>
                <a:gd name="T33" fmla="*/ 723 h 1024"/>
                <a:gd name="T34" fmla="*/ 1103 w 1317"/>
                <a:gd name="T35" fmla="*/ 664 h 1024"/>
                <a:gd name="T36" fmla="*/ 1054 w 1317"/>
                <a:gd name="T37" fmla="*/ 684 h 1024"/>
                <a:gd name="T38" fmla="*/ 1005 w 1317"/>
                <a:gd name="T39" fmla="*/ 694 h 1024"/>
                <a:gd name="T40" fmla="*/ 927 w 1317"/>
                <a:gd name="T41" fmla="*/ 674 h 1024"/>
                <a:gd name="T42" fmla="*/ 898 w 1317"/>
                <a:gd name="T43" fmla="*/ 606 h 1024"/>
                <a:gd name="T44" fmla="*/ 820 w 1317"/>
                <a:gd name="T45" fmla="*/ 567 h 1024"/>
                <a:gd name="T46" fmla="*/ 742 w 1317"/>
                <a:gd name="T47" fmla="*/ 528 h 1024"/>
                <a:gd name="T48" fmla="*/ 703 w 1317"/>
                <a:gd name="T49" fmla="*/ 487 h 1024"/>
                <a:gd name="T50" fmla="*/ 654 w 1317"/>
                <a:gd name="T51" fmla="*/ 468 h 1024"/>
                <a:gd name="T52" fmla="*/ 654 w 1317"/>
                <a:gd name="T53" fmla="*/ 429 h 1024"/>
                <a:gd name="T54" fmla="*/ 664 w 1317"/>
                <a:gd name="T55" fmla="*/ 351 h 1024"/>
                <a:gd name="T56" fmla="*/ 634 w 1317"/>
                <a:gd name="T57" fmla="*/ 331 h 1024"/>
                <a:gd name="T58" fmla="*/ 586 w 1317"/>
                <a:gd name="T59" fmla="*/ 292 h 1024"/>
                <a:gd name="T60" fmla="*/ 547 w 1317"/>
                <a:gd name="T61" fmla="*/ 292 h 1024"/>
                <a:gd name="T62" fmla="*/ 478 w 1317"/>
                <a:gd name="T63" fmla="*/ 263 h 1024"/>
                <a:gd name="T64" fmla="*/ 478 w 1317"/>
                <a:gd name="T65" fmla="*/ 224 h 1024"/>
                <a:gd name="T66" fmla="*/ 400 w 1317"/>
                <a:gd name="T67" fmla="*/ 185 h 1024"/>
                <a:gd name="T68" fmla="*/ 342 w 1317"/>
                <a:gd name="T69" fmla="*/ 165 h 1024"/>
                <a:gd name="T70" fmla="*/ 303 w 1317"/>
                <a:gd name="T71" fmla="*/ 126 h 1024"/>
                <a:gd name="T72" fmla="*/ 361 w 1317"/>
                <a:gd name="T73" fmla="*/ 58 h 1024"/>
                <a:gd name="T74" fmla="*/ 371 w 1317"/>
                <a:gd name="T75" fmla="*/ 0 h 1024"/>
                <a:gd name="T76" fmla="*/ 283 w 1317"/>
                <a:gd name="T77" fmla="*/ 29 h 1024"/>
                <a:gd name="T78" fmla="*/ 215 w 1317"/>
                <a:gd name="T79" fmla="*/ 9 h 1024"/>
                <a:gd name="T80" fmla="*/ 186 w 1317"/>
                <a:gd name="T81" fmla="*/ 58 h 1024"/>
                <a:gd name="T82" fmla="*/ 137 w 1317"/>
                <a:gd name="T83" fmla="*/ 126 h 1024"/>
                <a:gd name="T84" fmla="*/ 49 w 1317"/>
                <a:gd name="T85" fmla="*/ 224 h 1024"/>
                <a:gd name="T86" fmla="*/ 0 w 1317"/>
                <a:gd name="T87" fmla="*/ 292 h 1024"/>
                <a:gd name="T88" fmla="*/ 10 w 1317"/>
                <a:gd name="T89" fmla="*/ 331 h 1024"/>
                <a:gd name="T90" fmla="*/ 108 w 1317"/>
                <a:gd name="T91" fmla="*/ 458 h 1024"/>
                <a:gd name="T92" fmla="*/ 78 w 1317"/>
                <a:gd name="T93" fmla="*/ 567 h 1024"/>
                <a:gd name="T94" fmla="*/ 78 w 1317"/>
                <a:gd name="T95" fmla="*/ 694 h 1024"/>
                <a:gd name="T96" fmla="*/ 108 w 1317"/>
                <a:gd name="T97" fmla="*/ 801 h 1024"/>
                <a:gd name="T98" fmla="*/ 186 w 1317"/>
                <a:gd name="T99" fmla="*/ 801 h 1024"/>
                <a:gd name="T100" fmla="*/ 254 w 1317"/>
                <a:gd name="T101" fmla="*/ 811 h 1024"/>
                <a:gd name="T102" fmla="*/ 313 w 1317"/>
                <a:gd name="T103" fmla="*/ 801 h 1024"/>
                <a:gd name="T104" fmla="*/ 361 w 1317"/>
                <a:gd name="T105" fmla="*/ 762 h 1024"/>
                <a:gd name="T106" fmla="*/ 410 w 1317"/>
                <a:gd name="T107" fmla="*/ 791 h 1024"/>
                <a:gd name="T108" fmla="*/ 498 w 1317"/>
                <a:gd name="T109" fmla="*/ 879 h 1024"/>
                <a:gd name="T110" fmla="*/ 517 w 1317"/>
                <a:gd name="T111" fmla="*/ 937 h 1024"/>
                <a:gd name="T112" fmla="*/ 537 w 1317"/>
                <a:gd name="T113" fmla="*/ 986 h 10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17"/>
                <a:gd name="T172" fmla="*/ 0 h 1024"/>
                <a:gd name="T173" fmla="*/ 1317 w 1317"/>
                <a:gd name="T174" fmla="*/ 1024 h 10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17" h="1024">
                  <a:moveTo>
                    <a:pt x="625" y="1024"/>
                  </a:moveTo>
                  <a:lnTo>
                    <a:pt x="654" y="1014"/>
                  </a:lnTo>
                  <a:lnTo>
                    <a:pt x="673" y="1005"/>
                  </a:lnTo>
                  <a:lnTo>
                    <a:pt x="673" y="985"/>
                  </a:lnTo>
                  <a:lnTo>
                    <a:pt x="683" y="975"/>
                  </a:lnTo>
                  <a:lnTo>
                    <a:pt x="703" y="966"/>
                  </a:lnTo>
                  <a:lnTo>
                    <a:pt x="703" y="956"/>
                  </a:lnTo>
                  <a:lnTo>
                    <a:pt x="732" y="946"/>
                  </a:lnTo>
                  <a:lnTo>
                    <a:pt x="751" y="946"/>
                  </a:lnTo>
                  <a:lnTo>
                    <a:pt x="761" y="946"/>
                  </a:lnTo>
                  <a:lnTo>
                    <a:pt x="771" y="936"/>
                  </a:lnTo>
                  <a:lnTo>
                    <a:pt x="771" y="907"/>
                  </a:lnTo>
                  <a:lnTo>
                    <a:pt x="790" y="887"/>
                  </a:lnTo>
                  <a:lnTo>
                    <a:pt x="790" y="868"/>
                  </a:lnTo>
                  <a:lnTo>
                    <a:pt x="800" y="858"/>
                  </a:lnTo>
                  <a:lnTo>
                    <a:pt x="810" y="858"/>
                  </a:lnTo>
                  <a:lnTo>
                    <a:pt x="810" y="839"/>
                  </a:lnTo>
                  <a:lnTo>
                    <a:pt x="830" y="829"/>
                  </a:lnTo>
                  <a:lnTo>
                    <a:pt x="830" y="839"/>
                  </a:lnTo>
                  <a:lnTo>
                    <a:pt x="849" y="839"/>
                  </a:lnTo>
                  <a:lnTo>
                    <a:pt x="859" y="848"/>
                  </a:lnTo>
                  <a:lnTo>
                    <a:pt x="859" y="858"/>
                  </a:lnTo>
                  <a:lnTo>
                    <a:pt x="869" y="848"/>
                  </a:lnTo>
                  <a:lnTo>
                    <a:pt x="888" y="858"/>
                  </a:lnTo>
                  <a:lnTo>
                    <a:pt x="917" y="868"/>
                  </a:lnTo>
                  <a:lnTo>
                    <a:pt x="927" y="887"/>
                  </a:lnTo>
                  <a:lnTo>
                    <a:pt x="956" y="907"/>
                  </a:lnTo>
                  <a:lnTo>
                    <a:pt x="976" y="907"/>
                  </a:lnTo>
                  <a:lnTo>
                    <a:pt x="986" y="907"/>
                  </a:lnTo>
                  <a:lnTo>
                    <a:pt x="1005" y="897"/>
                  </a:lnTo>
                  <a:lnTo>
                    <a:pt x="1015" y="897"/>
                  </a:lnTo>
                  <a:lnTo>
                    <a:pt x="1025" y="897"/>
                  </a:lnTo>
                  <a:lnTo>
                    <a:pt x="1025" y="926"/>
                  </a:lnTo>
                  <a:lnTo>
                    <a:pt x="1034" y="926"/>
                  </a:lnTo>
                  <a:lnTo>
                    <a:pt x="1054" y="926"/>
                  </a:lnTo>
                  <a:lnTo>
                    <a:pt x="1064" y="936"/>
                  </a:lnTo>
                  <a:lnTo>
                    <a:pt x="1073" y="946"/>
                  </a:lnTo>
                  <a:lnTo>
                    <a:pt x="1093" y="946"/>
                  </a:lnTo>
                  <a:lnTo>
                    <a:pt x="1103" y="946"/>
                  </a:lnTo>
                  <a:lnTo>
                    <a:pt x="1103" y="936"/>
                  </a:lnTo>
                  <a:lnTo>
                    <a:pt x="1122" y="926"/>
                  </a:lnTo>
                  <a:lnTo>
                    <a:pt x="1142" y="926"/>
                  </a:lnTo>
                  <a:lnTo>
                    <a:pt x="1161" y="926"/>
                  </a:lnTo>
                  <a:lnTo>
                    <a:pt x="1181" y="926"/>
                  </a:lnTo>
                  <a:lnTo>
                    <a:pt x="1190" y="936"/>
                  </a:lnTo>
                  <a:lnTo>
                    <a:pt x="1210" y="946"/>
                  </a:lnTo>
                  <a:lnTo>
                    <a:pt x="1249" y="936"/>
                  </a:lnTo>
                  <a:lnTo>
                    <a:pt x="1307" y="926"/>
                  </a:lnTo>
                  <a:lnTo>
                    <a:pt x="1307" y="907"/>
                  </a:lnTo>
                  <a:lnTo>
                    <a:pt x="1317" y="897"/>
                  </a:lnTo>
                  <a:lnTo>
                    <a:pt x="1317" y="878"/>
                  </a:lnTo>
                  <a:lnTo>
                    <a:pt x="1307" y="878"/>
                  </a:lnTo>
                  <a:lnTo>
                    <a:pt x="1288" y="868"/>
                  </a:lnTo>
                  <a:lnTo>
                    <a:pt x="1268" y="848"/>
                  </a:lnTo>
                  <a:lnTo>
                    <a:pt x="1259" y="829"/>
                  </a:lnTo>
                  <a:lnTo>
                    <a:pt x="1288" y="790"/>
                  </a:lnTo>
                  <a:lnTo>
                    <a:pt x="1278" y="780"/>
                  </a:lnTo>
                  <a:lnTo>
                    <a:pt x="1259" y="761"/>
                  </a:lnTo>
                  <a:lnTo>
                    <a:pt x="1249" y="751"/>
                  </a:lnTo>
                  <a:lnTo>
                    <a:pt x="1239" y="761"/>
                  </a:lnTo>
                  <a:lnTo>
                    <a:pt x="1220" y="751"/>
                  </a:lnTo>
                  <a:lnTo>
                    <a:pt x="1200" y="731"/>
                  </a:lnTo>
                  <a:lnTo>
                    <a:pt x="1190" y="722"/>
                  </a:lnTo>
                  <a:lnTo>
                    <a:pt x="1181" y="722"/>
                  </a:lnTo>
                  <a:lnTo>
                    <a:pt x="1171" y="712"/>
                  </a:lnTo>
                  <a:lnTo>
                    <a:pt x="1161" y="712"/>
                  </a:lnTo>
                  <a:lnTo>
                    <a:pt x="1142" y="712"/>
                  </a:lnTo>
                  <a:lnTo>
                    <a:pt x="1132" y="702"/>
                  </a:lnTo>
                  <a:lnTo>
                    <a:pt x="1122" y="692"/>
                  </a:lnTo>
                  <a:lnTo>
                    <a:pt x="1112" y="673"/>
                  </a:lnTo>
                  <a:lnTo>
                    <a:pt x="1103" y="653"/>
                  </a:lnTo>
                  <a:lnTo>
                    <a:pt x="1083" y="663"/>
                  </a:lnTo>
                  <a:lnTo>
                    <a:pt x="1064" y="663"/>
                  </a:lnTo>
                  <a:lnTo>
                    <a:pt x="1054" y="673"/>
                  </a:lnTo>
                  <a:lnTo>
                    <a:pt x="1044" y="683"/>
                  </a:lnTo>
                  <a:lnTo>
                    <a:pt x="1034" y="692"/>
                  </a:lnTo>
                  <a:lnTo>
                    <a:pt x="1025" y="692"/>
                  </a:lnTo>
                  <a:lnTo>
                    <a:pt x="1005" y="683"/>
                  </a:lnTo>
                  <a:lnTo>
                    <a:pt x="995" y="673"/>
                  </a:lnTo>
                  <a:lnTo>
                    <a:pt x="976" y="673"/>
                  </a:lnTo>
                  <a:lnTo>
                    <a:pt x="947" y="673"/>
                  </a:lnTo>
                  <a:lnTo>
                    <a:pt x="927" y="663"/>
                  </a:lnTo>
                  <a:lnTo>
                    <a:pt x="908" y="644"/>
                  </a:lnTo>
                  <a:lnTo>
                    <a:pt x="908" y="634"/>
                  </a:lnTo>
                  <a:lnTo>
                    <a:pt x="898" y="605"/>
                  </a:lnTo>
                  <a:lnTo>
                    <a:pt x="898" y="595"/>
                  </a:lnTo>
                  <a:lnTo>
                    <a:pt x="869" y="585"/>
                  </a:lnTo>
                  <a:lnTo>
                    <a:pt x="859" y="565"/>
                  </a:lnTo>
                  <a:lnTo>
                    <a:pt x="849" y="556"/>
                  </a:lnTo>
                  <a:lnTo>
                    <a:pt x="820" y="556"/>
                  </a:lnTo>
                  <a:lnTo>
                    <a:pt x="800" y="546"/>
                  </a:lnTo>
                  <a:lnTo>
                    <a:pt x="781" y="536"/>
                  </a:lnTo>
                  <a:lnTo>
                    <a:pt x="771" y="517"/>
                  </a:lnTo>
                  <a:lnTo>
                    <a:pt x="742" y="517"/>
                  </a:lnTo>
                  <a:lnTo>
                    <a:pt x="732" y="507"/>
                  </a:lnTo>
                  <a:lnTo>
                    <a:pt x="732" y="487"/>
                  </a:lnTo>
                  <a:lnTo>
                    <a:pt x="722" y="478"/>
                  </a:lnTo>
                  <a:lnTo>
                    <a:pt x="703" y="487"/>
                  </a:lnTo>
                  <a:lnTo>
                    <a:pt x="693" y="487"/>
                  </a:lnTo>
                  <a:lnTo>
                    <a:pt x="673" y="478"/>
                  </a:lnTo>
                  <a:lnTo>
                    <a:pt x="654" y="478"/>
                  </a:lnTo>
                  <a:lnTo>
                    <a:pt x="654" y="468"/>
                  </a:lnTo>
                  <a:lnTo>
                    <a:pt x="654" y="458"/>
                  </a:lnTo>
                  <a:lnTo>
                    <a:pt x="664" y="448"/>
                  </a:lnTo>
                  <a:lnTo>
                    <a:pt x="664" y="439"/>
                  </a:lnTo>
                  <a:lnTo>
                    <a:pt x="654" y="429"/>
                  </a:lnTo>
                  <a:lnTo>
                    <a:pt x="654" y="400"/>
                  </a:lnTo>
                  <a:lnTo>
                    <a:pt x="654" y="370"/>
                  </a:lnTo>
                  <a:lnTo>
                    <a:pt x="654" y="361"/>
                  </a:lnTo>
                  <a:lnTo>
                    <a:pt x="664" y="351"/>
                  </a:lnTo>
                  <a:lnTo>
                    <a:pt x="664" y="341"/>
                  </a:lnTo>
                  <a:lnTo>
                    <a:pt x="654" y="341"/>
                  </a:lnTo>
                  <a:lnTo>
                    <a:pt x="644" y="322"/>
                  </a:lnTo>
                  <a:lnTo>
                    <a:pt x="634" y="331"/>
                  </a:lnTo>
                  <a:lnTo>
                    <a:pt x="625" y="322"/>
                  </a:lnTo>
                  <a:lnTo>
                    <a:pt x="605" y="292"/>
                  </a:lnTo>
                  <a:lnTo>
                    <a:pt x="595" y="292"/>
                  </a:lnTo>
                  <a:lnTo>
                    <a:pt x="586" y="292"/>
                  </a:lnTo>
                  <a:lnTo>
                    <a:pt x="566" y="302"/>
                  </a:lnTo>
                  <a:lnTo>
                    <a:pt x="556" y="292"/>
                  </a:lnTo>
                  <a:lnTo>
                    <a:pt x="547" y="292"/>
                  </a:lnTo>
                  <a:lnTo>
                    <a:pt x="517" y="292"/>
                  </a:lnTo>
                  <a:lnTo>
                    <a:pt x="498" y="292"/>
                  </a:lnTo>
                  <a:lnTo>
                    <a:pt x="478" y="283"/>
                  </a:lnTo>
                  <a:lnTo>
                    <a:pt x="478" y="263"/>
                  </a:lnTo>
                  <a:lnTo>
                    <a:pt x="488" y="244"/>
                  </a:lnTo>
                  <a:lnTo>
                    <a:pt x="498" y="234"/>
                  </a:lnTo>
                  <a:lnTo>
                    <a:pt x="498" y="224"/>
                  </a:lnTo>
                  <a:lnTo>
                    <a:pt x="478" y="224"/>
                  </a:lnTo>
                  <a:lnTo>
                    <a:pt x="459" y="204"/>
                  </a:lnTo>
                  <a:lnTo>
                    <a:pt x="439" y="204"/>
                  </a:lnTo>
                  <a:lnTo>
                    <a:pt x="430" y="195"/>
                  </a:lnTo>
                  <a:lnTo>
                    <a:pt x="400" y="185"/>
                  </a:lnTo>
                  <a:lnTo>
                    <a:pt x="361" y="185"/>
                  </a:lnTo>
                  <a:lnTo>
                    <a:pt x="352" y="185"/>
                  </a:lnTo>
                  <a:lnTo>
                    <a:pt x="342" y="185"/>
                  </a:lnTo>
                  <a:lnTo>
                    <a:pt x="342" y="165"/>
                  </a:lnTo>
                  <a:lnTo>
                    <a:pt x="332" y="146"/>
                  </a:lnTo>
                  <a:lnTo>
                    <a:pt x="322" y="146"/>
                  </a:lnTo>
                  <a:lnTo>
                    <a:pt x="303" y="136"/>
                  </a:lnTo>
                  <a:lnTo>
                    <a:pt x="303" y="126"/>
                  </a:lnTo>
                  <a:lnTo>
                    <a:pt x="322" y="117"/>
                  </a:lnTo>
                  <a:lnTo>
                    <a:pt x="342" y="97"/>
                  </a:lnTo>
                  <a:lnTo>
                    <a:pt x="352" y="78"/>
                  </a:lnTo>
                  <a:lnTo>
                    <a:pt x="361" y="58"/>
                  </a:lnTo>
                  <a:lnTo>
                    <a:pt x="352" y="48"/>
                  </a:lnTo>
                  <a:lnTo>
                    <a:pt x="361" y="29"/>
                  </a:lnTo>
                  <a:lnTo>
                    <a:pt x="361" y="19"/>
                  </a:lnTo>
                  <a:lnTo>
                    <a:pt x="371" y="0"/>
                  </a:lnTo>
                  <a:lnTo>
                    <a:pt x="342" y="0"/>
                  </a:lnTo>
                  <a:lnTo>
                    <a:pt x="313" y="9"/>
                  </a:lnTo>
                  <a:lnTo>
                    <a:pt x="293" y="29"/>
                  </a:lnTo>
                  <a:lnTo>
                    <a:pt x="283" y="29"/>
                  </a:lnTo>
                  <a:lnTo>
                    <a:pt x="254" y="29"/>
                  </a:lnTo>
                  <a:lnTo>
                    <a:pt x="244" y="19"/>
                  </a:lnTo>
                  <a:lnTo>
                    <a:pt x="235" y="9"/>
                  </a:lnTo>
                  <a:lnTo>
                    <a:pt x="215" y="9"/>
                  </a:lnTo>
                  <a:lnTo>
                    <a:pt x="195" y="19"/>
                  </a:lnTo>
                  <a:lnTo>
                    <a:pt x="195" y="39"/>
                  </a:lnTo>
                  <a:lnTo>
                    <a:pt x="195" y="48"/>
                  </a:lnTo>
                  <a:lnTo>
                    <a:pt x="186" y="58"/>
                  </a:lnTo>
                  <a:lnTo>
                    <a:pt x="166" y="78"/>
                  </a:lnTo>
                  <a:lnTo>
                    <a:pt x="166" y="97"/>
                  </a:lnTo>
                  <a:lnTo>
                    <a:pt x="147" y="107"/>
                  </a:lnTo>
                  <a:lnTo>
                    <a:pt x="137" y="126"/>
                  </a:lnTo>
                  <a:lnTo>
                    <a:pt x="88" y="156"/>
                  </a:lnTo>
                  <a:lnTo>
                    <a:pt x="69" y="175"/>
                  </a:lnTo>
                  <a:lnTo>
                    <a:pt x="69" y="204"/>
                  </a:lnTo>
                  <a:lnTo>
                    <a:pt x="49" y="224"/>
                  </a:lnTo>
                  <a:lnTo>
                    <a:pt x="59" y="234"/>
                  </a:lnTo>
                  <a:lnTo>
                    <a:pt x="39" y="244"/>
                  </a:lnTo>
                  <a:lnTo>
                    <a:pt x="20" y="263"/>
                  </a:lnTo>
                  <a:lnTo>
                    <a:pt x="0" y="292"/>
                  </a:lnTo>
                  <a:lnTo>
                    <a:pt x="10" y="292"/>
                  </a:lnTo>
                  <a:lnTo>
                    <a:pt x="10" y="312"/>
                  </a:lnTo>
                  <a:lnTo>
                    <a:pt x="10" y="331"/>
                  </a:lnTo>
                  <a:lnTo>
                    <a:pt x="39" y="341"/>
                  </a:lnTo>
                  <a:lnTo>
                    <a:pt x="78" y="380"/>
                  </a:lnTo>
                  <a:lnTo>
                    <a:pt x="98" y="429"/>
                  </a:lnTo>
                  <a:lnTo>
                    <a:pt x="108" y="458"/>
                  </a:lnTo>
                  <a:lnTo>
                    <a:pt x="108" y="478"/>
                  </a:lnTo>
                  <a:lnTo>
                    <a:pt x="88" y="507"/>
                  </a:lnTo>
                  <a:lnTo>
                    <a:pt x="88" y="517"/>
                  </a:lnTo>
                  <a:lnTo>
                    <a:pt x="78" y="556"/>
                  </a:lnTo>
                  <a:lnTo>
                    <a:pt x="88" y="585"/>
                  </a:lnTo>
                  <a:lnTo>
                    <a:pt x="69" y="624"/>
                  </a:lnTo>
                  <a:lnTo>
                    <a:pt x="59" y="653"/>
                  </a:lnTo>
                  <a:lnTo>
                    <a:pt x="78" y="683"/>
                  </a:lnTo>
                  <a:lnTo>
                    <a:pt x="108" y="702"/>
                  </a:lnTo>
                  <a:lnTo>
                    <a:pt x="108" y="712"/>
                  </a:lnTo>
                  <a:lnTo>
                    <a:pt x="108" y="751"/>
                  </a:lnTo>
                  <a:lnTo>
                    <a:pt x="108" y="790"/>
                  </a:lnTo>
                  <a:lnTo>
                    <a:pt x="147" y="819"/>
                  </a:lnTo>
                  <a:lnTo>
                    <a:pt x="166" y="819"/>
                  </a:lnTo>
                  <a:lnTo>
                    <a:pt x="166" y="800"/>
                  </a:lnTo>
                  <a:lnTo>
                    <a:pt x="186" y="790"/>
                  </a:lnTo>
                  <a:lnTo>
                    <a:pt x="195" y="790"/>
                  </a:lnTo>
                  <a:lnTo>
                    <a:pt x="215" y="800"/>
                  </a:lnTo>
                  <a:lnTo>
                    <a:pt x="235" y="800"/>
                  </a:lnTo>
                  <a:lnTo>
                    <a:pt x="254" y="800"/>
                  </a:lnTo>
                  <a:lnTo>
                    <a:pt x="264" y="809"/>
                  </a:lnTo>
                  <a:lnTo>
                    <a:pt x="293" y="809"/>
                  </a:lnTo>
                  <a:lnTo>
                    <a:pt x="293" y="790"/>
                  </a:lnTo>
                  <a:lnTo>
                    <a:pt x="313" y="790"/>
                  </a:lnTo>
                  <a:lnTo>
                    <a:pt x="342" y="770"/>
                  </a:lnTo>
                  <a:lnTo>
                    <a:pt x="352" y="761"/>
                  </a:lnTo>
                  <a:lnTo>
                    <a:pt x="352" y="751"/>
                  </a:lnTo>
                  <a:lnTo>
                    <a:pt x="361" y="751"/>
                  </a:lnTo>
                  <a:lnTo>
                    <a:pt x="381" y="751"/>
                  </a:lnTo>
                  <a:lnTo>
                    <a:pt x="381" y="770"/>
                  </a:lnTo>
                  <a:lnTo>
                    <a:pt x="400" y="770"/>
                  </a:lnTo>
                  <a:lnTo>
                    <a:pt x="410" y="780"/>
                  </a:lnTo>
                  <a:lnTo>
                    <a:pt x="430" y="790"/>
                  </a:lnTo>
                  <a:lnTo>
                    <a:pt x="449" y="809"/>
                  </a:lnTo>
                  <a:lnTo>
                    <a:pt x="469" y="819"/>
                  </a:lnTo>
                  <a:lnTo>
                    <a:pt x="498" y="868"/>
                  </a:lnTo>
                  <a:lnTo>
                    <a:pt x="498" y="887"/>
                  </a:lnTo>
                  <a:lnTo>
                    <a:pt x="498" y="907"/>
                  </a:lnTo>
                  <a:lnTo>
                    <a:pt x="498" y="926"/>
                  </a:lnTo>
                  <a:lnTo>
                    <a:pt x="517" y="926"/>
                  </a:lnTo>
                  <a:lnTo>
                    <a:pt x="508" y="936"/>
                  </a:lnTo>
                  <a:lnTo>
                    <a:pt x="517" y="956"/>
                  </a:lnTo>
                  <a:lnTo>
                    <a:pt x="537" y="975"/>
                  </a:lnTo>
                  <a:lnTo>
                    <a:pt x="556" y="985"/>
                  </a:lnTo>
                  <a:lnTo>
                    <a:pt x="586" y="1005"/>
                  </a:lnTo>
                  <a:lnTo>
                    <a:pt x="625" y="1024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1" name="Freeform 72"/>
            <p:cNvSpPr>
              <a:spLocks/>
            </p:cNvSpPr>
            <p:nvPr/>
          </p:nvSpPr>
          <p:spPr bwMode="auto">
            <a:xfrm>
              <a:off x="1972" y="1394"/>
              <a:ext cx="653" cy="595"/>
            </a:xfrm>
            <a:custGeom>
              <a:avLst/>
              <a:gdLst/>
              <a:ahLst/>
              <a:cxnLst>
                <a:cxn ang="0">
                  <a:pos x="400" y="527"/>
                </a:cxn>
                <a:cxn ang="0">
                  <a:pos x="371" y="469"/>
                </a:cxn>
                <a:cxn ang="0">
                  <a:pos x="332" y="439"/>
                </a:cxn>
                <a:cxn ang="0">
                  <a:pos x="312" y="400"/>
                </a:cxn>
                <a:cxn ang="0">
                  <a:pos x="283" y="420"/>
                </a:cxn>
                <a:cxn ang="0">
                  <a:pos x="215" y="410"/>
                </a:cxn>
                <a:cxn ang="0">
                  <a:pos x="186" y="390"/>
                </a:cxn>
                <a:cxn ang="0">
                  <a:pos x="186" y="332"/>
                </a:cxn>
                <a:cxn ang="0">
                  <a:pos x="156" y="312"/>
                </a:cxn>
                <a:cxn ang="0">
                  <a:pos x="117" y="283"/>
                </a:cxn>
                <a:cxn ang="0">
                  <a:pos x="78" y="273"/>
                </a:cxn>
                <a:cxn ang="0">
                  <a:pos x="69" y="254"/>
                </a:cxn>
                <a:cxn ang="0">
                  <a:pos x="59" y="205"/>
                </a:cxn>
                <a:cxn ang="0">
                  <a:pos x="20" y="205"/>
                </a:cxn>
                <a:cxn ang="0">
                  <a:pos x="20" y="137"/>
                </a:cxn>
                <a:cxn ang="0">
                  <a:pos x="10" y="108"/>
                </a:cxn>
                <a:cxn ang="0">
                  <a:pos x="30" y="88"/>
                </a:cxn>
                <a:cxn ang="0">
                  <a:pos x="88" y="88"/>
                </a:cxn>
                <a:cxn ang="0">
                  <a:pos x="127" y="39"/>
                </a:cxn>
                <a:cxn ang="0">
                  <a:pos x="195" y="0"/>
                </a:cxn>
                <a:cxn ang="0">
                  <a:pos x="244" y="10"/>
                </a:cxn>
                <a:cxn ang="0">
                  <a:pos x="312" y="10"/>
                </a:cxn>
                <a:cxn ang="0">
                  <a:pos x="342" y="29"/>
                </a:cxn>
                <a:cxn ang="0">
                  <a:pos x="351" y="59"/>
                </a:cxn>
                <a:cxn ang="0">
                  <a:pos x="342" y="108"/>
                </a:cxn>
                <a:cxn ang="0">
                  <a:pos x="322" y="166"/>
                </a:cxn>
                <a:cxn ang="0">
                  <a:pos x="351" y="225"/>
                </a:cxn>
                <a:cxn ang="0">
                  <a:pos x="391" y="244"/>
                </a:cxn>
                <a:cxn ang="0">
                  <a:pos x="430" y="273"/>
                </a:cxn>
                <a:cxn ang="0">
                  <a:pos x="449" y="303"/>
                </a:cxn>
                <a:cxn ang="0">
                  <a:pos x="478" y="332"/>
                </a:cxn>
                <a:cxn ang="0">
                  <a:pos x="537" y="361"/>
                </a:cxn>
                <a:cxn ang="0">
                  <a:pos x="556" y="390"/>
                </a:cxn>
                <a:cxn ang="0">
                  <a:pos x="595" y="400"/>
                </a:cxn>
                <a:cxn ang="0">
                  <a:pos x="615" y="430"/>
                </a:cxn>
                <a:cxn ang="0">
                  <a:pos x="644" y="459"/>
                </a:cxn>
                <a:cxn ang="0">
                  <a:pos x="644" y="508"/>
                </a:cxn>
                <a:cxn ang="0">
                  <a:pos x="605" y="517"/>
                </a:cxn>
                <a:cxn ang="0">
                  <a:pos x="566" y="508"/>
                </a:cxn>
                <a:cxn ang="0">
                  <a:pos x="566" y="537"/>
                </a:cxn>
                <a:cxn ang="0">
                  <a:pos x="566" y="576"/>
                </a:cxn>
                <a:cxn ang="0">
                  <a:pos x="527" y="576"/>
                </a:cxn>
                <a:cxn ang="0">
                  <a:pos x="488" y="586"/>
                </a:cxn>
                <a:cxn ang="0">
                  <a:pos x="430" y="576"/>
                </a:cxn>
              </a:cxnLst>
              <a:rect l="0" t="0" r="r" b="b"/>
              <a:pathLst>
                <a:path w="654" h="595">
                  <a:moveTo>
                    <a:pt x="430" y="556"/>
                  </a:moveTo>
                  <a:lnTo>
                    <a:pt x="410" y="547"/>
                  </a:lnTo>
                  <a:lnTo>
                    <a:pt x="400" y="527"/>
                  </a:lnTo>
                  <a:lnTo>
                    <a:pt x="381" y="498"/>
                  </a:lnTo>
                  <a:lnTo>
                    <a:pt x="371" y="488"/>
                  </a:lnTo>
                  <a:lnTo>
                    <a:pt x="371" y="469"/>
                  </a:lnTo>
                  <a:lnTo>
                    <a:pt x="361" y="449"/>
                  </a:lnTo>
                  <a:lnTo>
                    <a:pt x="351" y="439"/>
                  </a:lnTo>
                  <a:lnTo>
                    <a:pt x="332" y="439"/>
                  </a:lnTo>
                  <a:lnTo>
                    <a:pt x="332" y="420"/>
                  </a:lnTo>
                  <a:lnTo>
                    <a:pt x="322" y="420"/>
                  </a:lnTo>
                  <a:lnTo>
                    <a:pt x="312" y="400"/>
                  </a:lnTo>
                  <a:lnTo>
                    <a:pt x="303" y="390"/>
                  </a:lnTo>
                  <a:lnTo>
                    <a:pt x="303" y="410"/>
                  </a:lnTo>
                  <a:lnTo>
                    <a:pt x="283" y="420"/>
                  </a:lnTo>
                  <a:lnTo>
                    <a:pt x="244" y="390"/>
                  </a:lnTo>
                  <a:lnTo>
                    <a:pt x="225" y="400"/>
                  </a:lnTo>
                  <a:lnTo>
                    <a:pt x="215" y="410"/>
                  </a:lnTo>
                  <a:lnTo>
                    <a:pt x="195" y="410"/>
                  </a:lnTo>
                  <a:lnTo>
                    <a:pt x="195" y="400"/>
                  </a:lnTo>
                  <a:lnTo>
                    <a:pt x="186" y="390"/>
                  </a:lnTo>
                  <a:lnTo>
                    <a:pt x="176" y="381"/>
                  </a:lnTo>
                  <a:lnTo>
                    <a:pt x="186" y="351"/>
                  </a:lnTo>
                  <a:lnTo>
                    <a:pt x="186" y="332"/>
                  </a:lnTo>
                  <a:lnTo>
                    <a:pt x="176" y="312"/>
                  </a:lnTo>
                  <a:lnTo>
                    <a:pt x="166" y="303"/>
                  </a:lnTo>
                  <a:lnTo>
                    <a:pt x="156" y="312"/>
                  </a:lnTo>
                  <a:lnTo>
                    <a:pt x="147" y="303"/>
                  </a:lnTo>
                  <a:lnTo>
                    <a:pt x="137" y="293"/>
                  </a:lnTo>
                  <a:lnTo>
                    <a:pt x="117" y="283"/>
                  </a:lnTo>
                  <a:lnTo>
                    <a:pt x="98" y="273"/>
                  </a:lnTo>
                  <a:lnTo>
                    <a:pt x="88" y="264"/>
                  </a:lnTo>
                  <a:lnTo>
                    <a:pt x="78" y="273"/>
                  </a:lnTo>
                  <a:lnTo>
                    <a:pt x="69" y="273"/>
                  </a:lnTo>
                  <a:lnTo>
                    <a:pt x="59" y="264"/>
                  </a:lnTo>
                  <a:lnTo>
                    <a:pt x="69" y="254"/>
                  </a:lnTo>
                  <a:lnTo>
                    <a:pt x="69" y="244"/>
                  </a:lnTo>
                  <a:lnTo>
                    <a:pt x="78" y="225"/>
                  </a:lnTo>
                  <a:lnTo>
                    <a:pt x="59" y="205"/>
                  </a:lnTo>
                  <a:lnTo>
                    <a:pt x="39" y="205"/>
                  </a:lnTo>
                  <a:lnTo>
                    <a:pt x="30" y="205"/>
                  </a:lnTo>
                  <a:lnTo>
                    <a:pt x="20" y="205"/>
                  </a:lnTo>
                  <a:lnTo>
                    <a:pt x="30" y="176"/>
                  </a:lnTo>
                  <a:lnTo>
                    <a:pt x="30" y="147"/>
                  </a:lnTo>
                  <a:lnTo>
                    <a:pt x="20" y="137"/>
                  </a:lnTo>
                  <a:lnTo>
                    <a:pt x="0" y="127"/>
                  </a:lnTo>
                  <a:lnTo>
                    <a:pt x="0" y="117"/>
                  </a:lnTo>
                  <a:lnTo>
                    <a:pt x="10" y="108"/>
                  </a:lnTo>
                  <a:lnTo>
                    <a:pt x="10" y="98"/>
                  </a:lnTo>
                  <a:lnTo>
                    <a:pt x="20" y="88"/>
                  </a:lnTo>
                  <a:lnTo>
                    <a:pt x="30" y="88"/>
                  </a:lnTo>
                  <a:lnTo>
                    <a:pt x="49" y="88"/>
                  </a:lnTo>
                  <a:lnTo>
                    <a:pt x="69" y="108"/>
                  </a:lnTo>
                  <a:lnTo>
                    <a:pt x="88" y="88"/>
                  </a:lnTo>
                  <a:lnTo>
                    <a:pt x="108" y="69"/>
                  </a:lnTo>
                  <a:lnTo>
                    <a:pt x="127" y="49"/>
                  </a:lnTo>
                  <a:lnTo>
                    <a:pt x="127" y="39"/>
                  </a:lnTo>
                  <a:lnTo>
                    <a:pt x="166" y="29"/>
                  </a:lnTo>
                  <a:lnTo>
                    <a:pt x="186" y="10"/>
                  </a:lnTo>
                  <a:lnTo>
                    <a:pt x="195" y="0"/>
                  </a:lnTo>
                  <a:lnTo>
                    <a:pt x="205" y="0"/>
                  </a:lnTo>
                  <a:lnTo>
                    <a:pt x="225" y="0"/>
                  </a:lnTo>
                  <a:lnTo>
                    <a:pt x="244" y="10"/>
                  </a:lnTo>
                  <a:lnTo>
                    <a:pt x="254" y="10"/>
                  </a:lnTo>
                  <a:lnTo>
                    <a:pt x="254" y="0"/>
                  </a:lnTo>
                  <a:lnTo>
                    <a:pt x="312" y="10"/>
                  </a:lnTo>
                  <a:lnTo>
                    <a:pt x="322" y="10"/>
                  </a:lnTo>
                  <a:lnTo>
                    <a:pt x="322" y="29"/>
                  </a:lnTo>
                  <a:lnTo>
                    <a:pt x="342" y="29"/>
                  </a:lnTo>
                  <a:lnTo>
                    <a:pt x="342" y="39"/>
                  </a:lnTo>
                  <a:lnTo>
                    <a:pt x="342" y="49"/>
                  </a:lnTo>
                  <a:lnTo>
                    <a:pt x="351" y="59"/>
                  </a:lnTo>
                  <a:lnTo>
                    <a:pt x="351" y="69"/>
                  </a:lnTo>
                  <a:lnTo>
                    <a:pt x="342" y="88"/>
                  </a:lnTo>
                  <a:lnTo>
                    <a:pt x="342" y="108"/>
                  </a:lnTo>
                  <a:lnTo>
                    <a:pt x="322" y="117"/>
                  </a:lnTo>
                  <a:lnTo>
                    <a:pt x="322" y="147"/>
                  </a:lnTo>
                  <a:lnTo>
                    <a:pt x="322" y="166"/>
                  </a:lnTo>
                  <a:lnTo>
                    <a:pt x="332" y="186"/>
                  </a:lnTo>
                  <a:lnTo>
                    <a:pt x="342" y="195"/>
                  </a:lnTo>
                  <a:lnTo>
                    <a:pt x="351" y="225"/>
                  </a:lnTo>
                  <a:lnTo>
                    <a:pt x="371" y="225"/>
                  </a:lnTo>
                  <a:lnTo>
                    <a:pt x="381" y="234"/>
                  </a:lnTo>
                  <a:lnTo>
                    <a:pt x="391" y="244"/>
                  </a:lnTo>
                  <a:lnTo>
                    <a:pt x="400" y="273"/>
                  </a:lnTo>
                  <a:lnTo>
                    <a:pt x="410" y="273"/>
                  </a:lnTo>
                  <a:lnTo>
                    <a:pt x="430" y="273"/>
                  </a:lnTo>
                  <a:lnTo>
                    <a:pt x="449" y="283"/>
                  </a:lnTo>
                  <a:lnTo>
                    <a:pt x="459" y="293"/>
                  </a:lnTo>
                  <a:lnTo>
                    <a:pt x="449" y="303"/>
                  </a:lnTo>
                  <a:lnTo>
                    <a:pt x="459" y="312"/>
                  </a:lnTo>
                  <a:lnTo>
                    <a:pt x="469" y="322"/>
                  </a:lnTo>
                  <a:lnTo>
                    <a:pt x="478" y="332"/>
                  </a:lnTo>
                  <a:lnTo>
                    <a:pt x="508" y="361"/>
                  </a:lnTo>
                  <a:lnTo>
                    <a:pt x="527" y="361"/>
                  </a:lnTo>
                  <a:lnTo>
                    <a:pt x="537" y="361"/>
                  </a:lnTo>
                  <a:lnTo>
                    <a:pt x="556" y="371"/>
                  </a:lnTo>
                  <a:lnTo>
                    <a:pt x="547" y="381"/>
                  </a:lnTo>
                  <a:lnTo>
                    <a:pt x="556" y="390"/>
                  </a:lnTo>
                  <a:lnTo>
                    <a:pt x="566" y="410"/>
                  </a:lnTo>
                  <a:lnTo>
                    <a:pt x="576" y="420"/>
                  </a:lnTo>
                  <a:lnTo>
                    <a:pt x="595" y="400"/>
                  </a:lnTo>
                  <a:lnTo>
                    <a:pt x="615" y="400"/>
                  </a:lnTo>
                  <a:lnTo>
                    <a:pt x="625" y="420"/>
                  </a:lnTo>
                  <a:lnTo>
                    <a:pt x="615" y="430"/>
                  </a:lnTo>
                  <a:lnTo>
                    <a:pt x="625" y="449"/>
                  </a:lnTo>
                  <a:lnTo>
                    <a:pt x="634" y="459"/>
                  </a:lnTo>
                  <a:lnTo>
                    <a:pt x="644" y="459"/>
                  </a:lnTo>
                  <a:lnTo>
                    <a:pt x="654" y="469"/>
                  </a:lnTo>
                  <a:lnTo>
                    <a:pt x="654" y="488"/>
                  </a:lnTo>
                  <a:lnTo>
                    <a:pt x="644" y="508"/>
                  </a:lnTo>
                  <a:lnTo>
                    <a:pt x="634" y="517"/>
                  </a:lnTo>
                  <a:lnTo>
                    <a:pt x="625" y="517"/>
                  </a:lnTo>
                  <a:lnTo>
                    <a:pt x="605" y="517"/>
                  </a:lnTo>
                  <a:lnTo>
                    <a:pt x="586" y="527"/>
                  </a:lnTo>
                  <a:lnTo>
                    <a:pt x="576" y="517"/>
                  </a:lnTo>
                  <a:lnTo>
                    <a:pt x="566" y="508"/>
                  </a:lnTo>
                  <a:lnTo>
                    <a:pt x="556" y="517"/>
                  </a:lnTo>
                  <a:lnTo>
                    <a:pt x="547" y="527"/>
                  </a:lnTo>
                  <a:lnTo>
                    <a:pt x="566" y="537"/>
                  </a:lnTo>
                  <a:lnTo>
                    <a:pt x="576" y="547"/>
                  </a:lnTo>
                  <a:lnTo>
                    <a:pt x="566" y="556"/>
                  </a:lnTo>
                  <a:lnTo>
                    <a:pt x="566" y="576"/>
                  </a:lnTo>
                  <a:lnTo>
                    <a:pt x="556" y="586"/>
                  </a:lnTo>
                  <a:lnTo>
                    <a:pt x="547" y="595"/>
                  </a:lnTo>
                  <a:lnTo>
                    <a:pt x="527" y="576"/>
                  </a:lnTo>
                  <a:lnTo>
                    <a:pt x="517" y="566"/>
                  </a:lnTo>
                  <a:lnTo>
                    <a:pt x="508" y="566"/>
                  </a:lnTo>
                  <a:lnTo>
                    <a:pt x="488" y="586"/>
                  </a:lnTo>
                  <a:lnTo>
                    <a:pt x="469" y="576"/>
                  </a:lnTo>
                  <a:lnTo>
                    <a:pt x="449" y="586"/>
                  </a:lnTo>
                  <a:lnTo>
                    <a:pt x="430" y="576"/>
                  </a:lnTo>
                  <a:lnTo>
                    <a:pt x="430" y="5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2" name="Freeform 71"/>
            <p:cNvSpPr>
              <a:spLocks/>
            </p:cNvSpPr>
            <p:nvPr/>
          </p:nvSpPr>
          <p:spPr bwMode="auto">
            <a:xfrm>
              <a:off x="3541" y="1378"/>
              <a:ext cx="1091" cy="1344"/>
            </a:xfrm>
            <a:custGeom>
              <a:avLst/>
              <a:gdLst/>
              <a:ahLst/>
              <a:cxnLst>
                <a:cxn ang="0">
                  <a:pos x="0" y="702"/>
                </a:cxn>
                <a:cxn ang="0">
                  <a:pos x="156" y="770"/>
                </a:cxn>
                <a:cxn ang="0">
                  <a:pos x="253" y="858"/>
                </a:cxn>
                <a:cxn ang="0">
                  <a:pos x="361" y="907"/>
                </a:cxn>
                <a:cxn ang="0">
                  <a:pos x="351" y="1034"/>
                </a:cxn>
                <a:cxn ang="0">
                  <a:pos x="497" y="1112"/>
                </a:cxn>
                <a:cxn ang="0">
                  <a:pos x="644" y="1229"/>
                </a:cxn>
                <a:cxn ang="0">
                  <a:pos x="800" y="1219"/>
                </a:cxn>
                <a:cxn ang="0">
                  <a:pos x="897" y="1297"/>
                </a:cxn>
                <a:cxn ang="0">
                  <a:pos x="1043" y="1297"/>
                </a:cxn>
                <a:cxn ang="0">
                  <a:pos x="1043" y="1190"/>
                </a:cxn>
                <a:cxn ang="0">
                  <a:pos x="1063" y="1073"/>
                </a:cxn>
                <a:cxn ang="0">
                  <a:pos x="1043" y="966"/>
                </a:cxn>
                <a:cxn ang="0">
                  <a:pos x="1014" y="888"/>
                </a:cxn>
                <a:cxn ang="0">
                  <a:pos x="1004" y="741"/>
                </a:cxn>
                <a:cxn ang="0">
                  <a:pos x="1063" y="634"/>
                </a:cxn>
                <a:cxn ang="0">
                  <a:pos x="1043" y="546"/>
                </a:cxn>
                <a:cxn ang="0">
                  <a:pos x="956" y="458"/>
                </a:cxn>
                <a:cxn ang="0">
                  <a:pos x="1063" y="351"/>
                </a:cxn>
                <a:cxn ang="0">
                  <a:pos x="1073" y="234"/>
                </a:cxn>
                <a:cxn ang="0">
                  <a:pos x="995" y="205"/>
                </a:cxn>
                <a:cxn ang="0">
                  <a:pos x="965" y="195"/>
                </a:cxn>
                <a:cxn ang="0">
                  <a:pos x="975" y="292"/>
                </a:cxn>
                <a:cxn ang="0">
                  <a:pos x="985" y="341"/>
                </a:cxn>
                <a:cxn ang="0">
                  <a:pos x="887" y="253"/>
                </a:cxn>
                <a:cxn ang="0">
                  <a:pos x="936" y="156"/>
                </a:cxn>
                <a:cxn ang="0">
                  <a:pos x="917" y="127"/>
                </a:cxn>
                <a:cxn ang="0">
                  <a:pos x="809" y="205"/>
                </a:cxn>
                <a:cxn ang="0">
                  <a:pos x="780" y="341"/>
                </a:cxn>
                <a:cxn ang="0">
                  <a:pos x="722" y="468"/>
                </a:cxn>
                <a:cxn ang="0">
                  <a:pos x="839" y="517"/>
                </a:cxn>
                <a:cxn ang="0">
                  <a:pos x="848" y="624"/>
                </a:cxn>
                <a:cxn ang="0">
                  <a:pos x="858" y="692"/>
                </a:cxn>
                <a:cxn ang="0">
                  <a:pos x="800" y="663"/>
                </a:cxn>
                <a:cxn ang="0">
                  <a:pos x="829" y="566"/>
                </a:cxn>
                <a:cxn ang="0">
                  <a:pos x="712" y="546"/>
                </a:cxn>
                <a:cxn ang="0">
                  <a:pos x="605" y="692"/>
                </a:cxn>
                <a:cxn ang="0">
                  <a:pos x="478" y="712"/>
                </a:cxn>
                <a:cxn ang="0">
                  <a:pos x="429" y="644"/>
                </a:cxn>
                <a:cxn ang="0">
                  <a:pos x="458" y="644"/>
                </a:cxn>
                <a:cxn ang="0">
                  <a:pos x="517" y="683"/>
                </a:cxn>
                <a:cxn ang="0">
                  <a:pos x="575" y="634"/>
                </a:cxn>
                <a:cxn ang="0">
                  <a:pos x="634" y="595"/>
                </a:cxn>
                <a:cxn ang="0">
                  <a:pos x="683" y="497"/>
                </a:cxn>
                <a:cxn ang="0">
                  <a:pos x="702" y="390"/>
                </a:cxn>
                <a:cxn ang="0">
                  <a:pos x="761" y="283"/>
                </a:cxn>
                <a:cxn ang="0">
                  <a:pos x="800" y="156"/>
                </a:cxn>
                <a:cxn ang="0">
                  <a:pos x="848" y="58"/>
                </a:cxn>
                <a:cxn ang="0">
                  <a:pos x="761" y="19"/>
                </a:cxn>
                <a:cxn ang="0">
                  <a:pos x="683" y="78"/>
                </a:cxn>
                <a:cxn ang="0">
                  <a:pos x="556" y="156"/>
                </a:cxn>
                <a:cxn ang="0">
                  <a:pos x="546" y="234"/>
                </a:cxn>
                <a:cxn ang="0">
                  <a:pos x="487" y="302"/>
                </a:cxn>
                <a:cxn ang="0">
                  <a:pos x="507" y="341"/>
                </a:cxn>
                <a:cxn ang="0">
                  <a:pos x="468" y="468"/>
                </a:cxn>
                <a:cxn ang="0">
                  <a:pos x="429" y="361"/>
                </a:cxn>
                <a:cxn ang="0">
                  <a:pos x="361" y="302"/>
                </a:cxn>
                <a:cxn ang="0">
                  <a:pos x="361" y="458"/>
                </a:cxn>
                <a:cxn ang="0">
                  <a:pos x="234" y="517"/>
                </a:cxn>
              </a:cxnLst>
              <a:rect l="0" t="0" r="r" b="b"/>
              <a:pathLst>
                <a:path w="1092" h="1346">
                  <a:moveTo>
                    <a:pt x="68" y="566"/>
                  </a:moveTo>
                  <a:lnTo>
                    <a:pt x="58" y="585"/>
                  </a:lnTo>
                  <a:lnTo>
                    <a:pt x="58" y="595"/>
                  </a:lnTo>
                  <a:lnTo>
                    <a:pt x="49" y="614"/>
                  </a:lnTo>
                  <a:lnTo>
                    <a:pt x="58" y="624"/>
                  </a:lnTo>
                  <a:lnTo>
                    <a:pt x="49" y="634"/>
                  </a:lnTo>
                  <a:lnTo>
                    <a:pt x="39" y="663"/>
                  </a:lnTo>
                  <a:lnTo>
                    <a:pt x="19" y="683"/>
                  </a:lnTo>
                  <a:lnTo>
                    <a:pt x="0" y="692"/>
                  </a:lnTo>
                  <a:lnTo>
                    <a:pt x="0" y="702"/>
                  </a:lnTo>
                  <a:lnTo>
                    <a:pt x="19" y="712"/>
                  </a:lnTo>
                  <a:lnTo>
                    <a:pt x="29" y="712"/>
                  </a:lnTo>
                  <a:lnTo>
                    <a:pt x="39" y="731"/>
                  </a:lnTo>
                  <a:lnTo>
                    <a:pt x="39" y="741"/>
                  </a:lnTo>
                  <a:lnTo>
                    <a:pt x="49" y="751"/>
                  </a:lnTo>
                  <a:lnTo>
                    <a:pt x="58" y="741"/>
                  </a:lnTo>
                  <a:lnTo>
                    <a:pt x="97" y="751"/>
                  </a:lnTo>
                  <a:lnTo>
                    <a:pt x="127" y="761"/>
                  </a:lnTo>
                  <a:lnTo>
                    <a:pt x="136" y="761"/>
                  </a:lnTo>
                  <a:lnTo>
                    <a:pt x="156" y="770"/>
                  </a:lnTo>
                  <a:lnTo>
                    <a:pt x="175" y="780"/>
                  </a:lnTo>
                  <a:lnTo>
                    <a:pt x="195" y="790"/>
                  </a:lnTo>
                  <a:lnTo>
                    <a:pt x="195" y="800"/>
                  </a:lnTo>
                  <a:lnTo>
                    <a:pt x="185" y="810"/>
                  </a:lnTo>
                  <a:lnTo>
                    <a:pt x="175" y="819"/>
                  </a:lnTo>
                  <a:lnTo>
                    <a:pt x="175" y="839"/>
                  </a:lnTo>
                  <a:lnTo>
                    <a:pt x="195" y="858"/>
                  </a:lnTo>
                  <a:lnTo>
                    <a:pt x="214" y="858"/>
                  </a:lnTo>
                  <a:lnTo>
                    <a:pt x="244" y="858"/>
                  </a:lnTo>
                  <a:lnTo>
                    <a:pt x="253" y="858"/>
                  </a:lnTo>
                  <a:lnTo>
                    <a:pt x="263" y="868"/>
                  </a:lnTo>
                  <a:lnTo>
                    <a:pt x="283" y="858"/>
                  </a:lnTo>
                  <a:lnTo>
                    <a:pt x="292" y="858"/>
                  </a:lnTo>
                  <a:lnTo>
                    <a:pt x="302" y="858"/>
                  </a:lnTo>
                  <a:lnTo>
                    <a:pt x="322" y="888"/>
                  </a:lnTo>
                  <a:lnTo>
                    <a:pt x="331" y="888"/>
                  </a:lnTo>
                  <a:lnTo>
                    <a:pt x="341" y="888"/>
                  </a:lnTo>
                  <a:lnTo>
                    <a:pt x="341" y="897"/>
                  </a:lnTo>
                  <a:lnTo>
                    <a:pt x="361" y="907"/>
                  </a:lnTo>
                  <a:lnTo>
                    <a:pt x="361" y="917"/>
                  </a:lnTo>
                  <a:lnTo>
                    <a:pt x="351" y="927"/>
                  </a:lnTo>
                  <a:lnTo>
                    <a:pt x="341" y="936"/>
                  </a:lnTo>
                  <a:lnTo>
                    <a:pt x="341" y="966"/>
                  </a:lnTo>
                  <a:lnTo>
                    <a:pt x="341" y="995"/>
                  </a:lnTo>
                  <a:lnTo>
                    <a:pt x="361" y="1005"/>
                  </a:lnTo>
                  <a:lnTo>
                    <a:pt x="361" y="1014"/>
                  </a:lnTo>
                  <a:lnTo>
                    <a:pt x="351" y="1014"/>
                  </a:lnTo>
                  <a:lnTo>
                    <a:pt x="351" y="1024"/>
                  </a:lnTo>
                  <a:lnTo>
                    <a:pt x="351" y="1034"/>
                  </a:lnTo>
                  <a:lnTo>
                    <a:pt x="370" y="1044"/>
                  </a:lnTo>
                  <a:lnTo>
                    <a:pt x="390" y="1053"/>
                  </a:lnTo>
                  <a:lnTo>
                    <a:pt x="400" y="1053"/>
                  </a:lnTo>
                  <a:lnTo>
                    <a:pt x="419" y="1044"/>
                  </a:lnTo>
                  <a:lnTo>
                    <a:pt x="429" y="1053"/>
                  </a:lnTo>
                  <a:lnTo>
                    <a:pt x="429" y="1073"/>
                  </a:lnTo>
                  <a:lnTo>
                    <a:pt x="439" y="1083"/>
                  </a:lnTo>
                  <a:lnTo>
                    <a:pt x="468" y="1083"/>
                  </a:lnTo>
                  <a:lnTo>
                    <a:pt x="478" y="1092"/>
                  </a:lnTo>
                  <a:lnTo>
                    <a:pt x="497" y="1112"/>
                  </a:lnTo>
                  <a:lnTo>
                    <a:pt x="517" y="1122"/>
                  </a:lnTo>
                  <a:lnTo>
                    <a:pt x="546" y="1122"/>
                  </a:lnTo>
                  <a:lnTo>
                    <a:pt x="556" y="1131"/>
                  </a:lnTo>
                  <a:lnTo>
                    <a:pt x="566" y="1151"/>
                  </a:lnTo>
                  <a:lnTo>
                    <a:pt x="595" y="1151"/>
                  </a:lnTo>
                  <a:lnTo>
                    <a:pt x="595" y="1171"/>
                  </a:lnTo>
                  <a:lnTo>
                    <a:pt x="605" y="1200"/>
                  </a:lnTo>
                  <a:lnTo>
                    <a:pt x="605" y="1210"/>
                  </a:lnTo>
                  <a:lnTo>
                    <a:pt x="624" y="1219"/>
                  </a:lnTo>
                  <a:lnTo>
                    <a:pt x="644" y="1229"/>
                  </a:lnTo>
                  <a:lnTo>
                    <a:pt x="673" y="1229"/>
                  </a:lnTo>
                  <a:lnTo>
                    <a:pt x="692" y="1229"/>
                  </a:lnTo>
                  <a:lnTo>
                    <a:pt x="702" y="1249"/>
                  </a:lnTo>
                  <a:lnTo>
                    <a:pt x="722" y="1258"/>
                  </a:lnTo>
                  <a:lnTo>
                    <a:pt x="731" y="1258"/>
                  </a:lnTo>
                  <a:lnTo>
                    <a:pt x="741" y="1249"/>
                  </a:lnTo>
                  <a:lnTo>
                    <a:pt x="751" y="1239"/>
                  </a:lnTo>
                  <a:lnTo>
                    <a:pt x="761" y="1229"/>
                  </a:lnTo>
                  <a:lnTo>
                    <a:pt x="780" y="1219"/>
                  </a:lnTo>
                  <a:lnTo>
                    <a:pt x="800" y="1219"/>
                  </a:lnTo>
                  <a:lnTo>
                    <a:pt x="809" y="1229"/>
                  </a:lnTo>
                  <a:lnTo>
                    <a:pt x="819" y="1258"/>
                  </a:lnTo>
                  <a:lnTo>
                    <a:pt x="829" y="1268"/>
                  </a:lnTo>
                  <a:lnTo>
                    <a:pt x="839" y="1268"/>
                  </a:lnTo>
                  <a:lnTo>
                    <a:pt x="858" y="1268"/>
                  </a:lnTo>
                  <a:lnTo>
                    <a:pt x="868" y="1278"/>
                  </a:lnTo>
                  <a:lnTo>
                    <a:pt x="878" y="1278"/>
                  </a:lnTo>
                  <a:lnTo>
                    <a:pt x="887" y="1278"/>
                  </a:lnTo>
                  <a:lnTo>
                    <a:pt x="897" y="1297"/>
                  </a:lnTo>
                  <a:lnTo>
                    <a:pt x="917" y="1317"/>
                  </a:lnTo>
                  <a:lnTo>
                    <a:pt x="936" y="1327"/>
                  </a:lnTo>
                  <a:lnTo>
                    <a:pt x="946" y="1317"/>
                  </a:lnTo>
                  <a:lnTo>
                    <a:pt x="956" y="1327"/>
                  </a:lnTo>
                  <a:lnTo>
                    <a:pt x="975" y="1346"/>
                  </a:lnTo>
                  <a:lnTo>
                    <a:pt x="985" y="1346"/>
                  </a:lnTo>
                  <a:lnTo>
                    <a:pt x="1004" y="1327"/>
                  </a:lnTo>
                  <a:lnTo>
                    <a:pt x="1004" y="1317"/>
                  </a:lnTo>
                  <a:lnTo>
                    <a:pt x="1024" y="1297"/>
                  </a:lnTo>
                  <a:lnTo>
                    <a:pt x="1043" y="1297"/>
                  </a:lnTo>
                  <a:lnTo>
                    <a:pt x="1053" y="1288"/>
                  </a:lnTo>
                  <a:lnTo>
                    <a:pt x="1043" y="1278"/>
                  </a:lnTo>
                  <a:lnTo>
                    <a:pt x="1053" y="1268"/>
                  </a:lnTo>
                  <a:lnTo>
                    <a:pt x="1053" y="1258"/>
                  </a:lnTo>
                  <a:lnTo>
                    <a:pt x="1043" y="1249"/>
                  </a:lnTo>
                  <a:lnTo>
                    <a:pt x="1043" y="1239"/>
                  </a:lnTo>
                  <a:lnTo>
                    <a:pt x="1034" y="1219"/>
                  </a:lnTo>
                  <a:lnTo>
                    <a:pt x="1034" y="1210"/>
                  </a:lnTo>
                  <a:lnTo>
                    <a:pt x="1043" y="1190"/>
                  </a:lnTo>
                  <a:lnTo>
                    <a:pt x="1063" y="1180"/>
                  </a:lnTo>
                  <a:lnTo>
                    <a:pt x="1083" y="1171"/>
                  </a:lnTo>
                  <a:lnTo>
                    <a:pt x="1092" y="1161"/>
                  </a:lnTo>
                  <a:lnTo>
                    <a:pt x="1092" y="1131"/>
                  </a:lnTo>
                  <a:lnTo>
                    <a:pt x="1092" y="1102"/>
                  </a:lnTo>
                  <a:lnTo>
                    <a:pt x="1092" y="1083"/>
                  </a:lnTo>
                  <a:lnTo>
                    <a:pt x="1083" y="1083"/>
                  </a:lnTo>
                  <a:lnTo>
                    <a:pt x="1063" y="1083"/>
                  </a:lnTo>
                  <a:lnTo>
                    <a:pt x="1053" y="1083"/>
                  </a:lnTo>
                  <a:lnTo>
                    <a:pt x="1063" y="1073"/>
                  </a:lnTo>
                  <a:lnTo>
                    <a:pt x="1053" y="1063"/>
                  </a:lnTo>
                  <a:lnTo>
                    <a:pt x="1034" y="1053"/>
                  </a:lnTo>
                  <a:lnTo>
                    <a:pt x="1024" y="1044"/>
                  </a:lnTo>
                  <a:lnTo>
                    <a:pt x="1034" y="1034"/>
                  </a:lnTo>
                  <a:lnTo>
                    <a:pt x="1043" y="1024"/>
                  </a:lnTo>
                  <a:lnTo>
                    <a:pt x="1043" y="1005"/>
                  </a:lnTo>
                  <a:lnTo>
                    <a:pt x="1043" y="995"/>
                  </a:lnTo>
                  <a:lnTo>
                    <a:pt x="1053" y="975"/>
                  </a:lnTo>
                  <a:lnTo>
                    <a:pt x="1043" y="966"/>
                  </a:lnTo>
                  <a:lnTo>
                    <a:pt x="1034" y="966"/>
                  </a:lnTo>
                  <a:lnTo>
                    <a:pt x="1024" y="966"/>
                  </a:lnTo>
                  <a:lnTo>
                    <a:pt x="1014" y="956"/>
                  </a:lnTo>
                  <a:lnTo>
                    <a:pt x="1014" y="936"/>
                  </a:lnTo>
                  <a:lnTo>
                    <a:pt x="1004" y="936"/>
                  </a:lnTo>
                  <a:lnTo>
                    <a:pt x="1004" y="917"/>
                  </a:lnTo>
                  <a:lnTo>
                    <a:pt x="1024" y="917"/>
                  </a:lnTo>
                  <a:lnTo>
                    <a:pt x="1024" y="907"/>
                  </a:lnTo>
                  <a:lnTo>
                    <a:pt x="1014" y="888"/>
                  </a:lnTo>
                  <a:lnTo>
                    <a:pt x="1004" y="878"/>
                  </a:lnTo>
                  <a:lnTo>
                    <a:pt x="1014" y="858"/>
                  </a:lnTo>
                  <a:lnTo>
                    <a:pt x="1024" y="849"/>
                  </a:lnTo>
                  <a:lnTo>
                    <a:pt x="1024" y="839"/>
                  </a:lnTo>
                  <a:lnTo>
                    <a:pt x="1004" y="810"/>
                  </a:lnTo>
                  <a:lnTo>
                    <a:pt x="995" y="790"/>
                  </a:lnTo>
                  <a:lnTo>
                    <a:pt x="995" y="780"/>
                  </a:lnTo>
                  <a:lnTo>
                    <a:pt x="1004" y="761"/>
                  </a:lnTo>
                  <a:lnTo>
                    <a:pt x="1004" y="741"/>
                  </a:lnTo>
                  <a:lnTo>
                    <a:pt x="1004" y="722"/>
                  </a:lnTo>
                  <a:lnTo>
                    <a:pt x="1004" y="702"/>
                  </a:lnTo>
                  <a:lnTo>
                    <a:pt x="1024" y="702"/>
                  </a:lnTo>
                  <a:lnTo>
                    <a:pt x="1034" y="702"/>
                  </a:lnTo>
                  <a:lnTo>
                    <a:pt x="1063" y="692"/>
                  </a:lnTo>
                  <a:lnTo>
                    <a:pt x="1053" y="663"/>
                  </a:lnTo>
                  <a:lnTo>
                    <a:pt x="1053" y="644"/>
                  </a:lnTo>
                  <a:lnTo>
                    <a:pt x="1053" y="634"/>
                  </a:lnTo>
                  <a:lnTo>
                    <a:pt x="1063" y="634"/>
                  </a:lnTo>
                  <a:lnTo>
                    <a:pt x="1073" y="634"/>
                  </a:lnTo>
                  <a:lnTo>
                    <a:pt x="1063" y="624"/>
                  </a:lnTo>
                  <a:lnTo>
                    <a:pt x="1053" y="614"/>
                  </a:lnTo>
                  <a:lnTo>
                    <a:pt x="1063" y="605"/>
                  </a:lnTo>
                  <a:lnTo>
                    <a:pt x="1063" y="585"/>
                  </a:lnTo>
                  <a:lnTo>
                    <a:pt x="1063" y="575"/>
                  </a:lnTo>
                  <a:lnTo>
                    <a:pt x="1053" y="566"/>
                  </a:lnTo>
                  <a:lnTo>
                    <a:pt x="1063" y="546"/>
                  </a:lnTo>
                  <a:lnTo>
                    <a:pt x="1053" y="536"/>
                  </a:lnTo>
                  <a:lnTo>
                    <a:pt x="1043" y="546"/>
                  </a:lnTo>
                  <a:lnTo>
                    <a:pt x="1034" y="556"/>
                  </a:lnTo>
                  <a:lnTo>
                    <a:pt x="1024" y="556"/>
                  </a:lnTo>
                  <a:lnTo>
                    <a:pt x="1004" y="546"/>
                  </a:lnTo>
                  <a:lnTo>
                    <a:pt x="985" y="527"/>
                  </a:lnTo>
                  <a:lnTo>
                    <a:pt x="975" y="527"/>
                  </a:lnTo>
                  <a:lnTo>
                    <a:pt x="975" y="517"/>
                  </a:lnTo>
                  <a:lnTo>
                    <a:pt x="975" y="497"/>
                  </a:lnTo>
                  <a:lnTo>
                    <a:pt x="965" y="488"/>
                  </a:lnTo>
                  <a:lnTo>
                    <a:pt x="956" y="478"/>
                  </a:lnTo>
                  <a:lnTo>
                    <a:pt x="956" y="458"/>
                  </a:lnTo>
                  <a:lnTo>
                    <a:pt x="965" y="449"/>
                  </a:lnTo>
                  <a:lnTo>
                    <a:pt x="985" y="439"/>
                  </a:lnTo>
                  <a:lnTo>
                    <a:pt x="995" y="439"/>
                  </a:lnTo>
                  <a:lnTo>
                    <a:pt x="1004" y="429"/>
                  </a:lnTo>
                  <a:lnTo>
                    <a:pt x="1014" y="429"/>
                  </a:lnTo>
                  <a:lnTo>
                    <a:pt x="1043" y="419"/>
                  </a:lnTo>
                  <a:lnTo>
                    <a:pt x="1053" y="409"/>
                  </a:lnTo>
                  <a:lnTo>
                    <a:pt x="1053" y="370"/>
                  </a:lnTo>
                  <a:lnTo>
                    <a:pt x="1063" y="351"/>
                  </a:lnTo>
                  <a:lnTo>
                    <a:pt x="1053" y="341"/>
                  </a:lnTo>
                  <a:lnTo>
                    <a:pt x="1043" y="331"/>
                  </a:lnTo>
                  <a:lnTo>
                    <a:pt x="1024" y="302"/>
                  </a:lnTo>
                  <a:lnTo>
                    <a:pt x="1024" y="283"/>
                  </a:lnTo>
                  <a:lnTo>
                    <a:pt x="1034" y="273"/>
                  </a:lnTo>
                  <a:lnTo>
                    <a:pt x="1043" y="273"/>
                  </a:lnTo>
                  <a:lnTo>
                    <a:pt x="1053" y="273"/>
                  </a:lnTo>
                  <a:lnTo>
                    <a:pt x="1083" y="244"/>
                  </a:lnTo>
                  <a:lnTo>
                    <a:pt x="1073" y="234"/>
                  </a:lnTo>
                  <a:lnTo>
                    <a:pt x="1053" y="224"/>
                  </a:lnTo>
                  <a:lnTo>
                    <a:pt x="1043" y="214"/>
                  </a:lnTo>
                  <a:lnTo>
                    <a:pt x="1034" y="195"/>
                  </a:lnTo>
                  <a:lnTo>
                    <a:pt x="1043" y="195"/>
                  </a:lnTo>
                  <a:lnTo>
                    <a:pt x="1043" y="185"/>
                  </a:lnTo>
                  <a:lnTo>
                    <a:pt x="1014" y="185"/>
                  </a:lnTo>
                  <a:lnTo>
                    <a:pt x="1004" y="195"/>
                  </a:lnTo>
                  <a:lnTo>
                    <a:pt x="995" y="195"/>
                  </a:lnTo>
                  <a:lnTo>
                    <a:pt x="995" y="205"/>
                  </a:lnTo>
                  <a:lnTo>
                    <a:pt x="1004" y="205"/>
                  </a:lnTo>
                  <a:lnTo>
                    <a:pt x="1014" y="214"/>
                  </a:lnTo>
                  <a:lnTo>
                    <a:pt x="1014" y="234"/>
                  </a:lnTo>
                  <a:lnTo>
                    <a:pt x="1004" y="234"/>
                  </a:lnTo>
                  <a:lnTo>
                    <a:pt x="985" y="234"/>
                  </a:lnTo>
                  <a:lnTo>
                    <a:pt x="985" y="214"/>
                  </a:lnTo>
                  <a:lnTo>
                    <a:pt x="975" y="214"/>
                  </a:lnTo>
                  <a:lnTo>
                    <a:pt x="975" y="195"/>
                  </a:lnTo>
                  <a:lnTo>
                    <a:pt x="965" y="195"/>
                  </a:lnTo>
                  <a:lnTo>
                    <a:pt x="956" y="195"/>
                  </a:lnTo>
                  <a:lnTo>
                    <a:pt x="936" y="195"/>
                  </a:lnTo>
                  <a:lnTo>
                    <a:pt x="926" y="205"/>
                  </a:lnTo>
                  <a:lnTo>
                    <a:pt x="926" y="224"/>
                  </a:lnTo>
                  <a:lnTo>
                    <a:pt x="926" y="244"/>
                  </a:lnTo>
                  <a:lnTo>
                    <a:pt x="936" y="263"/>
                  </a:lnTo>
                  <a:lnTo>
                    <a:pt x="946" y="273"/>
                  </a:lnTo>
                  <a:lnTo>
                    <a:pt x="956" y="292"/>
                  </a:lnTo>
                  <a:lnTo>
                    <a:pt x="965" y="292"/>
                  </a:lnTo>
                  <a:lnTo>
                    <a:pt x="975" y="292"/>
                  </a:lnTo>
                  <a:lnTo>
                    <a:pt x="985" y="302"/>
                  </a:lnTo>
                  <a:lnTo>
                    <a:pt x="985" y="312"/>
                  </a:lnTo>
                  <a:lnTo>
                    <a:pt x="975" y="322"/>
                  </a:lnTo>
                  <a:lnTo>
                    <a:pt x="985" y="331"/>
                  </a:lnTo>
                  <a:lnTo>
                    <a:pt x="995" y="331"/>
                  </a:lnTo>
                  <a:lnTo>
                    <a:pt x="1004" y="331"/>
                  </a:lnTo>
                  <a:lnTo>
                    <a:pt x="1004" y="341"/>
                  </a:lnTo>
                  <a:lnTo>
                    <a:pt x="1004" y="351"/>
                  </a:lnTo>
                  <a:lnTo>
                    <a:pt x="985" y="341"/>
                  </a:lnTo>
                  <a:lnTo>
                    <a:pt x="975" y="341"/>
                  </a:lnTo>
                  <a:lnTo>
                    <a:pt x="965" y="331"/>
                  </a:lnTo>
                  <a:lnTo>
                    <a:pt x="965" y="312"/>
                  </a:lnTo>
                  <a:lnTo>
                    <a:pt x="956" y="302"/>
                  </a:lnTo>
                  <a:lnTo>
                    <a:pt x="946" y="292"/>
                  </a:lnTo>
                  <a:lnTo>
                    <a:pt x="936" y="292"/>
                  </a:lnTo>
                  <a:lnTo>
                    <a:pt x="926" y="292"/>
                  </a:lnTo>
                  <a:lnTo>
                    <a:pt x="917" y="283"/>
                  </a:lnTo>
                  <a:lnTo>
                    <a:pt x="897" y="273"/>
                  </a:lnTo>
                  <a:lnTo>
                    <a:pt x="887" y="253"/>
                  </a:lnTo>
                  <a:lnTo>
                    <a:pt x="887" y="244"/>
                  </a:lnTo>
                  <a:lnTo>
                    <a:pt x="897" y="234"/>
                  </a:lnTo>
                  <a:lnTo>
                    <a:pt x="897" y="214"/>
                  </a:lnTo>
                  <a:lnTo>
                    <a:pt x="897" y="195"/>
                  </a:lnTo>
                  <a:lnTo>
                    <a:pt x="907" y="185"/>
                  </a:lnTo>
                  <a:lnTo>
                    <a:pt x="917" y="175"/>
                  </a:lnTo>
                  <a:lnTo>
                    <a:pt x="926" y="166"/>
                  </a:lnTo>
                  <a:lnTo>
                    <a:pt x="936" y="156"/>
                  </a:lnTo>
                  <a:lnTo>
                    <a:pt x="936" y="146"/>
                  </a:lnTo>
                  <a:lnTo>
                    <a:pt x="936" y="136"/>
                  </a:lnTo>
                  <a:lnTo>
                    <a:pt x="946" y="127"/>
                  </a:lnTo>
                  <a:lnTo>
                    <a:pt x="946" y="117"/>
                  </a:lnTo>
                  <a:lnTo>
                    <a:pt x="946" y="97"/>
                  </a:lnTo>
                  <a:lnTo>
                    <a:pt x="936" y="88"/>
                  </a:lnTo>
                  <a:lnTo>
                    <a:pt x="926" y="97"/>
                  </a:lnTo>
                  <a:lnTo>
                    <a:pt x="926" y="107"/>
                  </a:lnTo>
                  <a:lnTo>
                    <a:pt x="917" y="127"/>
                  </a:lnTo>
                  <a:lnTo>
                    <a:pt x="917" y="146"/>
                  </a:lnTo>
                  <a:lnTo>
                    <a:pt x="907" y="156"/>
                  </a:lnTo>
                  <a:lnTo>
                    <a:pt x="897" y="175"/>
                  </a:lnTo>
                  <a:lnTo>
                    <a:pt x="878" y="175"/>
                  </a:lnTo>
                  <a:lnTo>
                    <a:pt x="858" y="175"/>
                  </a:lnTo>
                  <a:lnTo>
                    <a:pt x="848" y="175"/>
                  </a:lnTo>
                  <a:lnTo>
                    <a:pt x="839" y="185"/>
                  </a:lnTo>
                  <a:lnTo>
                    <a:pt x="829" y="195"/>
                  </a:lnTo>
                  <a:lnTo>
                    <a:pt x="809" y="205"/>
                  </a:lnTo>
                  <a:lnTo>
                    <a:pt x="800" y="205"/>
                  </a:lnTo>
                  <a:lnTo>
                    <a:pt x="800" y="214"/>
                  </a:lnTo>
                  <a:lnTo>
                    <a:pt x="800" y="224"/>
                  </a:lnTo>
                  <a:lnTo>
                    <a:pt x="809" y="234"/>
                  </a:lnTo>
                  <a:lnTo>
                    <a:pt x="809" y="263"/>
                  </a:lnTo>
                  <a:lnTo>
                    <a:pt x="800" y="283"/>
                  </a:lnTo>
                  <a:lnTo>
                    <a:pt x="809" y="312"/>
                  </a:lnTo>
                  <a:lnTo>
                    <a:pt x="809" y="331"/>
                  </a:lnTo>
                  <a:lnTo>
                    <a:pt x="800" y="331"/>
                  </a:lnTo>
                  <a:lnTo>
                    <a:pt x="780" y="341"/>
                  </a:lnTo>
                  <a:lnTo>
                    <a:pt x="770" y="351"/>
                  </a:lnTo>
                  <a:lnTo>
                    <a:pt x="761" y="361"/>
                  </a:lnTo>
                  <a:lnTo>
                    <a:pt x="761" y="370"/>
                  </a:lnTo>
                  <a:lnTo>
                    <a:pt x="741" y="390"/>
                  </a:lnTo>
                  <a:lnTo>
                    <a:pt x="741" y="409"/>
                  </a:lnTo>
                  <a:lnTo>
                    <a:pt x="741" y="429"/>
                  </a:lnTo>
                  <a:lnTo>
                    <a:pt x="741" y="439"/>
                  </a:lnTo>
                  <a:lnTo>
                    <a:pt x="731" y="449"/>
                  </a:lnTo>
                  <a:lnTo>
                    <a:pt x="722" y="458"/>
                  </a:lnTo>
                  <a:lnTo>
                    <a:pt x="722" y="468"/>
                  </a:lnTo>
                  <a:lnTo>
                    <a:pt x="731" y="468"/>
                  </a:lnTo>
                  <a:lnTo>
                    <a:pt x="741" y="468"/>
                  </a:lnTo>
                  <a:lnTo>
                    <a:pt x="751" y="478"/>
                  </a:lnTo>
                  <a:lnTo>
                    <a:pt x="751" y="488"/>
                  </a:lnTo>
                  <a:lnTo>
                    <a:pt x="770" y="488"/>
                  </a:lnTo>
                  <a:lnTo>
                    <a:pt x="790" y="488"/>
                  </a:lnTo>
                  <a:lnTo>
                    <a:pt x="800" y="488"/>
                  </a:lnTo>
                  <a:lnTo>
                    <a:pt x="809" y="488"/>
                  </a:lnTo>
                  <a:lnTo>
                    <a:pt x="829" y="497"/>
                  </a:lnTo>
                  <a:lnTo>
                    <a:pt x="839" y="517"/>
                  </a:lnTo>
                  <a:lnTo>
                    <a:pt x="848" y="527"/>
                  </a:lnTo>
                  <a:lnTo>
                    <a:pt x="848" y="536"/>
                  </a:lnTo>
                  <a:lnTo>
                    <a:pt x="858" y="546"/>
                  </a:lnTo>
                  <a:lnTo>
                    <a:pt x="858" y="556"/>
                  </a:lnTo>
                  <a:lnTo>
                    <a:pt x="858" y="575"/>
                  </a:lnTo>
                  <a:lnTo>
                    <a:pt x="858" y="585"/>
                  </a:lnTo>
                  <a:lnTo>
                    <a:pt x="868" y="605"/>
                  </a:lnTo>
                  <a:lnTo>
                    <a:pt x="858" y="614"/>
                  </a:lnTo>
                  <a:lnTo>
                    <a:pt x="858" y="624"/>
                  </a:lnTo>
                  <a:lnTo>
                    <a:pt x="848" y="624"/>
                  </a:lnTo>
                  <a:lnTo>
                    <a:pt x="839" y="624"/>
                  </a:lnTo>
                  <a:lnTo>
                    <a:pt x="829" y="634"/>
                  </a:lnTo>
                  <a:lnTo>
                    <a:pt x="819" y="644"/>
                  </a:lnTo>
                  <a:lnTo>
                    <a:pt x="819" y="663"/>
                  </a:lnTo>
                  <a:lnTo>
                    <a:pt x="819" y="673"/>
                  </a:lnTo>
                  <a:lnTo>
                    <a:pt x="829" y="673"/>
                  </a:lnTo>
                  <a:lnTo>
                    <a:pt x="829" y="683"/>
                  </a:lnTo>
                  <a:lnTo>
                    <a:pt x="848" y="692"/>
                  </a:lnTo>
                  <a:lnTo>
                    <a:pt x="858" y="692"/>
                  </a:lnTo>
                  <a:lnTo>
                    <a:pt x="868" y="702"/>
                  </a:lnTo>
                  <a:lnTo>
                    <a:pt x="868" y="712"/>
                  </a:lnTo>
                  <a:lnTo>
                    <a:pt x="858" y="702"/>
                  </a:lnTo>
                  <a:lnTo>
                    <a:pt x="848" y="702"/>
                  </a:lnTo>
                  <a:lnTo>
                    <a:pt x="829" y="692"/>
                  </a:lnTo>
                  <a:lnTo>
                    <a:pt x="819" y="702"/>
                  </a:lnTo>
                  <a:lnTo>
                    <a:pt x="819" y="692"/>
                  </a:lnTo>
                  <a:lnTo>
                    <a:pt x="809" y="683"/>
                  </a:lnTo>
                  <a:lnTo>
                    <a:pt x="800" y="663"/>
                  </a:lnTo>
                  <a:lnTo>
                    <a:pt x="809" y="653"/>
                  </a:lnTo>
                  <a:lnTo>
                    <a:pt x="809" y="634"/>
                  </a:lnTo>
                  <a:lnTo>
                    <a:pt x="819" y="624"/>
                  </a:lnTo>
                  <a:lnTo>
                    <a:pt x="829" y="614"/>
                  </a:lnTo>
                  <a:lnTo>
                    <a:pt x="819" y="605"/>
                  </a:lnTo>
                  <a:lnTo>
                    <a:pt x="839" y="595"/>
                  </a:lnTo>
                  <a:lnTo>
                    <a:pt x="839" y="585"/>
                  </a:lnTo>
                  <a:lnTo>
                    <a:pt x="839" y="575"/>
                  </a:lnTo>
                  <a:lnTo>
                    <a:pt x="829" y="566"/>
                  </a:lnTo>
                  <a:lnTo>
                    <a:pt x="829" y="546"/>
                  </a:lnTo>
                  <a:lnTo>
                    <a:pt x="829" y="527"/>
                  </a:lnTo>
                  <a:lnTo>
                    <a:pt x="819" y="517"/>
                  </a:lnTo>
                  <a:lnTo>
                    <a:pt x="800" y="517"/>
                  </a:lnTo>
                  <a:lnTo>
                    <a:pt x="761" y="507"/>
                  </a:lnTo>
                  <a:lnTo>
                    <a:pt x="741" y="517"/>
                  </a:lnTo>
                  <a:lnTo>
                    <a:pt x="731" y="527"/>
                  </a:lnTo>
                  <a:lnTo>
                    <a:pt x="731" y="536"/>
                  </a:lnTo>
                  <a:lnTo>
                    <a:pt x="712" y="546"/>
                  </a:lnTo>
                  <a:lnTo>
                    <a:pt x="712" y="566"/>
                  </a:lnTo>
                  <a:lnTo>
                    <a:pt x="712" y="575"/>
                  </a:lnTo>
                  <a:lnTo>
                    <a:pt x="712" y="605"/>
                  </a:lnTo>
                  <a:lnTo>
                    <a:pt x="702" y="614"/>
                  </a:lnTo>
                  <a:lnTo>
                    <a:pt x="692" y="634"/>
                  </a:lnTo>
                  <a:lnTo>
                    <a:pt x="673" y="634"/>
                  </a:lnTo>
                  <a:lnTo>
                    <a:pt x="653" y="644"/>
                  </a:lnTo>
                  <a:lnTo>
                    <a:pt x="644" y="673"/>
                  </a:lnTo>
                  <a:lnTo>
                    <a:pt x="634" y="683"/>
                  </a:lnTo>
                  <a:lnTo>
                    <a:pt x="605" y="692"/>
                  </a:lnTo>
                  <a:lnTo>
                    <a:pt x="595" y="702"/>
                  </a:lnTo>
                  <a:lnTo>
                    <a:pt x="566" y="712"/>
                  </a:lnTo>
                  <a:lnTo>
                    <a:pt x="556" y="712"/>
                  </a:lnTo>
                  <a:lnTo>
                    <a:pt x="546" y="722"/>
                  </a:lnTo>
                  <a:lnTo>
                    <a:pt x="536" y="731"/>
                  </a:lnTo>
                  <a:lnTo>
                    <a:pt x="517" y="741"/>
                  </a:lnTo>
                  <a:lnTo>
                    <a:pt x="507" y="731"/>
                  </a:lnTo>
                  <a:lnTo>
                    <a:pt x="497" y="722"/>
                  </a:lnTo>
                  <a:lnTo>
                    <a:pt x="497" y="712"/>
                  </a:lnTo>
                  <a:lnTo>
                    <a:pt x="478" y="712"/>
                  </a:lnTo>
                  <a:lnTo>
                    <a:pt x="458" y="702"/>
                  </a:lnTo>
                  <a:lnTo>
                    <a:pt x="448" y="692"/>
                  </a:lnTo>
                  <a:lnTo>
                    <a:pt x="439" y="692"/>
                  </a:lnTo>
                  <a:lnTo>
                    <a:pt x="429" y="673"/>
                  </a:lnTo>
                  <a:lnTo>
                    <a:pt x="419" y="663"/>
                  </a:lnTo>
                  <a:lnTo>
                    <a:pt x="409" y="653"/>
                  </a:lnTo>
                  <a:lnTo>
                    <a:pt x="409" y="634"/>
                  </a:lnTo>
                  <a:lnTo>
                    <a:pt x="419" y="634"/>
                  </a:lnTo>
                  <a:lnTo>
                    <a:pt x="429" y="634"/>
                  </a:lnTo>
                  <a:lnTo>
                    <a:pt x="429" y="644"/>
                  </a:lnTo>
                  <a:lnTo>
                    <a:pt x="429" y="653"/>
                  </a:lnTo>
                  <a:lnTo>
                    <a:pt x="429" y="663"/>
                  </a:lnTo>
                  <a:lnTo>
                    <a:pt x="439" y="673"/>
                  </a:lnTo>
                  <a:lnTo>
                    <a:pt x="439" y="663"/>
                  </a:lnTo>
                  <a:lnTo>
                    <a:pt x="448" y="663"/>
                  </a:lnTo>
                  <a:lnTo>
                    <a:pt x="448" y="644"/>
                  </a:lnTo>
                  <a:lnTo>
                    <a:pt x="439" y="634"/>
                  </a:lnTo>
                  <a:lnTo>
                    <a:pt x="448" y="634"/>
                  </a:lnTo>
                  <a:lnTo>
                    <a:pt x="458" y="634"/>
                  </a:lnTo>
                  <a:lnTo>
                    <a:pt x="458" y="644"/>
                  </a:lnTo>
                  <a:lnTo>
                    <a:pt x="458" y="663"/>
                  </a:lnTo>
                  <a:lnTo>
                    <a:pt x="468" y="663"/>
                  </a:lnTo>
                  <a:lnTo>
                    <a:pt x="458" y="673"/>
                  </a:lnTo>
                  <a:lnTo>
                    <a:pt x="458" y="683"/>
                  </a:lnTo>
                  <a:lnTo>
                    <a:pt x="468" y="683"/>
                  </a:lnTo>
                  <a:lnTo>
                    <a:pt x="478" y="683"/>
                  </a:lnTo>
                  <a:lnTo>
                    <a:pt x="487" y="683"/>
                  </a:lnTo>
                  <a:lnTo>
                    <a:pt x="497" y="683"/>
                  </a:lnTo>
                  <a:lnTo>
                    <a:pt x="517" y="683"/>
                  </a:lnTo>
                  <a:lnTo>
                    <a:pt x="517" y="673"/>
                  </a:lnTo>
                  <a:lnTo>
                    <a:pt x="517" y="663"/>
                  </a:lnTo>
                  <a:lnTo>
                    <a:pt x="517" y="653"/>
                  </a:lnTo>
                  <a:lnTo>
                    <a:pt x="527" y="653"/>
                  </a:lnTo>
                  <a:lnTo>
                    <a:pt x="536" y="663"/>
                  </a:lnTo>
                  <a:lnTo>
                    <a:pt x="546" y="663"/>
                  </a:lnTo>
                  <a:lnTo>
                    <a:pt x="556" y="653"/>
                  </a:lnTo>
                  <a:lnTo>
                    <a:pt x="556" y="634"/>
                  </a:lnTo>
                  <a:lnTo>
                    <a:pt x="566" y="634"/>
                  </a:lnTo>
                  <a:lnTo>
                    <a:pt x="575" y="634"/>
                  </a:lnTo>
                  <a:lnTo>
                    <a:pt x="566" y="624"/>
                  </a:lnTo>
                  <a:lnTo>
                    <a:pt x="575" y="624"/>
                  </a:lnTo>
                  <a:lnTo>
                    <a:pt x="585" y="624"/>
                  </a:lnTo>
                  <a:lnTo>
                    <a:pt x="595" y="614"/>
                  </a:lnTo>
                  <a:lnTo>
                    <a:pt x="605" y="605"/>
                  </a:lnTo>
                  <a:lnTo>
                    <a:pt x="614" y="605"/>
                  </a:lnTo>
                  <a:lnTo>
                    <a:pt x="624" y="605"/>
                  </a:lnTo>
                  <a:lnTo>
                    <a:pt x="634" y="595"/>
                  </a:lnTo>
                  <a:lnTo>
                    <a:pt x="644" y="585"/>
                  </a:lnTo>
                  <a:lnTo>
                    <a:pt x="644" y="566"/>
                  </a:lnTo>
                  <a:lnTo>
                    <a:pt x="653" y="556"/>
                  </a:lnTo>
                  <a:lnTo>
                    <a:pt x="653" y="546"/>
                  </a:lnTo>
                  <a:lnTo>
                    <a:pt x="673" y="546"/>
                  </a:lnTo>
                  <a:lnTo>
                    <a:pt x="683" y="536"/>
                  </a:lnTo>
                  <a:lnTo>
                    <a:pt x="683" y="527"/>
                  </a:lnTo>
                  <a:lnTo>
                    <a:pt x="683" y="497"/>
                  </a:lnTo>
                  <a:lnTo>
                    <a:pt x="673" y="488"/>
                  </a:lnTo>
                  <a:lnTo>
                    <a:pt x="663" y="478"/>
                  </a:lnTo>
                  <a:lnTo>
                    <a:pt x="663" y="468"/>
                  </a:lnTo>
                  <a:lnTo>
                    <a:pt x="673" y="449"/>
                  </a:lnTo>
                  <a:lnTo>
                    <a:pt x="673" y="439"/>
                  </a:lnTo>
                  <a:lnTo>
                    <a:pt x="683" y="429"/>
                  </a:lnTo>
                  <a:lnTo>
                    <a:pt x="692" y="419"/>
                  </a:lnTo>
                  <a:lnTo>
                    <a:pt x="692" y="409"/>
                  </a:lnTo>
                  <a:lnTo>
                    <a:pt x="702" y="390"/>
                  </a:lnTo>
                  <a:lnTo>
                    <a:pt x="712" y="380"/>
                  </a:lnTo>
                  <a:lnTo>
                    <a:pt x="712" y="361"/>
                  </a:lnTo>
                  <a:lnTo>
                    <a:pt x="722" y="351"/>
                  </a:lnTo>
                  <a:lnTo>
                    <a:pt x="731" y="341"/>
                  </a:lnTo>
                  <a:lnTo>
                    <a:pt x="731" y="322"/>
                  </a:lnTo>
                  <a:lnTo>
                    <a:pt x="741" y="312"/>
                  </a:lnTo>
                  <a:lnTo>
                    <a:pt x="751" y="302"/>
                  </a:lnTo>
                  <a:lnTo>
                    <a:pt x="761" y="292"/>
                  </a:lnTo>
                  <a:lnTo>
                    <a:pt x="761" y="283"/>
                  </a:lnTo>
                  <a:lnTo>
                    <a:pt x="761" y="263"/>
                  </a:lnTo>
                  <a:lnTo>
                    <a:pt x="770" y="253"/>
                  </a:lnTo>
                  <a:lnTo>
                    <a:pt x="770" y="234"/>
                  </a:lnTo>
                  <a:lnTo>
                    <a:pt x="770" y="224"/>
                  </a:lnTo>
                  <a:lnTo>
                    <a:pt x="761" y="214"/>
                  </a:lnTo>
                  <a:lnTo>
                    <a:pt x="761" y="195"/>
                  </a:lnTo>
                  <a:lnTo>
                    <a:pt x="770" y="185"/>
                  </a:lnTo>
                  <a:lnTo>
                    <a:pt x="780" y="185"/>
                  </a:lnTo>
                  <a:lnTo>
                    <a:pt x="790" y="175"/>
                  </a:lnTo>
                  <a:lnTo>
                    <a:pt x="800" y="156"/>
                  </a:lnTo>
                  <a:lnTo>
                    <a:pt x="809" y="146"/>
                  </a:lnTo>
                  <a:lnTo>
                    <a:pt x="829" y="136"/>
                  </a:lnTo>
                  <a:lnTo>
                    <a:pt x="829" y="127"/>
                  </a:lnTo>
                  <a:lnTo>
                    <a:pt x="839" y="127"/>
                  </a:lnTo>
                  <a:lnTo>
                    <a:pt x="839" y="117"/>
                  </a:lnTo>
                  <a:lnTo>
                    <a:pt x="848" y="97"/>
                  </a:lnTo>
                  <a:lnTo>
                    <a:pt x="848" y="88"/>
                  </a:lnTo>
                  <a:lnTo>
                    <a:pt x="848" y="68"/>
                  </a:lnTo>
                  <a:lnTo>
                    <a:pt x="848" y="58"/>
                  </a:lnTo>
                  <a:lnTo>
                    <a:pt x="839" y="58"/>
                  </a:lnTo>
                  <a:lnTo>
                    <a:pt x="829" y="58"/>
                  </a:lnTo>
                  <a:lnTo>
                    <a:pt x="829" y="48"/>
                  </a:lnTo>
                  <a:lnTo>
                    <a:pt x="819" y="39"/>
                  </a:lnTo>
                  <a:lnTo>
                    <a:pt x="800" y="29"/>
                  </a:lnTo>
                  <a:lnTo>
                    <a:pt x="800" y="39"/>
                  </a:lnTo>
                  <a:lnTo>
                    <a:pt x="800" y="29"/>
                  </a:lnTo>
                  <a:lnTo>
                    <a:pt x="780" y="19"/>
                  </a:lnTo>
                  <a:lnTo>
                    <a:pt x="761" y="19"/>
                  </a:lnTo>
                  <a:lnTo>
                    <a:pt x="761" y="9"/>
                  </a:lnTo>
                  <a:lnTo>
                    <a:pt x="761" y="0"/>
                  </a:lnTo>
                  <a:lnTo>
                    <a:pt x="751" y="9"/>
                  </a:lnTo>
                  <a:lnTo>
                    <a:pt x="741" y="19"/>
                  </a:lnTo>
                  <a:lnTo>
                    <a:pt x="722" y="29"/>
                  </a:lnTo>
                  <a:lnTo>
                    <a:pt x="712" y="39"/>
                  </a:lnTo>
                  <a:lnTo>
                    <a:pt x="712" y="48"/>
                  </a:lnTo>
                  <a:lnTo>
                    <a:pt x="702" y="58"/>
                  </a:lnTo>
                  <a:lnTo>
                    <a:pt x="692" y="78"/>
                  </a:lnTo>
                  <a:lnTo>
                    <a:pt x="683" y="78"/>
                  </a:lnTo>
                  <a:lnTo>
                    <a:pt x="673" y="97"/>
                  </a:lnTo>
                  <a:lnTo>
                    <a:pt x="663" y="107"/>
                  </a:lnTo>
                  <a:lnTo>
                    <a:pt x="644" y="117"/>
                  </a:lnTo>
                  <a:lnTo>
                    <a:pt x="624" y="117"/>
                  </a:lnTo>
                  <a:lnTo>
                    <a:pt x="605" y="127"/>
                  </a:lnTo>
                  <a:lnTo>
                    <a:pt x="575" y="136"/>
                  </a:lnTo>
                  <a:lnTo>
                    <a:pt x="566" y="146"/>
                  </a:lnTo>
                  <a:lnTo>
                    <a:pt x="566" y="156"/>
                  </a:lnTo>
                  <a:lnTo>
                    <a:pt x="556" y="156"/>
                  </a:lnTo>
                  <a:lnTo>
                    <a:pt x="556" y="166"/>
                  </a:lnTo>
                  <a:lnTo>
                    <a:pt x="546" y="175"/>
                  </a:lnTo>
                  <a:lnTo>
                    <a:pt x="536" y="175"/>
                  </a:lnTo>
                  <a:lnTo>
                    <a:pt x="556" y="175"/>
                  </a:lnTo>
                  <a:lnTo>
                    <a:pt x="566" y="185"/>
                  </a:lnTo>
                  <a:lnTo>
                    <a:pt x="566" y="195"/>
                  </a:lnTo>
                  <a:lnTo>
                    <a:pt x="556" y="195"/>
                  </a:lnTo>
                  <a:lnTo>
                    <a:pt x="546" y="214"/>
                  </a:lnTo>
                  <a:lnTo>
                    <a:pt x="546" y="224"/>
                  </a:lnTo>
                  <a:lnTo>
                    <a:pt x="546" y="234"/>
                  </a:lnTo>
                  <a:lnTo>
                    <a:pt x="536" y="234"/>
                  </a:lnTo>
                  <a:lnTo>
                    <a:pt x="527" y="244"/>
                  </a:lnTo>
                  <a:lnTo>
                    <a:pt x="527" y="263"/>
                  </a:lnTo>
                  <a:lnTo>
                    <a:pt x="517" y="263"/>
                  </a:lnTo>
                  <a:lnTo>
                    <a:pt x="507" y="263"/>
                  </a:lnTo>
                  <a:lnTo>
                    <a:pt x="497" y="253"/>
                  </a:lnTo>
                  <a:lnTo>
                    <a:pt x="497" y="273"/>
                  </a:lnTo>
                  <a:lnTo>
                    <a:pt x="487" y="283"/>
                  </a:lnTo>
                  <a:lnTo>
                    <a:pt x="478" y="292"/>
                  </a:lnTo>
                  <a:lnTo>
                    <a:pt x="487" y="302"/>
                  </a:lnTo>
                  <a:lnTo>
                    <a:pt x="497" y="292"/>
                  </a:lnTo>
                  <a:lnTo>
                    <a:pt x="497" y="302"/>
                  </a:lnTo>
                  <a:lnTo>
                    <a:pt x="507" y="312"/>
                  </a:lnTo>
                  <a:lnTo>
                    <a:pt x="507" y="322"/>
                  </a:lnTo>
                  <a:lnTo>
                    <a:pt x="517" y="331"/>
                  </a:lnTo>
                  <a:lnTo>
                    <a:pt x="527" y="331"/>
                  </a:lnTo>
                  <a:lnTo>
                    <a:pt x="517" y="341"/>
                  </a:lnTo>
                  <a:lnTo>
                    <a:pt x="507" y="341"/>
                  </a:lnTo>
                  <a:lnTo>
                    <a:pt x="507" y="351"/>
                  </a:lnTo>
                  <a:lnTo>
                    <a:pt x="507" y="370"/>
                  </a:lnTo>
                  <a:lnTo>
                    <a:pt x="507" y="400"/>
                  </a:lnTo>
                  <a:lnTo>
                    <a:pt x="527" y="409"/>
                  </a:lnTo>
                  <a:lnTo>
                    <a:pt x="527" y="419"/>
                  </a:lnTo>
                  <a:lnTo>
                    <a:pt x="507" y="429"/>
                  </a:lnTo>
                  <a:lnTo>
                    <a:pt x="497" y="439"/>
                  </a:lnTo>
                  <a:lnTo>
                    <a:pt x="478" y="449"/>
                  </a:lnTo>
                  <a:lnTo>
                    <a:pt x="478" y="458"/>
                  </a:lnTo>
                  <a:lnTo>
                    <a:pt x="468" y="468"/>
                  </a:lnTo>
                  <a:lnTo>
                    <a:pt x="458" y="468"/>
                  </a:lnTo>
                  <a:lnTo>
                    <a:pt x="468" y="458"/>
                  </a:lnTo>
                  <a:lnTo>
                    <a:pt x="468" y="449"/>
                  </a:lnTo>
                  <a:lnTo>
                    <a:pt x="458" y="439"/>
                  </a:lnTo>
                  <a:lnTo>
                    <a:pt x="448" y="429"/>
                  </a:lnTo>
                  <a:lnTo>
                    <a:pt x="448" y="400"/>
                  </a:lnTo>
                  <a:lnTo>
                    <a:pt x="439" y="390"/>
                  </a:lnTo>
                  <a:lnTo>
                    <a:pt x="439" y="370"/>
                  </a:lnTo>
                  <a:lnTo>
                    <a:pt x="429" y="361"/>
                  </a:lnTo>
                  <a:lnTo>
                    <a:pt x="429" y="351"/>
                  </a:lnTo>
                  <a:lnTo>
                    <a:pt x="419" y="341"/>
                  </a:lnTo>
                  <a:lnTo>
                    <a:pt x="409" y="331"/>
                  </a:lnTo>
                  <a:lnTo>
                    <a:pt x="419" y="32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12"/>
                  </a:lnTo>
                  <a:lnTo>
                    <a:pt x="370" y="302"/>
                  </a:lnTo>
                  <a:lnTo>
                    <a:pt x="361" y="302"/>
                  </a:lnTo>
                  <a:lnTo>
                    <a:pt x="361" y="312"/>
                  </a:lnTo>
                  <a:lnTo>
                    <a:pt x="370" y="331"/>
                  </a:lnTo>
                  <a:lnTo>
                    <a:pt x="370" y="351"/>
                  </a:lnTo>
                  <a:lnTo>
                    <a:pt x="361" y="370"/>
                  </a:lnTo>
                  <a:lnTo>
                    <a:pt x="351" y="380"/>
                  </a:lnTo>
                  <a:lnTo>
                    <a:pt x="341" y="400"/>
                  </a:lnTo>
                  <a:lnTo>
                    <a:pt x="341" y="409"/>
                  </a:lnTo>
                  <a:lnTo>
                    <a:pt x="351" y="429"/>
                  </a:lnTo>
                  <a:lnTo>
                    <a:pt x="361" y="449"/>
                  </a:lnTo>
                  <a:lnTo>
                    <a:pt x="361" y="458"/>
                  </a:lnTo>
                  <a:lnTo>
                    <a:pt x="341" y="468"/>
                  </a:lnTo>
                  <a:lnTo>
                    <a:pt x="331" y="468"/>
                  </a:lnTo>
                  <a:lnTo>
                    <a:pt x="341" y="478"/>
                  </a:lnTo>
                  <a:lnTo>
                    <a:pt x="331" y="488"/>
                  </a:lnTo>
                  <a:lnTo>
                    <a:pt x="302" y="488"/>
                  </a:lnTo>
                  <a:lnTo>
                    <a:pt x="283" y="488"/>
                  </a:lnTo>
                  <a:lnTo>
                    <a:pt x="273" y="497"/>
                  </a:lnTo>
                  <a:lnTo>
                    <a:pt x="253" y="507"/>
                  </a:lnTo>
                  <a:lnTo>
                    <a:pt x="234" y="517"/>
                  </a:lnTo>
                  <a:lnTo>
                    <a:pt x="205" y="517"/>
                  </a:lnTo>
                  <a:lnTo>
                    <a:pt x="185" y="517"/>
                  </a:lnTo>
                  <a:lnTo>
                    <a:pt x="166" y="507"/>
                  </a:lnTo>
                  <a:lnTo>
                    <a:pt x="166" y="527"/>
                  </a:lnTo>
                  <a:lnTo>
                    <a:pt x="146" y="536"/>
                  </a:lnTo>
                  <a:lnTo>
                    <a:pt x="136" y="536"/>
                  </a:lnTo>
                  <a:lnTo>
                    <a:pt x="117" y="546"/>
                  </a:lnTo>
                  <a:lnTo>
                    <a:pt x="107" y="556"/>
                  </a:lnTo>
                  <a:lnTo>
                    <a:pt x="68" y="56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3" name="Freeform 70"/>
            <p:cNvSpPr>
              <a:spLocks/>
            </p:cNvSpPr>
            <p:nvPr/>
          </p:nvSpPr>
          <p:spPr bwMode="auto">
            <a:xfrm>
              <a:off x="6340" y="3855"/>
              <a:ext cx="254" cy="176"/>
            </a:xfrm>
            <a:custGeom>
              <a:avLst/>
              <a:gdLst>
                <a:gd name="T0" fmla="*/ 69 w 254"/>
                <a:gd name="T1" fmla="*/ 166 h 176"/>
                <a:gd name="T2" fmla="*/ 78 w 254"/>
                <a:gd name="T3" fmla="*/ 176 h 176"/>
                <a:gd name="T4" fmla="*/ 117 w 254"/>
                <a:gd name="T5" fmla="*/ 166 h 176"/>
                <a:gd name="T6" fmla="*/ 127 w 254"/>
                <a:gd name="T7" fmla="*/ 146 h 176"/>
                <a:gd name="T8" fmla="*/ 156 w 254"/>
                <a:gd name="T9" fmla="*/ 146 h 176"/>
                <a:gd name="T10" fmla="*/ 176 w 254"/>
                <a:gd name="T11" fmla="*/ 127 h 176"/>
                <a:gd name="T12" fmla="*/ 195 w 254"/>
                <a:gd name="T13" fmla="*/ 127 h 176"/>
                <a:gd name="T14" fmla="*/ 234 w 254"/>
                <a:gd name="T15" fmla="*/ 117 h 176"/>
                <a:gd name="T16" fmla="*/ 244 w 254"/>
                <a:gd name="T17" fmla="*/ 97 h 176"/>
                <a:gd name="T18" fmla="*/ 254 w 254"/>
                <a:gd name="T19" fmla="*/ 88 h 176"/>
                <a:gd name="T20" fmla="*/ 234 w 254"/>
                <a:gd name="T21" fmla="*/ 88 h 176"/>
                <a:gd name="T22" fmla="*/ 215 w 254"/>
                <a:gd name="T23" fmla="*/ 88 h 176"/>
                <a:gd name="T24" fmla="*/ 215 w 254"/>
                <a:gd name="T25" fmla="*/ 58 h 176"/>
                <a:gd name="T26" fmla="*/ 225 w 254"/>
                <a:gd name="T27" fmla="*/ 49 h 176"/>
                <a:gd name="T28" fmla="*/ 244 w 254"/>
                <a:gd name="T29" fmla="*/ 49 h 176"/>
                <a:gd name="T30" fmla="*/ 244 w 254"/>
                <a:gd name="T31" fmla="*/ 39 h 176"/>
                <a:gd name="T32" fmla="*/ 234 w 254"/>
                <a:gd name="T33" fmla="*/ 29 h 176"/>
                <a:gd name="T34" fmla="*/ 225 w 254"/>
                <a:gd name="T35" fmla="*/ 19 h 176"/>
                <a:gd name="T36" fmla="*/ 205 w 254"/>
                <a:gd name="T37" fmla="*/ 19 h 176"/>
                <a:gd name="T38" fmla="*/ 195 w 254"/>
                <a:gd name="T39" fmla="*/ 10 h 176"/>
                <a:gd name="T40" fmla="*/ 186 w 254"/>
                <a:gd name="T41" fmla="*/ 0 h 176"/>
                <a:gd name="T42" fmla="*/ 166 w 254"/>
                <a:gd name="T43" fmla="*/ 0 h 176"/>
                <a:gd name="T44" fmla="*/ 156 w 254"/>
                <a:gd name="T45" fmla="*/ 10 h 176"/>
                <a:gd name="T46" fmla="*/ 137 w 254"/>
                <a:gd name="T47" fmla="*/ 10 h 176"/>
                <a:gd name="T48" fmla="*/ 137 w 254"/>
                <a:gd name="T49" fmla="*/ 29 h 176"/>
                <a:gd name="T50" fmla="*/ 117 w 254"/>
                <a:gd name="T51" fmla="*/ 39 h 176"/>
                <a:gd name="T52" fmla="*/ 108 w 254"/>
                <a:gd name="T53" fmla="*/ 39 h 176"/>
                <a:gd name="T54" fmla="*/ 88 w 254"/>
                <a:gd name="T55" fmla="*/ 39 h 176"/>
                <a:gd name="T56" fmla="*/ 69 w 254"/>
                <a:gd name="T57" fmla="*/ 58 h 176"/>
                <a:gd name="T58" fmla="*/ 78 w 254"/>
                <a:gd name="T59" fmla="*/ 68 h 176"/>
                <a:gd name="T60" fmla="*/ 88 w 254"/>
                <a:gd name="T61" fmla="*/ 78 h 176"/>
                <a:gd name="T62" fmla="*/ 69 w 254"/>
                <a:gd name="T63" fmla="*/ 88 h 176"/>
                <a:gd name="T64" fmla="*/ 59 w 254"/>
                <a:gd name="T65" fmla="*/ 88 h 176"/>
                <a:gd name="T66" fmla="*/ 39 w 254"/>
                <a:gd name="T67" fmla="*/ 97 h 176"/>
                <a:gd name="T68" fmla="*/ 30 w 254"/>
                <a:gd name="T69" fmla="*/ 107 h 176"/>
                <a:gd name="T70" fmla="*/ 20 w 254"/>
                <a:gd name="T71" fmla="*/ 127 h 176"/>
                <a:gd name="T72" fmla="*/ 20 w 254"/>
                <a:gd name="T73" fmla="*/ 127 h 176"/>
                <a:gd name="T74" fmla="*/ 10 w 254"/>
                <a:gd name="T75" fmla="*/ 127 h 176"/>
                <a:gd name="T76" fmla="*/ 10 w 254"/>
                <a:gd name="T77" fmla="*/ 117 h 176"/>
                <a:gd name="T78" fmla="*/ 10 w 254"/>
                <a:gd name="T79" fmla="*/ 107 h 176"/>
                <a:gd name="T80" fmla="*/ 10 w 254"/>
                <a:gd name="T81" fmla="*/ 107 h 176"/>
                <a:gd name="T82" fmla="*/ 0 w 254"/>
                <a:gd name="T83" fmla="*/ 107 h 176"/>
                <a:gd name="T84" fmla="*/ 0 w 254"/>
                <a:gd name="T85" fmla="*/ 117 h 176"/>
                <a:gd name="T86" fmla="*/ 0 w 254"/>
                <a:gd name="T87" fmla="*/ 127 h 176"/>
                <a:gd name="T88" fmla="*/ 0 w 254"/>
                <a:gd name="T89" fmla="*/ 146 h 176"/>
                <a:gd name="T90" fmla="*/ 0 w 254"/>
                <a:gd name="T91" fmla="*/ 156 h 176"/>
                <a:gd name="T92" fmla="*/ 20 w 254"/>
                <a:gd name="T93" fmla="*/ 166 h 176"/>
                <a:gd name="T94" fmla="*/ 30 w 254"/>
                <a:gd name="T95" fmla="*/ 166 h 176"/>
                <a:gd name="T96" fmla="*/ 49 w 254"/>
                <a:gd name="T97" fmla="*/ 156 h 176"/>
                <a:gd name="T98" fmla="*/ 59 w 254"/>
                <a:gd name="T99" fmla="*/ 156 h 176"/>
                <a:gd name="T100" fmla="*/ 69 w 254"/>
                <a:gd name="T101" fmla="*/ 166 h 17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4"/>
                <a:gd name="T154" fmla="*/ 0 h 176"/>
                <a:gd name="T155" fmla="*/ 254 w 254"/>
                <a:gd name="T156" fmla="*/ 176 h 17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4" h="176">
                  <a:moveTo>
                    <a:pt x="69" y="166"/>
                  </a:moveTo>
                  <a:lnTo>
                    <a:pt x="78" y="176"/>
                  </a:lnTo>
                  <a:lnTo>
                    <a:pt x="117" y="166"/>
                  </a:lnTo>
                  <a:lnTo>
                    <a:pt x="127" y="146"/>
                  </a:lnTo>
                  <a:lnTo>
                    <a:pt x="156" y="146"/>
                  </a:lnTo>
                  <a:lnTo>
                    <a:pt x="176" y="127"/>
                  </a:lnTo>
                  <a:lnTo>
                    <a:pt x="195" y="127"/>
                  </a:lnTo>
                  <a:lnTo>
                    <a:pt x="234" y="117"/>
                  </a:lnTo>
                  <a:lnTo>
                    <a:pt x="244" y="97"/>
                  </a:lnTo>
                  <a:lnTo>
                    <a:pt x="254" y="88"/>
                  </a:lnTo>
                  <a:lnTo>
                    <a:pt x="234" y="88"/>
                  </a:lnTo>
                  <a:lnTo>
                    <a:pt x="215" y="88"/>
                  </a:lnTo>
                  <a:lnTo>
                    <a:pt x="215" y="58"/>
                  </a:lnTo>
                  <a:lnTo>
                    <a:pt x="225" y="49"/>
                  </a:lnTo>
                  <a:lnTo>
                    <a:pt x="244" y="49"/>
                  </a:lnTo>
                  <a:lnTo>
                    <a:pt x="244" y="39"/>
                  </a:lnTo>
                  <a:lnTo>
                    <a:pt x="234" y="29"/>
                  </a:lnTo>
                  <a:lnTo>
                    <a:pt x="225" y="19"/>
                  </a:lnTo>
                  <a:lnTo>
                    <a:pt x="205" y="19"/>
                  </a:lnTo>
                  <a:lnTo>
                    <a:pt x="195" y="10"/>
                  </a:lnTo>
                  <a:lnTo>
                    <a:pt x="186" y="0"/>
                  </a:lnTo>
                  <a:lnTo>
                    <a:pt x="166" y="0"/>
                  </a:lnTo>
                  <a:lnTo>
                    <a:pt x="156" y="10"/>
                  </a:lnTo>
                  <a:lnTo>
                    <a:pt x="137" y="10"/>
                  </a:lnTo>
                  <a:lnTo>
                    <a:pt x="137" y="29"/>
                  </a:lnTo>
                  <a:lnTo>
                    <a:pt x="117" y="39"/>
                  </a:lnTo>
                  <a:lnTo>
                    <a:pt x="108" y="39"/>
                  </a:lnTo>
                  <a:lnTo>
                    <a:pt x="88" y="39"/>
                  </a:lnTo>
                  <a:lnTo>
                    <a:pt x="69" y="58"/>
                  </a:lnTo>
                  <a:lnTo>
                    <a:pt x="78" y="68"/>
                  </a:lnTo>
                  <a:lnTo>
                    <a:pt x="88" y="78"/>
                  </a:lnTo>
                  <a:lnTo>
                    <a:pt x="69" y="88"/>
                  </a:lnTo>
                  <a:lnTo>
                    <a:pt x="59" y="88"/>
                  </a:lnTo>
                  <a:lnTo>
                    <a:pt x="39" y="97"/>
                  </a:lnTo>
                  <a:lnTo>
                    <a:pt x="30" y="107"/>
                  </a:lnTo>
                  <a:lnTo>
                    <a:pt x="20" y="127"/>
                  </a:lnTo>
                  <a:lnTo>
                    <a:pt x="10" y="127"/>
                  </a:lnTo>
                  <a:lnTo>
                    <a:pt x="10" y="117"/>
                  </a:lnTo>
                  <a:lnTo>
                    <a:pt x="10" y="107"/>
                  </a:lnTo>
                  <a:lnTo>
                    <a:pt x="0" y="107"/>
                  </a:lnTo>
                  <a:lnTo>
                    <a:pt x="0" y="117"/>
                  </a:lnTo>
                  <a:lnTo>
                    <a:pt x="0" y="127"/>
                  </a:lnTo>
                  <a:lnTo>
                    <a:pt x="0" y="146"/>
                  </a:lnTo>
                  <a:lnTo>
                    <a:pt x="0" y="156"/>
                  </a:lnTo>
                  <a:lnTo>
                    <a:pt x="20" y="166"/>
                  </a:lnTo>
                  <a:lnTo>
                    <a:pt x="30" y="166"/>
                  </a:lnTo>
                  <a:lnTo>
                    <a:pt x="49" y="156"/>
                  </a:lnTo>
                  <a:lnTo>
                    <a:pt x="59" y="156"/>
                  </a:lnTo>
                  <a:lnTo>
                    <a:pt x="69" y="16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44" name="Group 67"/>
            <p:cNvGrpSpPr>
              <a:grpSpLocks/>
            </p:cNvGrpSpPr>
            <p:nvPr/>
          </p:nvGrpSpPr>
          <p:grpSpPr bwMode="auto">
            <a:xfrm>
              <a:off x="6339" y="3854"/>
              <a:ext cx="254" cy="176"/>
              <a:chOff x="6340" y="3854"/>
              <a:chExt cx="254" cy="176"/>
            </a:xfrm>
          </p:grpSpPr>
          <p:sp>
            <p:nvSpPr>
              <p:cNvPr id="296" name="Freeform 69"/>
              <p:cNvSpPr>
                <a:spLocks/>
              </p:cNvSpPr>
              <p:nvPr/>
            </p:nvSpPr>
            <p:spPr bwMode="auto">
              <a:xfrm>
                <a:off x="6341" y="3855"/>
                <a:ext cx="254" cy="176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69 w 254"/>
                  <a:gd name="T101" fmla="*/ 166 h 17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54"/>
                  <a:gd name="T154" fmla="*/ 0 h 176"/>
                  <a:gd name="T155" fmla="*/ 254 w 254"/>
                  <a:gd name="T156" fmla="*/ 176 h 17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  <a:lnTo>
                      <a:pt x="69" y="166"/>
                    </a:lnTo>
                    <a:close/>
                  </a:path>
                </a:pathLst>
              </a:custGeom>
              <a:solidFill>
                <a:srgbClr val="1F497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7" name="Freeform 68"/>
              <p:cNvSpPr>
                <a:spLocks/>
              </p:cNvSpPr>
              <p:nvPr/>
            </p:nvSpPr>
            <p:spPr bwMode="auto">
              <a:xfrm>
                <a:off x="6341" y="3855"/>
                <a:ext cx="254" cy="176"/>
              </a:xfrm>
              <a:custGeom>
                <a:avLst/>
                <a:gdLst>
                  <a:gd name="T0" fmla="*/ 69 w 254"/>
                  <a:gd name="T1" fmla="*/ 166 h 176"/>
                  <a:gd name="T2" fmla="*/ 78 w 254"/>
                  <a:gd name="T3" fmla="*/ 176 h 176"/>
                  <a:gd name="T4" fmla="*/ 117 w 254"/>
                  <a:gd name="T5" fmla="*/ 166 h 176"/>
                  <a:gd name="T6" fmla="*/ 127 w 254"/>
                  <a:gd name="T7" fmla="*/ 146 h 176"/>
                  <a:gd name="T8" fmla="*/ 156 w 254"/>
                  <a:gd name="T9" fmla="*/ 146 h 176"/>
                  <a:gd name="T10" fmla="*/ 176 w 254"/>
                  <a:gd name="T11" fmla="*/ 127 h 176"/>
                  <a:gd name="T12" fmla="*/ 195 w 254"/>
                  <a:gd name="T13" fmla="*/ 127 h 176"/>
                  <a:gd name="T14" fmla="*/ 234 w 254"/>
                  <a:gd name="T15" fmla="*/ 117 h 176"/>
                  <a:gd name="T16" fmla="*/ 244 w 254"/>
                  <a:gd name="T17" fmla="*/ 97 h 176"/>
                  <a:gd name="T18" fmla="*/ 254 w 254"/>
                  <a:gd name="T19" fmla="*/ 88 h 176"/>
                  <a:gd name="T20" fmla="*/ 234 w 254"/>
                  <a:gd name="T21" fmla="*/ 88 h 176"/>
                  <a:gd name="T22" fmla="*/ 215 w 254"/>
                  <a:gd name="T23" fmla="*/ 88 h 176"/>
                  <a:gd name="T24" fmla="*/ 215 w 254"/>
                  <a:gd name="T25" fmla="*/ 58 h 176"/>
                  <a:gd name="T26" fmla="*/ 225 w 254"/>
                  <a:gd name="T27" fmla="*/ 49 h 176"/>
                  <a:gd name="T28" fmla="*/ 244 w 254"/>
                  <a:gd name="T29" fmla="*/ 49 h 176"/>
                  <a:gd name="T30" fmla="*/ 244 w 254"/>
                  <a:gd name="T31" fmla="*/ 39 h 176"/>
                  <a:gd name="T32" fmla="*/ 234 w 254"/>
                  <a:gd name="T33" fmla="*/ 29 h 176"/>
                  <a:gd name="T34" fmla="*/ 225 w 254"/>
                  <a:gd name="T35" fmla="*/ 19 h 176"/>
                  <a:gd name="T36" fmla="*/ 205 w 254"/>
                  <a:gd name="T37" fmla="*/ 19 h 176"/>
                  <a:gd name="T38" fmla="*/ 195 w 254"/>
                  <a:gd name="T39" fmla="*/ 0 h 176"/>
                  <a:gd name="T40" fmla="*/ 186 w 254"/>
                  <a:gd name="T41" fmla="*/ 0 h 176"/>
                  <a:gd name="T42" fmla="*/ 166 w 254"/>
                  <a:gd name="T43" fmla="*/ 0 h 176"/>
                  <a:gd name="T44" fmla="*/ 156 w 254"/>
                  <a:gd name="T45" fmla="*/ 0 h 176"/>
                  <a:gd name="T46" fmla="*/ 137 w 254"/>
                  <a:gd name="T47" fmla="*/ 10 h 176"/>
                  <a:gd name="T48" fmla="*/ 137 w 254"/>
                  <a:gd name="T49" fmla="*/ 29 h 176"/>
                  <a:gd name="T50" fmla="*/ 117 w 254"/>
                  <a:gd name="T51" fmla="*/ 39 h 176"/>
                  <a:gd name="T52" fmla="*/ 108 w 254"/>
                  <a:gd name="T53" fmla="*/ 39 h 176"/>
                  <a:gd name="T54" fmla="*/ 88 w 254"/>
                  <a:gd name="T55" fmla="*/ 39 h 176"/>
                  <a:gd name="T56" fmla="*/ 69 w 254"/>
                  <a:gd name="T57" fmla="*/ 58 h 176"/>
                  <a:gd name="T58" fmla="*/ 78 w 254"/>
                  <a:gd name="T59" fmla="*/ 68 h 176"/>
                  <a:gd name="T60" fmla="*/ 88 w 254"/>
                  <a:gd name="T61" fmla="*/ 78 h 176"/>
                  <a:gd name="T62" fmla="*/ 69 w 254"/>
                  <a:gd name="T63" fmla="*/ 88 h 176"/>
                  <a:gd name="T64" fmla="*/ 59 w 254"/>
                  <a:gd name="T65" fmla="*/ 88 h 176"/>
                  <a:gd name="T66" fmla="*/ 39 w 254"/>
                  <a:gd name="T67" fmla="*/ 97 h 176"/>
                  <a:gd name="T68" fmla="*/ 30 w 254"/>
                  <a:gd name="T69" fmla="*/ 107 h 176"/>
                  <a:gd name="T70" fmla="*/ 20 w 254"/>
                  <a:gd name="T71" fmla="*/ 127 h 176"/>
                  <a:gd name="T72" fmla="*/ 20 w 254"/>
                  <a:gd name="T73" fmla="*/ 127 h 176"/>
                  <a:gd name="T74" fmla="*/ 10 w 254"/>
                  <a:gd name="T75" fmla="*/ 127 h 176"/>
                  <a:gd name="T76" fmla="*/ 10 w 254"/>
                  <a:gd name="T77" fmla="*/ 117 h 176"/>
                  <a:gd name="T78" fmla="*/ 10 w 254"/>
                  <a:gd name="T79" fmla="*/ 107 h 176"/>
                  <a:gd name="T80" fmla="*/ 10 w 254"/>
                  <a:gd name="T81" fmla="*/ 107 h 176"/>
                  <a:gd name="T82" fmla="*/ 0 w 254"/>
                  <a:gd name="T83" fmla="*/ 107 h 176"/>
                  <a:gd name="T84" fmla="*/ 0 w 254"/>
                  <a:gd name="T85" fmla="*/ 117 h 176"/>
                  <a:gd name="T86" fmla="*/ 0 w 254"/>
                  <a:gd name="T87" fmla="*/ 127 h 176"/>
                  <a:gd name="T88" fmla="*/ 0 w 254"/>
                  <a:gd name="T89" fmla="*/ 146 h 176"/>
                  <a:gd name="T90" fmla="*/ 0 w 254"/>
                  <a:gd name="T91" fmla="*/ 156 h 176"/>
                  <a:gd name="T92" fmla="*/ 20 w 254"/>
                  <a:gd name="T93" fmla="*/ 166 h 176"/>
                  <a:gd name="T94" fmla="*/ 30 w 254"/>
                  <a:gd name="T95" fmla="*/ 166 h 176"/>
                  <a:gd name="T96" fmla="*/ 49 w 254"/>
                  <a:gd name="T97" fmla="*/ 156 h 176"/>
                  <a:gd name="T98" fmla="*/ 59 w 254"/>
                  <a:gd name="T99" fmla="*/ 156 h 17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54"/>
                  <a:gd name="T151" fmla="*/ 0 h 176"/>
                  <a:gd name="T152" fmla="*/ 254 w 254"/>
                  <a:gd name="T153" fmla="*/ 176 h 17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54" h="176">
                    <a:moveTo>
                      <a:pt x="69" y="166"/>
                    </a:moveTo>
                    <a:lnTo>
                      <a:pt x="78" y="176"/>
                    </a:lnTo>
                    <a:lnTo>
                      <a:pt x="117" y="166"/>
                    </a:lnTo>
                    <a:lnTo>
                      <a:pt x="127" y="146"/>
                    </a:lnTo>
                    <a:lnTo>
                      <a:pt x="156" y="146"/>
                    </a:lnTo>
                    <a:lnTo>
                      <a:pt x="176" y="127"/>
                    </a:lnTo>
                    <a:lnTo>
                      <a:pt x="195" y="127"/>
                    </a:lnTo>
                    <a:lnTo>
                      <a:pt x="234" y="117"/>
                    </a:lnTo>
                    <a:lnTo>
                      <a:pt x="244" y="97"/>
                    </a:lnTo>
                    <a:lnTo>
                      <a:pt x="254" y="88"/>
                    </a:lnTo>
                    <a:lnTo>
                      <a:pt x="234" y="88"/>
                    </a:lnTo>
                    <a:lnTo>
                      <a:pt x="215" y="88"/>
                    </a:lnTo>
                    <a:lnTo>
                      <a:pt x="215" y="58"/>
                    </a:lnTo>
                    <a:lnTo>
                      <a:pt x="225" y="49"/>
                    </a:lnTo>
                    <a:lnTo>
                      <a:pt x="244" y="49"/>
                    </a:lnTo>
                    <a:lnTo>
                      <a:pt x="244" y="39"/>
                    </a:lnTo>
                    <a:lnTo>
                      <a:pt x="234" y="29"/>
                    </a:lnTo>
                    <a:lnTo>
                      <a:pt x="22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6" y="0"/>
                    </a:lnTo>
                    <a:lnTo>
                      <a:pt x="166" y="0"/>
                    </a:lnTo>
                    <a:lnTo>
                      <a:pt x="156" y="0"/>
                    </a:lnTo>
                    <a:lnTo>
                      <a:pt x="137" y="10"/>
                    </a:lnTo>
                    <a:lnTo>
                      <a:pt x="137" y="29"/>
                    </a:lnTo>
                    <a:lnTo>
                      <a:pt x="117" y="39"/>
                    </a:lnTo>
                    <a:lnTo>
                      <a:pt x="108" y="39"/>
                    </a:lnTo>
                    <a:lnTo>
                      <a:pt x="88" y="39"/>
                    </a:lnTo>
                    <a:lnTo>
                      <a:pt x="69" y="58"/>
                    </a:lnTo>
                    <a:lnTo>
                      <a:pt x="78" y="68"/>
                    </a:lnTo>
                    <a:lnTo>
                      <a:pt x="88" y="78"/>
                    </a:lnTo>
                    <a:lnTo>
                      <a:pt x="69" y="88"/>
                    </a:lnTo>
                    <a:lnTo>
                      <a:pt x="59" y="88"/>
                    </a:lnTo>
                    <a:lnTo>
                      <a:pt x="39" y="97"/>
                    </a:lnTo>
                    <a:lnTo>
                      <a:pt x="30" y="107"/>
                    </a:lnTo>
                    <a:lnTo>
                      <a:pt x="20" y="127"/>
                    </a:lnTo>
                    <a:lnTo>
                      <a:pt x="10" y="127"/>
                    </a:lnTo>
                    <a:lnTo>
                      <a:pt x="10" y="11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0" y="127"/>
                    </a:lnTo>
                    <a:lnTo>
                      <a:pt x="0" y="146"/>
                    </a:lnTo>
                    <a:lnTo>
                      <a:pt x="0" y="156"/>
                    </a:lnTo>
                    <a:lnTo>
                      <a:pt x="20" y="166"/>
                    </a:lnTo>
                    <a:lnTo>
                      <a:pt x="30" y="166"/>
                    </a:lnTo>
                    <a:lnTo>
                      <a:pt x="49" y="156"/>
                    </a:lnTo>
                    <a:lnTo>
                      <a:pt x="59" y="156"/>
                    </a:lnTo>
                  </a:path>
                </a:pathLst>
              </a:custGeom>
              <a:solidFill>
                <a:srgbClr val="DBDBDB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45" name="Freeform 66"/>
            <p:cNvSpPr>
              <a:spLocks/>
            </p:cNvSpPr>
            <p:nvPr/>
          </p:nvSpPr>
          <p:spPr bwMode="auto">
            <a:xfrm>
              <a:off x="5522" y="3768"/>
              <a:ext cx="273" cy="153"/>
            </a:xfrm>
            <a:custGeom>
              <a:avLst/>
              <a:gdLst>
                <a:gd name="T0" fmla="*/ 88 w 273"/>
                <a:gd name="T1" fmla="*/ 107 h 156"/>
                <a:gd name="T2" fmla="*/ 107 w 273"/>
                <a:gd name="T3" fmla="*/ 117 h 156"/>
                <a:gd name="T4" fmla="*/ 127 w 273"/>
                <a:gd name="T5" fmla="*/ 98 h 156"/>
                <a:gd name="T6" fmla="*/ 146 w 273"/>
                <a:gd name="T7" fmla="*/ 98 h 156"/>
                <a:gd name="T8" fmla="*/ 146 w 273"/>
                <a:gd name="T9" fmla="*/ 127 h 156"/>
                <a:gd name="T10" fmla="*/ 185 w 273"/>
                <a:gd name="T11" fmla="*/ 156 h 156"/>
                <a:gd name="T12" fmla="*/ 234 w 273"/>
                <a:gd name="T13" fmla="*/ 127 h 156"/>
                <a:gd name="T14" fmla="*/ 234 w 273"/>
                <a:gd name="T15" fmla="*/ 98 h 156"/>
                <a:gd name="T16" fmla="*/ 273 w 273"/>
                <a:gd name="T17" fmla="*/ 68 h 156"/>
                <a:gd name="T18" fmla="*/ 244 w 273"/>
                <a:gd name="T19" fmla="*/ 59 h 156"/>
                <a:gd name="T20" fmla="*/ 234 w 273"/>
                <a:gd name="T21" fmla="*/ 29 h 156"/>
                <a:gd name="T22" fmla="*/ 224 w 273"/>
                <a:gd name="T23" fmla="*/ 29 h 156"/>
                <a:gd name="T24" fmla="*/ 224 w 273"/>
                <a:gd name="T25" fmla="*/ 49 h 156"/>
                <a:gd name="T26" fmla="*/ 205 w 273"/>
                <a:gd name="T27" fmla="*/ 49 h 156"/>
                <a:gd name="T28" fmla="*/ 175 w 273"/>
                <a:gd name="T29" fmla="*/ 68 h 156"/>
                <a:gd name="T30" fmla="*/ 146 w 273"/>
                <a:gd name="T31" fmla="*/ 49 h 156"/>
                <a:gd name="T32" fmla="*/ 136 w 273"/>
                <a:gd name="T33" fmla="*/ 0 h 156"/>
                <a:gd name="T34" fmla="*/ 117 w 273"/>
                <a:gd name="T35" fmla="*/ 0 h 156"/>
                <a:gd name="T36" fmla="*/ 97 w 273"/>
                <a:gd name="T37" fmla="*/ 10 h 156"/>
                <a:gd name="T38" fmla="*/ 68 w 273"/>
                <a:gd name="T39" fmla="*/ 29 h 156"/>
                <a:gd name="T40" fmla="*/ 39 w 273"/>
                <a:gd name="T41" fmla="*/ 10 h 156"/>
                <a:gd name="T42" fmla="*/ 10 w 273"/>
                <a:gd name="T43" fmla="*/ 10 h 156"/>
                <a:gd name="T44" fmla="*/ 10 w 273"/>
                <a:gd name="T45" fmla="*/ 29 h 156"/>
                <a:gd name="T46" fmla="*/ 29 w 273"/>
                <a:gd name="T47" fmla="*/ 49 h 156"/>
                <a:gd name="T48" fmla="*/ 39 w 273"/>
                <a:gd name="T49" fmla="*/ 68 h 156"/>
                <a:gd name="T50" fmla="*/ 10 w 273"/>
                <a:gd name="T51" fmla="*/ 68 h 156"/>
                <a:gd name="T52" fmla="*/ 0 w 273"/>
                <a:gd name="T53" fmla="*/ 78 h 156"/>
                <a:gd name="T54" fmla="*/ 0 w 273"/>
                <a:gd name="T55" fmla="*/ 98 h 156"/>
                <a:gd name="T56" fmla="*/ 29 w 273"/>
                <a:gd name="T57" fmla="*/ 107 h 156"/>
                <a:gd name="T58" fmla="*/ 58 w 273"/>
                <a:gd name="T59" fmla="*/ 98 h 156"/>
                <a:gd name="T60" fmla="*/ 88 w 273"/>
                <a:gd name="T61" fmla="*/ 78 h 156"/>
                <a:gd name="T62" fmla="*/ 88 w 273"/>
                <a:gd name="T63" fmla="*/ 107 h 1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73"/>
                <a:gd name="T97" fmla="*/ 0 h 156"/>
                <a:gd name="T98" fmla="*/ 273 w 273"/>
                <a:gd name="T99" fmla="*/ 156 h 1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73" h="156">
                  <a:moveTo>
                    <a:pt x="88" y="107"/>
                  </a:moveTo>
                  <a:lnTo>
                    <a:pt x="107" y="117"/>
                  </a:lnTo>
                  <a:lnTo>
                    <a:pt x="127" y="98"/>
                  </a:lnTo>
                  <a:lnTo>
                    <a:pt x="146" y="98"/>
                  </a:lnTo>
                  <a:lnTo>
                    <a:pt x="146" y="127"/>
                  </a:lnTo>
                  <a:lnTo>
                    <a:pt x="185" y="156"/>
                  </a:lnTo>
                  <a:lnTo>
                    <a:pt x="234" y="127"/>
                  </a:lnTo>
                  <a:lnTo>
                    <a:pt x="234" y="98"/>
                  </a:lnTo>
                  <a:lnTo>
                    <a:pt x="273" y="68"/>
                  </a:lnTo>
                  <a:lnTo>
                    <a:pt x="244" y="59"/>
                  </a:lnTo>
                  <a:lnTo>
                    <a:pt x="234" y="29"/>
                  </a:lnTo>
                  <a:lnTo>
                    <a:pt x="224" y="29"/>
                  </a:lnTo>
                  <a:lnTo>
                    <a:pt x="224" y="49"/>
                  </a:lnTo>
                  <a:lnTo>
                    <a:pt x="205" y="49"/>
                  </a:lnTo>
                  <a:lnTo>
                    <a:pt x="175" y="68"/>
                  </a:lnTo>
                  <a:lnTo>
                    <a:pt x="146" y="49"/>
                  </a:lnTo>
                  <a:lnTo>
                    <a:pt x="136" y="0"/>
                  </a:lnTo>
                  <a:lnTo>
                    <a:pt x="117" y="0"/>
                  </a:lnTo>
                  <a:lnTo>
                    <a:pt x="97" y="10"/>
                  </a:lnTo>
                  <a:lnTo>
                    <a:pt x="68" y="29"/>
                  </a:lnTo>
                  <a:lnTo>
                    <a:pt x="39" y="10"/>
                  </a:lnTo>
                  <a:lnTo>
                    <a:pt x="10" y="10"/>
                  </a:lnTo>
                  <a:lnTo>
                    <a:pt x="10" y="29"/>
                  </a:lnTo>
                  <a:lnTo>
                    <a:pt x="29" y="49"/>
                  </a:lnTo>
                  <a:lnTo>
                    <a:pt x="39" y="68"/>
                  </a:lnTo>
                  <a:lnTo>
                    <a:pt x="10" y="68"/>
                  </a:lnTo>
                  <a:lnTo>
                    <a:pt x="0" y="78"/>
                  </a:lnTo>
                  <a:lnTo>
                    <a:pt x="0" y="98"/>
                  </a:lnTo>
                  <a:lnTo>
                    <a:pt x="29" y="107"/>
                  </a:lnTo>
                  <a:lnTo>
                    <a:pt x="58" y="98"/>
                  </a:lnTo>
                  <a:lnTo>
                    <a:pt x="88" y="78"/>
                  </a:lnTo>
                  <a:lnTo>
                    <a:pt x="88" y="107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46" name="Group 63"/>
            <p:cNvGrpSpPr>
              <a:grpSpLocks/>
            </p:cNvGrpSpPr>
            <p:nvPr/>
          </p:nvGrpSpPr>
          <p:grpSpPr bwMode="auto">
            <a:xfrm>
              <a:off x="5520" y="3766"/>
              <a:ext cx="273" cy="156"/>
              <a:chOff x="5521" y="3766"/>
              <a:chExt cx="273" cy="156"/>
            </a:xfrm>
          </p:grpSpPr>
          <p:sp>
            <p:nvSpPr>
              <p:cNvPr id="294" name="Freeform 65"/>
              <p:cNvSpPr>
                <a:spLocks/>
              </p:cNvSpPr>
              <p:nvPr/>
            </p:nvSpPr>
            <p:spPr bwMode="auto">
              <a:xfrm>
                <a:off x="5521" y="3765"/>
                <a:ext cx="273" cy="157"/>
              </a:xfrm>
              <a:custGeom>
                <a:avLst/>
                <a:gdLst>
                  <a:gd name="T0" fmla="*/ 88 w 273"/>
                  <a:gd name="T1" fmla="*/ 107 h 156"/>
                  <a:gd name="T2" fmla="*/ 107 w 273"/>
                  <a:gd name="T3" fmla="*/ 117 h 156"/>
                  <a:gd name="T4" fmla="*/ 127 w 273"/>
                  <a:gd name="T5" fmla="*/ 98 h 156"/>
                  <a:gd name="T6" fmla="*/ 146 w 273"/>
                  <a:gd name="T7" fmla="*/ 98 h 156"/>
                  <a:gd name="T8" fmla="*/ 146 w 273"/>
                  <a:gd name="T9" fmla="*/ 127 h 156"/>
                  <a:gd name="T10" fmla="*/ 185 w 273"/>
                  <a:gd name="T11" fmla="*/ 156 h 156"/>
                  <a:gd name="T12" fmla="*/ 234 w 273"/>
                  <a:gd name="T13" fmla="*/ 127 h 156"/>
                  <a:gd name="T14" fmla="*/ 234 w 273"/>
                  <a:gd name="T15" fmla="*/ 98 h 156"/>
                  <a:gd name="T16" fmla="*/ 273 w 273"/>
                  <a:gd name="T17" fmla="*/ 68 h 156"/>
                  <a:gd name="T18" fmla="*/ 244 w 273"/>
                  <a:gd name="T19" fmla="*/ 59 h 156"/>
                  <a:gd name="T20" fmla="*/ 234 w 273"/>
                  <a:gd name="T21" fmla="*/ 29 h 156"/>
                  <a:gd name="T22" fmla="*/ 224 w 273"/>
                  <a:gd name="T23" fmla="*/ 29 h 156"/>
                  <a:gd name="T24" fmla="*/ 224 w 273"/>
                  <a:gd name="T25" fmla="*/ 49 h 156"/>
                  <a:gd name="T26" fmla="*/ 205 w 273"/>
                  <a:gd name="T27" fmla="*/ 49 h 156"/>
                  <a:gd name="T28" fmla="*/ 175 w 273"/>
                  <a:gd name="T29" fmla="*/ 68 h 156"/>
                  <a:gd name="T30" fmla="*/ 146 w 273"/>
                  <a:gd name="T31" fmla="*/ 49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49 h 156"/>
                  <a:gd name="T48" fmla="*/ 39 w 273"/>
                  <a:gd name="T49" fmla="*/ 68 h 156"/>
                  <a:gd name="T50" fmla="*/ 19 w 273"/>
                  <a:gd name="T51" fmla="*/ 68 h 156"/>
                  <a:gd name="T52" fmla="*/ 0 w 273"/>
                  <a:gd name="T53" fmla="*/ 78 h 156"/>
                  <a:gd name="T54" fmla="*/ 0 w 273"/>
                  <a:gd name="T55" fmla="*/ 98 h 156"/>
                  <a:gd name="T56" fmla="*/ 29 w 273"/>
                  <a:gd name="T57" fmla="*/ 107 h 156"/>
                  <a:gd name="T58" fmla="*/ 58 w 273"/>
                  <a:gd name="T59" fmla="*/ 98 h 156"/>
                  <a:gd name="T60" fmla="*/ 88 w 273"/>
                  <a:gd name="T61" fmla="*/ 78 h 156"/>
                  <a:gd name="T62" fmla="*/ 88 w 273"/>
                  <a:gd name="T63" fmla="*/ 107 h 15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3"/>
                  <a:gd name="T97" fmla="*/ 0 h 156"/>
                  <a:gd name="T98" fmla="*/ 273 w 273"/>
                  <a:gd name="T99" fmla="*/ 156 h 15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  <a:lnTo>
                      <a:pt x="88" y="107"/>
                    </a:lnTo>
                    <a:close/>
                  </a:path>
                </a:pathLst>
              </a:custGeom>
              <a:solidFill>
                <a:srgbClr val="1F497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5" name="Freeform 64"/>
              <p:cNvSpPr>
                <a:spLocks/>
              </p:cNvSpPr>
              <p:nvPr/>
            </p:nvSpPr>
            <p:spPr bwMode="auto">
              <a:xfrm>
                <a:off x="5521" y="3765"/>
                <a:ext cx="273" cy="157"/>
              </a:xfrm>
              <a:custGeom>
                <a:avLst/>
                <a:gdLst>
                  <a:gd name="T0" fmla="*/ 88 w 273"/>
                  <a:gd name="T1" fmla="*/ 118 h 156"/>
                  <a:gd name="T2" fmla="*/ 107 w 273"/>
                  <a:gd name="T3" fmla="*/ 138 h 156"/>
                  <a:gd name="T4" fmla="*/ 127 w 273"/>
                  <a:gd name="T5" fmla="*/ 109 h 156"/>
                  <a:gd name="T6" fmla="*/ 136 w 273"/>
                  <a:gd name="T7" fmla="*/ 109 h 156"/>
                  <a:gd name="T8" fmla="*/ 136 w 273"/>
                  <a:gd name="T9" fmla="*/ 149 h 156"/>
                  <a:gd name="T10" fmla="*/ 174 w 273"/>
                  <a:gd name="T11" fmla="*/ 178 h 156"/>
                  <a:gd name="T12" fmla="*/ 223 w 273"/>
                  <a:gd name="T13" fmla="*/ 149 h 156"/>
                  <a:gd name="T14" fmla="*/ 223 w 273"/>
                  <a:gd name="T15" fmla="*/ 109 h 156"/>
                  <a:gd name="T16" fmla="*/ 262 w 273"/>
                  <a:gd name="T17" fmla="*/ 79 h 156"/>
                  <a:gd name="T18" fmla="*/ 233 w 273"/>
                  <a:gd name="T19" fmla="*/ 70 h 156"/>
                  <a:gd name="T20" fmla="*/ 223 w 273"/>
                  <a:gd name="T21" fmla="*/ 29 h 156"/>
                  <a:gd name="T22" fmla="*/ 213 w 273"/>
                  <a:gd name="T23" fmla="*/ 29 h 156"/>
                  <a:gd name="T24" fmla="*/ 213 w 273"/>
                  <a:gd name="T25" fmla="*/ 60 h 156"/>
                  <a:gd name="T26" fmla="*/ 194 w 273"/>
                  <a:gd name="T27" fmla="*/ 60 h 156"/>
                  <a:gd name="T28" fmla="*/ 164 w 273"/>
                  <a:gd name="T29" fmla="*/ 79 h 156"/>
                  <a:gd name="T30" fmla="*/ 136 w 273"/>
                  <a:gd name="T31" fmla="*/ 60 h 156"/>
                  <a:gd name="T32" fmla="*/ 136 w 273"/>
                  <a:gd name="T33" fmla="*/ 0 h 156"/>
                  <a:gd name="T34" fmla="*/ 117 w 273"/>
                  <a:gd name="T35" fmla="*/ 0 h 156"/>
                  <a:gd name="T36" fmla="*/ 97 w 273"/>
                  <a:gd name="T37" fmla="*/ 10 h 156"/>
                  <a:gd name="T38" fmla="*/ 68 w 273"/>
                  <a:gd name="T39" fmla="*/ 29 h 156"/>
                  <a:gd name="T40" fmla="*/ 39 w 273"/>
                  <a:gd name="T41" fmla="*/ 10 h 156"/>
                  <a:gd name="T42" fmla="*/ 19 w 273"/>
                  <a:gd name="T43" fmla="*/ 10 h 156"/>
                  <a:gd name="T44" fmla="*/ 10 w 273"/>
                  <a:gd name="T45" fmla="*/ 29 h 156"/>
                  <a:gd name="T46" fmla="*/ 29 w 273"/>
                  <a:gd name="T47" fmla="*/ 60 h 156"/>
                  <a:gd name="T48" fmla="*/ 39 w 273"/>
                  <a:gd name="T49" fmla="*/ 79 h 156"/>
                  <a:gd name="T50" fmla="*/ 19 w 273"/>
                  <a:gd name="T51" fmla="*/ 79 h 156"/>
                  <a:gd name="T52" fmla="*/ 0 w 273"/>
                  <a:gd name="T53" fmla="*/ 89 h 156"/>
                  <a:gd name="T54" fmla="*/ 0 w 273"/>
                  <a:gd name="T55" fmla="*/ 109 h 156"/>
                  <a:gd name="T56" fmla="*/ 29 w 273"/>
                  <a:gd name="T57" fmla="*/ 118 h 156"/>
                  <a:gd name="T58" fmla="*/ 58 w 273"/>
                  <a:gd name="T59" fmla="*/ 109 h 156"/>
                  <a:gd name="T60" fmla="*/ 88 w 273"/>
                  <a:gd name="T61" fmla="*/ 89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73"/>
                  <a:gd name="T94" fmla="*/ 0 h 156"/>
                  <a:gd name="T95" fmla="*/ 273 w 273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73" h="156">
                    <a:moveTo>
                      <a:pt x="88" y="107"/>
                    </a:moveTo>
                    <a:lnTo>
                      <a:pt x="107" y="117"/>
                    </a:lnTo>
                    <a:lnTo>
                      <a:pt x="127" y="98"/>
                    </a:lnTo>
                    <a:lnTo>
                      <a:pt x="146" y="98"/>
                    </a:lnTo>
                    <a:lnTo>
                      <a:pt x="146" y="127"/>
                    </a:lnTo>
                    <a:lnTo>
                      <a:pt x="185" y="156"/>
                    </a:lnTo>
                    <a:lnTo>
                      <a:pt x="234" y="127"/>
                    </a:lnTo>
                    <a:lnTo>
                      <a:pt x="234" y="98"/>
                    </a:lnTo>
                    <a:lnTo>
                      <a:pt x="273" y="68"/>
                    </a:lnTo>
                    <a:lnTo>
                      <a:pt x="244" y="59"/>
                    </a:lnTo>
                    <a:lnTo>
                      <a:pt x="234" y="29"/>
                    </a:lnTo>
                    <a:lnTo>
                      <a:pt x="224" y="29"/>
                    </a:lnTo>
                    <a:lnTo>
                      <a:pt x="224" y="49"/>
                    </a:lnTo>
                    <a:lnTo>
                      <a:pt x="205" y="49"/>
                    </a:lnTo>
                    <a:lnTo>
                      <a:pt x="175" y="68"/>
                    </a:lnTo>
                    <a:lnTo>
                      <a:pt x="146" y="49"/>
                    </a:lnTo>
                    <a:lnTo>
                      <a:pt x="136" y="0"/>
                    </a:lnTo>
                    <a:lnTo>
                      <a:pt x="117" y="0"/>
                    </a:lnTo>
                    <a:lnTo>
                      <a:pt x="97" y="10"/>
                    </a:lnTo>
                    <a:lnTo>
                      <a:pt x="68" y="29"/>
                    </a:lnTo>
                    <a:lnTo>
                      <a:pt x="39" y="10"/>
                    </a:lnTo>
                    <a:lnTo>
                      <a:pt x="19" y="10"/>
                    </a:lnTo>
                    <a:lnTo>
                      <a:pt x="10" y="29"/>
                    </a:lnTo>
                    <a:lnTo>
                      <a:pt x="29" y="49"/>
                    </a:lnTo>
                    <a:lnTo>
                      <a:pt x="39" y="68"/>
                    </a:lnTo>
                    <a:lnTo>
                      <a:pt x="19" y="68"/>
                    </a:lnTo>
                    <a:lnTo>
                      <a:pt x="0" y="78"/>
                    </a:lnTo>
                    <a:lnTo>
                      <a:pt x="0" y="98"/>
                    </a:lnTo>
                    <a:lnTo>
                      <a:pt x="29" y="107"/>
                    </a:lnTo>
                    <a:lnTo>
                      <a:pt x="58" y="98"/>
                    </a:lnTo>
                    <a:lnTo>
                      <a:pt x="88" y="78"/>
                    </a:lnTo>
                  </a:path>
                </a:pathLst>
              </a:custGeom>
              <a:solidFill>
                <a:srgbClr val="DBDBDB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47" name="Freeform 62"/>
            <p:cNvSpPr>
              <a:spLocks/>
            </p:cNvSpPr>
            <p:nvPr/>
          </p:nvSpPr>
          <p:spPr bwMode="auto">
            <a:xfrm>
              <a:off x="4511" y="1079"/>
              <a:ext cx="1345" cy="1154"/>
            </a:xfrm>
            <a:custGeom>
              <a:avLst/>
              <a:gdLst>
                <a:gd name="T0" fmla="*/ 1240 w 1346"/>
                <a:gd name="T1" fmla="*/ 537 h 1152"/>
                <a:gd name="T2" fmla="*/ 1357 w 1346"/>
                <a:gd name="T3" fmla="*/ 714 h 1152"/>
                <a:gd name="T4" fmla="*/ 1269 w 1346"/>
                <a:gd name="T5" fmla="*/ 841 h 1152"/>
                <a:gd name="T6" fmla="*/ 1162 w 1346"/>
                <a:gd name="T7" fmla="*/ 928 h 1152"/>
                <a:gd name="T8" fmla="*/ 986 w 1346"/>
                <a:gd name="T9" fmla="*/ 958 h 1152"/>
                <a:gd name="T10" fmla="*/ 879 w 1346"/>
                <a:gd name="T11" fmla="*/ 899 h 1152"/>
                <a:gd name="T12" fmla="*/ 663 w 1346"/>
                <a:gd name="T13" fmla="*/ 958 h 1152"/>
                <a:gd name="T14" fmla="*/ 546 w 1346"/>
                <a:gd name="T15" fmla="*/ 1065 h 1152"/>
                <a:gd name="T16" fmla="*/ 370 w 1346"/>
                <a:gd name="T17" fmla="*/ 1153 h 1152"/>
                <a:gd name="T18" fmla="*/ 205 w 1346"/>
                <a:gd name="T19" fmla="*/ 1075 h 1152"/>
                <a:gd name="T20" fmla="*/ 127 w 1346"/>
                <a:gd name="T21" fmla="*/ 1016 h 1152"/>
                <a:gd name="T22" fmla="*/ 107 w 1346"/>
                <a:gd name="T23" fmla="*/ 919 h 1152"/>
                <a:gd name="T24" fmla="*/ 48 w 1346"/>
                <a:gd name="T25" fmla="*/ 860 h 1152"/>
                <a:gd name="T26" fmla="*/ 29 w 1346"/>
                <a:gd name="T27" fmla="*/ 753 h 1152"/>
                <a:gd name="T28" fmla="*/ 97 w 1346"/>
                <a:gd name="T29" fmla="*/ 655 h 1152"/>
                <a:gd name="T30" fmla="*/ 117 w 1346"/>
                <a:gd name="T31" fmla="*/ 547 h 1152"/>
                <a:gd name="T32" fmla="*/ 136 w 1346"/>
                <a:gd name="T33" fmla="*/ 527 h 1152"/>
                <a:gd name="T34" fmla="*/ 224 w 1346"/>
                <a:gd name="T35" fmla="*/ 606 h 1152"/>
                <a:gd name="T36" fmla="*/ 185 w 1346"/>
                <a:gd name="T37" fmla="*/ 675 h 1152"/>
                <a:gd name="T38" fmla="*/ 205 w 1346"/>
                <a:gd name="T39" fmla="*/ 694 h 1152"/>
                <a:gd name="T40" fmla="*/ 166 w 1346"/>
                <a:gd name="T41" fmla="*/ 792 h 1152"/>
                <a:gd name="T42" fmla="*/ 205 w 1346"/>
                <a:gd name="T43" fmla="*/ 860 h 1152"/>
                <a:gd name="T44" fmla="*/ 205 w 1346"/>
                <a:gd name="T45" fmla="*/ 772 h 1152"/>
                <a:gd name="T46" fmla="*/ 244 w 1346"/>
                <a:gd name="T47" fmla="*/ 645 h 1152"/>
                <a:gd name="T48" fmla="*/ 175 w 1346"/>
                <a:gd name="T49" fmla="*/ 508 h 1152"/>
                <a:gd name="T50" fmla="*/ 195 w 1346"/>
                <a:gd name="T51" fmla="*/ 400 h 1152"/>
                <a:gd name="T52" fmla="*/ 370 w 1346"/>
                <a:gd name="T53" fmla="*/ 400 h 1152"/>
                <a:gd name="T54" fmla="*/ 419 w 1346"/>
                <a:gd name="T55" fmla="*/ 410 h 1152"/>
                <a:gd name="T56" fmla="*/ 419 w 1346"/>
                <a:gd name="T57" fmla="*/ 332 h 1152"/>
                <a:gd name="T58" fmla="*/ 409 w 1346"/>
                <a:gd name="T59" fmla="*/ 303 h 1152"/>
                <a:gd name="T60" fmla="*/ 448 w 1346"/>
                <a:gd name="T61" fmla="*/ 293 h 1152"/>
                <a:gd name="T62" fmla="*/ 478 w 1346"/>
                <a:gd name="T63" fmla="*/ 273 h 1152"/>
                <a:gd name="T64" fmla="*/ 575 w 1346"/>
                <a:gd name="T65" fmla="*/ 225 h 1152"/>
                <a:gd name="T66" fmla="*/ 684 w 1346"/>
                <a:gd name="T67" fmla="*/ 215 h 1152"/>
                <a:gd name="T68" fmla="*/ 663 w 1346"/>
                <a:gd name="T69" fmla="*/ 186 h 1152"/>
                <a:gd name="T70" fmla="*/ 733 w 1346"/>
                <a:gd name="T71" fmla="*/ 186 h 1152"/>
                <a:gd name="T72" fmla="*/ 772 w 1346"/>
                <a:gd name="T73" fmla="*/ 205 h 1152"/>
                <a:gd name="T74" fmla="*/ 850 w 1346"/>
                <a:gd name="T75" fmla="*/ 176 h 1152"/>
                <a:gd name="T76" fmla="*/ 859 w 1346"/>
                <a:gd name="T77" fmla="*/ 147 h 1152"/>
                <a:gd name="T78" fmla="*/ 918 w 1346"/>
                <a:gd name="T79" fmla="*/ 137 h 1152"/>
                <a:gd name="T80" fmla="*/ 908 w 1346"/>
                <a:gd name="T81" fmla="*/ 69 h 1152"/>
                <a:gd name="T82" fmla="*/ 976 w 1346"/>
                <a:gd name="T83" fmla="*/ 0 h 1152"/>
                <a:gd name="T84" fmla="*/ 1035 w 1346"/>
                <a:gd name="T85" fmla="*/ 39 h 1152"/>
                <a:gd name="T86" fmla="*/ 1035 w 1346"/>
                <a:gd name="T87" fmla="*/ 78 h 1152"/>
                <a:gd name="T88" fmla="*/ 1064 w 1346"/>
                <a:gd name="T89" fmla="*/ 137 h 1152"/>
                <a:gd name="T90" fmla="*/ 1142 w 1346"/>
                <a:gd name="T91" fmla="*/ 98 h 1152"/>
                <a:gd name="T92" fmla="*/ 1220 w 1346"/>
                <a:gd name="T93" fmla="*/ 108 h 1152"/>
                <a:gd name="T94" fmla="*/ 1269 w 1346"/>
                <a:gd name="T95" fmla="*/ 156 h 1152"/>
                <a:gd name="T96" fmla="*/ 1298 w 1346"/>
                <a:gd name="T97" fmla="*/ 166 h 1152"/>
                <a:gd name="T98" fmla="*/ 1269 w 1346"/>
                <a:gd name="T99" fmla="*/ 205 h 1152"/>
                <a:gd name="T100" fmla="*/ 1298 w 1346"/>
                <a:gd name="T101" fmla="*/ 273 h 1152"/>
                <a:gd name="T102" fmla="*/ 1210 w 1346"/>
                <a:gd name="T103" fmla="*/ 361 h 1152"/>
                <a:gd name="T104" fmla="*/ 1162 w 1346"/>
                <a:gd name="T105" fmla="*/ 449 h 1152"/>
                <a:gd name="T106" fmla="*/ 1084 w 1346"/>
                <a:gd name="T107" fmla="*/ 527 h 1152"/>
                <a:gd name="T108" fmla="*/ 1132 w 1346"/>
                <a:gd name="T109" fmla="*/ 508 h 1152"/>
                <a:gd name="T110" fmla="*/ 1210 w 1346"/>
                <a:gd name="T111" fmla="*/ 469 h 1152"/>
                <a:gd name="T112" fmla="*/ 1201 w 1346"/>
                <a:gd name="T113" fmla="*/ 430 h 115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46"/>
                <a:gd name="T172" fmla="*/ 0 h 1152"/>
                <a:gd name="T173" fmla="*/ 1346 w 1346"/>
                <a:gd name="T174" fmla="*/ 1152 h 115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46" h="1152">
                  <a:moveTo>
                    <a:pt x="1248" y="410"/>
                  </a:moveTo>
                  <a:lnTo>
                    <a:pt x="1238" y="420"/>
                  </a:lnTo>
                  <a:lnTo>
                    <a:pt x="1238" y="430"/>
                  </a:lnTo>
                  <a:lnTo>
                    <a:pt x="1238" y="439"/>
                  </a:lnTo>
                  <a:lnTo>
                    <a:pt x="1219" y="459"/>
                  </a:lnTo>
                  <a:lnTo>
                    <a:pt x="1209" y="469"/>
                  </a:lnTo>
                  <a:lnTo>
                    <a:pt x="1229" y="488"/>
                  </a:lnTo>
                  <a:lnTo>
                    <a:pt x="1238" y="508"/>
                  </a:lnTo>
                  <a:lnTo>
                    <a:pt x="1229" y="537"/>
                  </a:lnTo>
                  <a:lnTo>
                    <a:pt x="1258" y="556"/>
                  </a:lnTo>
                  <a:lnTo>
                    <a:pt x="1258" y="576"/>
                  </a:lnTo>
                  <a:lnTo>
                    <a:pt x="1268" y="576"/>
                  </a:lnTo>
                  <a:lnTo>
                    <a:pt x="1287" y="595"/>
                  </a:lnTo>
                  <a:lnTo>
                    <a:pt x="1317" y="625"/>
                  </a:lnTo>
                  <a:lnTo>
                    <a:pt x="1317" y="654"/>
                  </a:lnTo>
                  <a:lnTo>
                    <a:pt x="1317" y="673"/>
                  </a:lnTo>
                  <a:lnTo>
                    <a:pt x="1346" y="683"/>
                  </a:lnTo>
                  <a:lnTo>
                    <a:pt x="1346" y="703"/>
                  </a:lnTo>
                  <a:lnTo>
                    <a:pt x="1346" y="712"/>
                  </a:lnTo>
                  <a:lnTo>
                    <a:pt x="1326" y="712"/>
                  </a:lnTo>
                  <a:lnTo>
                    <a:pt x="1307" y="742"/>
                  </a:lnTo>
                  <a:lnTo>
                    <a:pt x="1278" y="771"/>
                  </a:lnTo>
                  <a:lnTo>
                    <a:pt x="1278" y="800"/>
                  </a:lnTo>
                  <a:lnTo>
                    <a:pt x="1258" y="800"/>
                  </a:lnTo>
                  <a:lnTo>
                    <a:pt x="1258" y="820"/>
                  </a:lnTo>
                  <a:lnTo>
                    <a:pt x="1248" y="830"/>
                  </a:lnTo>
                  <a:lnTo>
                    <a:pt x="1258" y="830"/>
                  </a:lnTo>
                  <a:lnTo>
                    <a:pt x="1258" y="849"/>
                  </a:lnTo>
                  <a:lnTo>
                    <a:pt x="1248" y="859"/>
                  </a:lnTo>
                  <a:lnTo>
                    <a:pt x="1238" y="878"/>
                  </a:lnTo>
                  <a:lnTo>
                    <a:pt x="1219" y="878"/>
                  </a:lnTo>
                  <a:lnTo>
                    <a:pt x="1209" y="878"/>
                  </a:lnTo>
                  <a:lnTo>
                    <a:pt x="1199" y="878"/>
                  </a:lnTo>
                  <a:lnTo>
                    <a:pt x="1190" y="888"/>
                  </a:lnTo>
                  <a:lnTo>
                    <a:pt x="1170" y="908"/>
                  </a:lnTo>
                  <a:lnTo>
                    <a:pt x="1151" y="917"/>
                  </a:lnTo>
                  <a:lnTo>
                    <a:pt x="1112" y="917"/>
                  </a:lnTo>
                  <a:lnTo>
                    <a:pt x="1102" y="947"/>
                  </a:lnTo>
                  <a:lnTo>
                    <a:pt x="1082" y="937"/>
                  </a:lnTo>
                  <a:lnTo>
                    <a:pt x="1082" y="927"/>
                  </a:lnTo>
                  <a:lnTo>
                    <a:pt x="1053" y="927"/>
                  </a:lnTo>
                  <a:lnTo>
                    <a:pt x="1053" y="937"/>
                  </a:lnTo>
                  <a:lnTo>
                    <a:pt x="1024" y="956"/>
                  </a:lnTo>
                  <a:lnTo>
                    <a:pt x="1004" y="947"/>
                  </a:lnTo>
                  <a:lnTo>
                    <a:pt x="975" y="947"/>
                  </a:lnTo>
                  <a:lnTo>
                    <a:pt x="956" y="937"/>
                  </a:lnTo>
                  <a:lnTo>
                    <a:pt x="956" y="927"/>
                  </a:lnTo>
                  <a:lnTo>
                    <a:pt x="946" y="917"/>
                  </a:lnTo>
                  <a:lnTo>
                    <a:pt x="926" y="927"/>
                  </a:lnTo>
                  <a:lnTo>
                    <a:pt x="897" y="917"/>
                  </a:lnTo>
                  <a:lnTo>
                    <a:pt x="878" y="927"/>
                  </a:lnTo>
                  <a:lnTo>
                    <a:pt x="868" y="927"/>
                  </a:lnTo>
                  <a:lnTo>
                    <a:pt x="878" y="908"/>
                  </a:lnTo>
                  <a:lnTo>
                    <a:pt x="868" y="888"/>
                  </a:lnTo>
                  <a:lnTo>
                    <a:pt x="848" y="878"/>
                  </a:lnTo>
                  <a:lnTo>
                    <a:pt x="819" y="898"/>
                  </a:lnTo>
                  <a:lnTo>
                    <a:pt x="780" y="888"/>
                  </a:lnTo>
                  <a:lnTo>
                    <a:pt x="770" y="898"/>
                  </a:lnTo>
                  <a:lnTo>
                    <a:pt x="751" y="898"/>
                  </a:lnTo>
                  <a:lnTo>
                    <a:pt x="741" y="908"/>
                  </a:lnTo>
                  <a:lnTo>
                    <a:pt x="722" y="908"/>
                  </a:lnTo>
                  <a:lnTo>
                    <a:pt x="692" y="937"/>
                  </a:lnTo>
                  <a:lnTo>
                    <a:pt x="663" y="947"/>
                  </a:lnTo>
                  <a:lnTo>
                    <a:pt x="653" y="956"/>
                  </a:lnTo>
                  <a:lnTo>
                    <a:pt x="643" y="966"/>
                  </a:lnTo>
                  <a:lnTo>
                    <a:pt x="643" y="995"/>
                  </a:lnTo>
                  <a:lnTo>
                    <a:pt x="624" y="1005"/>
                  </a:lnTo>
                  <a:lnTo>
                    <a:pt x="614" y="1025"/>
                  </a:lnTo>
                  <a:lnTo>
                    <a:pt x="604" y="1044"/>
                  </a:lnTo>
                  <a:lnTo>
                    <a:pt x="565" y="1044"/>
                  </a:lnTo>
                  <a:lnTo>
                    <a:pt x="556" y="1044"/>
                  </a:lnTo>
                  <a:lnTo>
                    <a:pt x="546" y="1054"/>
                  </a:lnTo>
                  <a:lnTo>
                    <a:pt x="546" y="1064"/>
                  </a:lnTo>
                  <a:lnTo>
                    <a:pt x="526" y="1083"/>
                  </a:lnTo>
                  <a:lnTo>
                    <a:pt x="517" y="1093"/>
                  </a:lnTo>
                  <a:lnTo>
                    <a:pt x="507" y="1103"/>
                  </a:lnTo>
                  <a:lnTo>
                    <a:pt x="497" y="1122"/>
                  </a:lnTo>
                  <a:lnTo>
                    <a:pt x="468" y="1142"/>
                  </a:lnTo>
                  <a:lnTo>
                    <a:pt x="419" y="1152"/>
                  </a:lnTo>
                  <a:lnTo>
                    <a:pt x="390" y="1142"/>
                  </a:lnTo>
                  <a:lnTo>
                    <a:pt x="370" y="1142"/>
                  </a:lnTo>
                  <a:lnTo>
                    <a:pt x="361" y="1142"/>
                  </a:lnTo>
                  <a:lnTo>
                    <a:pt x="322" y="1132"/>
                  </a:lnTo>
                  <a:lnTo>
                    <a:pt x="292" y="1122"/>
                  </a:lnTo>
                  <a:lnTo>
                    <a:pt x="263" y="1073"/>
                  </a:lnTo>
                  <a:lnTo>
                    <a:pt x="263" y="1044"/>
                  </a:lnTo>
                  <a:lnTo>
                    <a:pt x="234" y="1044"/>
                  </a:lnTo>
                  <a:lnTo>
                    <a:pt x="214" y="1044"/>
                  </a:lnTo>
                  <a:lnTo>
                    <a:pt x="214" y="1064"/>
                  </a:lnTo>
                  <a:lnTo>
                    <a:pt x="205" y="1064"/>
                  </a:lnTo>
                  <a:lnTo>
                    <a:pt x="205" y="1083"/>
                  </a:lnTo>
                  <a:lnTo>
                    <a:pt x="195" y="1083"/>
                  </a:lnTo>
                  <a:lnTo>
                    <a:pt x="166" y="1083"/>
                  </a:lnTo>
                  <a:lnTo>
                    <a:pt x="166" y="1113"/>
                  </a:lnTo>
                  <a:lnTo>
                    <a:pt x="156" y="1103"/>
                  </a:lnTo>
                  <a:lnTo>
                    <a:pt x="127" y="1044"/>
                  </a:lnTo>
                  <a:lnTo>
                    <a:pt x="127" y="1025"/>
                  </a:lnTo>
                  <a:lnTo>
                    <a:pt x="117" y="1015"/>
                  </a:lnTo>
                  <a:lnTo>
                    <a:pt x="127" y="1005"/>
                  </a:lnTo>
                  <a:lnTo>
                    <a:pt x="117" y="986"/>
                  </a:lnTo>
                  <a:lnTo>
                    <a:pt x="107" y="995"/>
                  </a:lnTo>
                  <a:lnTo>
                    <a:pt x="97" y="956"/>
                  </a:lnTo>
                  <a:lnTo>
                    <a:pt x="97" y="947"/>
                  </a:lnTo>
                  <a:lnTo>
                    <a:pt x="117" y="947"/>
                  </a:lnTo>
                  <a:lnTo>
                    <a:pt x="117" y="937"/>
                  </a:lnTo>
                  <a:lnTo>
                    <a:pt x="117" y="927"/>
                  </a:lnTo>
                  <a:lnTo>
                    <a:pt x="97" y="917"/>
                  </a:lnTo>
                  <a:lnTo>
                    <a:pt x="107" y="908"/>
                  </a:lnTo>
                  <a:lnTo>
                    <a:pt x="117" y="898"/>
                  </a:lnTo>
                  <a:lnTo>
                    <a:pt x="107" y="878"/>
                  </a:lnTo>
                  <a:lnTo>
                    <a:pt x="97" y="878"/>
                  </a:lnTo>
                  <a:lnTo>
                    <a:pt x="117" y="849"/>
                  </a:lnTo>
                  <a:lnTo>
                    <a:pt x="97" y="839"/>
                  </a:lnTo>
                  <a:lnTo>
                    <a:pt x="87" y="849"/>
                  </a:lnTo>
                  <a:lnTo>
                    <a:pt x="78" y="859"/>
                  </a:lnTo>
                  <a:lnTo>
                    <a:pt x="68" y="859"/>
                  </a:lnTo>
                  <a:lnTo>
                    <a:pt x="48" y="849"/>
                  </a:lnTo>
                  <a:lnTo>
                    <a:pt x="29" y="830"/>
                  </a:lnTo>
                  <a:lnTo>
                    <a:pt x="19" y="830"/>
                  </a:lnTo>
                  <a:lnTo>
                    <a:pt x="19" y="820"/>
                  </a:lnTo>
                  <a:lnTo>
                    <a:pt x="19" y="800"/>
                  </a:lnTo>
                  <a:lnTo>
                    <a:pt x="9" y="791"/>
                  </a:lnTo>
                  <a:lnTo>
                    <a:pt x="0" y="781"/>
                  </a:lnTo>
                  <a:lnTo>
                    <a:pt x="0" y="761"/>
                  </a:lnTo>
                  <a:lnTo>
                    <a:pt x="9" y="761"/>
                  </a:lnTo>
                  <a:lnTo>
                    <a:pt x="29" y="742"/>
                  </a:lnTo>
                  <a:lnTo>
                    <a:pt x="39" y="742"/>
                  </a:lnTo>
                  <a:lnTo>
                    <a:pt x="48" y="742"/>
                  </a:lnTo>
                  <a:lnTo>
                    <a:pt x="58" y="732"/>
                  </a:lnTo>
                  <a:lnTo>
                    <a:pt x="87" y="722"/>
                  </a:lnTo>
                  <a:lnTo>
                    <a:pt x="97" y="712"/>
                  </a:lnTo>
                  <a:lnTo>
                    <a:pt x="97" y="673"/>
                  </a:lnTo>
                  <a:lnTo>
                    <a:pt x="107" y="654"/>
                  </a:lnTo>
                  <a:lnTo>
                    <a:pt x="97" y="644"/>
                  </a:lnTo>
                  <a:lnTo>
                    <a:pt x="87" y="634"/>
                  </a:lnTo>
                  <a:lnTo>
                    <a:pt x="68" y="605"/>
                  </a:lnTo>
                  <a:lnTo>
                    <a:pt x="68" y="586"/>
                  </a:lnTo>
                  <a:lnTo>
                    <a:pt x="78" y="576"/>
                  </a:lnTo>
                  <a:lnTo>
                    <a:pt x="87" y="576"/>
                  </a:lnTo>
                  <a:lnTo>
                    <a:pt x="97" y="576"/>
                  </a:lnTo>
                  <a:lnTo>
                    <a:pt x="127" y="547"/>
                  </a:lnTo>
                  <a:lnTo>
                    <a:pt x="117" y="547"/>
                  </a:lnTo>
                  <a:lnTo>
                    <a:pt x="97" y="527"/>
                  </a:lnTo>
                  <a:lnTo>
                    <a:pt x="87" y="517"/>
                  </a:lnTo>
                  <a:lnTo>
                    <a:pt x="78" y="508"/>
                  </a:lnTo>
                  <a:lnTo>
                    <a:pt x="87" y="498"/>
                  </a:lnTo>
                  <a:lnTo>
                    <a:pt x="87" y="488"/>
                  </a:lnTo>
                  <a:lnTo>
                    <a:pt x="107" y="488"/>
                  </a:lnTo>
                  <a:lnTo>
                    <a:pt x="117" y="498"/>
                  </a:lnTo>
                  <a:lnTo>
                    <a:pt x="136" y="517"/>
                  </a:lnTo>
                  <a:lnTo>
                    <a:pt x="136" y="527"/>
                  </a:lnTo>
                  <a:lnTo>
                    <a:pt x="156" y="537"/>
                  </a:lnTo>
                  <a:lnTo>
                    <a:pt x="156" y="547"/>
                  </a:lnTo>
                  <a:lnTo>
                    <a:pt x="156" y="556"/>
                  </a:lnTo>
                  <a:lnTo>
                    <a:pt x="166" y="566"/>
                  </a:lnTo>
                  <a:lnTo>
                    <a:pt x="166" y="586"/>
                  </a:lnTo>
                  <a:lnTo>
                    <a:pt x="175" y="595"/>
                  </a:lnTo>
                  <a:lnTo>
                    <a:pt x="195" y="595"/>
                  </a:lnTo>
                  <a:lnTo>
                    <a:pt x="224" y="595"/>
                  </a:lnTo>
                  <a:lnTo>
                    <a:pt x="234" y="605"/>
                  </a:lnTo>
                  <a:lnTo>
                    <a:pt x="234" y="615"/>
                  </a:lnTo>
                  <a:lnTo>
                    <a:pt x="224" y="625"/>
                  </a:lnTo>
                  <a:lnTo>
                    <a:pt x="214" y="63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85" y="644"/>
                  </a:lnTo>
                  <a:lnTo>
                    <a:pt x="185" y="664"/>
                  </a:lnTo>
                  <a:lnTo>
                    <a:pt x="175" y="673"/>
                  </a:lnTo>
                  <a:lnTo>
                    <a:pt x="166" y="683"/>
                  </a:lnTo>
                  <a:lnTo>
                    <a:pt x="175" y="683"/>
                  </a:lnTo>
                  <a:lnTo>
                    <a:pt x="175" y="703"/>
                  </a:lnTo>
                  <a:lnTo>
                    <a:pt x="166" y="703"/>
                  </a:lnTo>
                  <a:lnTo>
                    <a:pt x="166" y="712"/>
                  </a:lnTo>
                  <a:lnTo>
                    <a:pt x="185" y="703"/>
                  </a:lnTo>
                  <a:lnTo>
                    <a:pt x="185" y="693"/>
                  </a:lnTo>
                  <a:lnTo>
                    <a:pt x="205" y="683"/>
                  </a:lnTo>
                  <a:lnTo>
                    <a:pt x="214" y="693"/>
                  </a:lnTo>
                  <a:lnTo>
                    <a:pt x="214" y="703"/>
                  </a:lnTo>
                  <a:lnTo>
                    <a:pt x="205" y="703"/>
                  </a:lnTo>
                  <a:lnTo>
                    <a:pt x="195" y="712"/>
                  </a:lnTo>
                  <a:lnTo>
                    <a:pt x="185" y="732"/>
                  </a:lnTo>
                  <a:lnTo>
                    <a:pt x="185" y="742"/>
                  </a:lnTo>
                  <a:lnTo>
                    <a:pt x="166" y="761"/>
                  </a:lnTo>
                  <a:lnTo>
                    <a:pt x="166" y="771"/>
                  </a:lnTo>
                  <a:lnTo>
                    <a:pt x="166" y="781"/>
                  </a:lnTo>
                  <a:lnTo>
                    <a:pt x="175" y="771"/>
                  </a:lnTo>
                  <a:lnTo>
                    <a:pt x="175" y="781"/>
                  </a:lnTo>
                  <a:lnTo>
                    <a:pt x="185" y="791"/>
                  </a:lnTo>
                  <a:lnTo>
                    <a:pt x="185" y="820"/>
                  </a:lnTo>
                  <a:lnTo>
                    <a:pt x="205" y="830"/>
                  </a:lnTo>
                  <a:lnTo>
                    <a:pt x="205" y="849"/>
                  </a:lnTo>
                  <a:lnTo>
                    <a:pt x="224" y="849"/>
                  </a:lnTo>
                  <a:lnTo>
                    <a:pt x="214" y="839"/>
                  </a:lnTo>
                  <a:lnTo>
                    <a:pt x="214" y="830"/>
                  </a:lnTo>
                  <a:lnTo>
                    <a:pt x="205" y="810"/>
                  </a:lnTo>
                  <a:lnTo>
                    <a:pt x="195" y="791"/>
                  </a:lnTo>
                  <a:lnTo>
                    <a:pt x="185" y="791"/>
                  </a:lnTo>
                  <a:lnTo>
                    <a:pt x="185" y="771"/>
                  </a:lnTo>
                  <a:lnTo>
                    <a:pt x="185" y="761"/>
                  </a:lnTo>
                  <a:lnTo>
                    <a:pt x="205" y="761"/>
                  </a:lnTo>
                  <a:lnTo>
                    <a:pt x="214" y="752"/>
                  </a:lnTo>
                  <a:lnTo>
                    <a:pt x="214" y="712"/>
                  </a:lnTo>
                  <a:lnTo>
                    <a:pt x="214" y="693"/>
                  </a:lnTo>
                  <a:lnTo>
                    <a:pt x="214" y="683"/>
                  </a:lnTo>
                  <a:lnTo>
                    <a:pt x="214" y="673"/>
                  </a:lnTo>
                  <a:lnTo>
                    <a:pt x="214" y="664"/>
                  </a:lnTo>
                  <a:lnTo>
                    <a:pt x="234" y="644"/>
                  </a:lnTo>
                  <a:lnTo>
                    <a:pt x="234" y="634"/>
                  </a:lnTo>
                  <a:lnTo>
                    <a:pt x="244" y="634"/>
                  </a:lnTo>
                  <a:lnTo>
                    <a:pt x="244" y="625"/>
                  </a:lnTo>
                  <a:lnTo>
                    <a:pt x="244" y="605"/>
                  </a:lnTo>
                  <a:lnTo>
                    <a:pt x="234" y="586"/>
                  </a:lnTo>
                  <a:lnTo>
                    <a:pt x="214" y="576"/>
                  </a:lnTo>
                  <a:lnTo>
                    <a:pt x="214" y="566"/>
                  </a:lnTo>
                  <a:lnTo>
                    <a:pt x="214" y="556"/>
                  </a:lnTo>
                  <a:lnTo>
                    <a:pt x="214" y="547"/>
                  </a:lnTo>
                  <a:lnTo>
                    <a:pt x="195" y="527"/>
                  </a:lnTo>
                  <a:lnTo>
                    <a:pt x="175" y="508"/>
                  </a:lnTo>
                  <a:lnTo>
                    <a:pt x="175" y="488"/>
                  </a:lnTo>
                  <a:lnTo>
                    <a:pt x="175" y="469"/>
                  </a:lnTo>
                  <a:lnTo>
                    <a:pt x="185" y="449"/>
                  </a:lnTo>
                  <a:lnTo>
                    <a:pt x="185" y="439"/>
                  </a:lnTo>
                  <a:lnTo>
                    <a:pt x="185" y="430"/>
                  </a:lnTo>
                  <a:lnTo>
                    <a:pt x="185" y="420"/>
                  </a:lnTo>
                  <a:lnTo>
                    <a:pt x="195" y="420"/>
                  </a:lnTo>
                  <a:lnTo>
                    <a:pt x="185" y="410"/>
                  </a:lnTo>
                  <a:lnTo>
                    <a:pt x="195" y="400"/>
                  </a:lnTo>
                  <a:lnTo>
                    <a:pt x="205" y="391"/>
                  </a:lnTo>
                  <a:lnTo>
                    <a:pt x="214" y="391"/>
                  </a:lnTo>
                  <a:lnTo>
                    <a:pt x="253" y="391"/>
                  </a:lnTo>
                  <a:lnTo>
                    <a:pt x="302" y="391"/>
                  </a:lnTo>
                  <a:lnTo>
                    <a:pt x="341" y="391"/>
                  </a:lnTo>
                  <a:lnTo>
                    <a:pt x="361" y="391"/>
                  </a:lnTo>
                  <a:lnTo>
                    <a:pt x="351" y="410"/>
                  </a:lnTo>
                  <a:lnTo>
                    <a:pt x="361" y="410"/>
                  </a:lnTo>
                  <a:lnTo>
                    <a:pt x="370" y="400"/>
                  </a:lnTo>
                  <a:lnTo>
                    <a:pt x="380" y="391"/>
                  </a:lnTo>
                  <a:lnTo>
                    <a:pt x="390" y="391"/>
                  </a:lnTo>
                  <a:lnTo>
                    <a:pt x="400" y="391"/>
                  </a:lnTo>
                  <a:lnTo>
                    <a:pt x="400" y="400"/>
                  </a:lnTo>
                  <a:lnTo>
                    <a:pt x="409" y="391"/>
                  </a:lnTo>
                  <a:lnTo>
                    <a:pt x="419" y="400"/>
                  </a:lnTo>
                  <a:lnTo>
                    <a:pt x="419" y="410"/>
                  </a:lnTo>
                  <a:lnTo>
                    <a:pt x="419" y="391"/>
                  </a:lnTo>
                  <a:lnTo>
                    <a:pt x="429" y="381"/>
                  </a:lnTo>
                  <a:lnTo>
                    <a:pt x="419" y="371"/>
                  </a:lnTo>
                  <a:lnTo>
                    <a:pt x="419" y="351"/>
                  </a:lnTo>
                  <a:lnTo>
                    <a:pt x="400" y="351"/>
                  </a:lnTo>
                  <a:lnTo>
                    <a:pt x="390" y="351"/>
                  </a:lnTo>
                  <a:lnTo>
                    <a:pt x="400" y="342"/>
                  </a:lnTo>
                  <a:lnTo>
                    <a:pt x="419" y="332"/>
                  </a:lnTo>
                  <a:lnTo>
                    <a:pt x="419" y="342"/>
                  </a:lnTo>
                  <a:lnTo>
                    <a:pt x="429" y="351"/>
                  </a:lnTo>
                  <a:lnTo>
                    <a:pt x="429" y="342"/>
                  </a:lnTo>
                  <a:lnTo>
                    <a:pt x="419" y="332"/>
                  </a:lnTo>
                  <a:lnTo>
                    <a:pt x="419" y="312"/>
                  </a:lnTo>
                  <a:lnTo>
                    <a:pt x="409" y="312"/>
                  </a:lnTo>
                  <a:lnTo>
                    <a:pt x="400" y="303"/>
                  </a:lnTo>
                  <a:lnTo>
                    <a:pt x="409" y="303"/>
                  </a:lnTo>
                  <a:lnTo>
                    <a:pt x="409" y="283"/>
                  </a:lnTo>
                  <a:lnTo>
                    <a:pt x="419" y="293"/>
                  </a:lnTo>
                  <a:lnTo>
                    <a:pt x="419" y="303"/>
                  </a:lnTo>
                  <a:lnTo>
                    <a:pt x="419" y="312"/>
                  </a:lnTo>
                  <a:lnTo>
                    <a:pt x="429" y="322"/>
                  </a:lnTo>
                  <a:lnTo>
                    <a:pt x="429" y="303"/>
                  </a:lnTo>
                  <a:lnTo>
                    <a:pt x="439" y="303"/>
                  </a:lnTo>
                  <a:lnTo>
                    <a:pt x="448" y="293"/>
                  </a:lnTo>
                  <a:lnTo>
                    <a:pt x="448" y="283"/>
                  </a:lnTo>
                  <a:lnTo>
                    <a:pt x="458" y="283"/>
                  </a:lnTo>
                  <a:lnTo>
                    <a:pt x="458" y="273"/>
                  </a:lnTo>
                  <a:lnTo>
                    <a:pt x="448" y="273"/>
                  </a:lnTo>
                  <a:lnTo>
                    <a:pt x="448" y="264"/>
                  </a:lnTo>
                  <a:lnTo>
                    <a:pt x="458" y="264"/>
                  </a:lnTo>
                  <a:lnTo>
                    <a:pt x="468" y="264"/>
                  </a:lnTo>
                  <a:lnTo>
                    <a:pt x="478" y="273"/>
                  </a:lnTo>
                  <a:lnTo>
                    <a:pt x="487" y="264"/>
                  </a:lnTo>
                  <a:lnTo>
                    <a:pt x="507" y="244"/>
                  </a:lnTo>
                  <a:lnTo>
                    <a:pt x="507" y="234"/>
                  </a:lnTo>
                  <a:lnTo>
                    <a:pt x="526" y="234"/>
                  </a:lnTo>
                  <a:lnTo>
                    <a:pt x="526" y="244"/>
                  </a:lnTo>
                  <a:lnTo>
                    <a:pt x="546" y="234"/>
                  </a:lnTo>
                  <a:lnTo>
                    <a:pt x="556" y="225"/>
                  </a:lnTo>
                  <a:lnTo>
                    <a:pt x="575" y="215"/>
                  </a:lnTo>
                  <a:lnTo>
                    <a:pt x="575" y="225"/>
                  </a:lnTo>
                  <a:lnTo>
                    <a:pt x="595" y="225"/>
                  </a:lnTo>
                  <a:lnTo>
                    <a:pt x="604" y="215"/>
                  </a:lnTo>
                  <a:lnTo>
                    <a:pt x="624" y="215"/>
                  </a:lnTo>
                  <a:lnTo>
                    <a:pt x="634" y="215"/>
                  </a:lnTo>
                  <a:lnTo>
                    <a:pt x="643" y="215"/>
                  </a:lnTo>
                  <a:lnTo>
                    <a:pt x="653" y="215"/>
                  </a:lnTo>
                  <a:lnTo>
                    <a:pt x="663" y="215"/>
                  </a:lnTo>
                  <a:lnTo>
                    <a:pt x="673" y="215"/>
                  </a:lnTo>
                  <a:lnTo>
                    <a:pt x="673" y="205"/>
                  </a:lnTo>
                  <a:lnTo>
                    <a:pt x="653" y="205"/>
                  </a:lnTo>
                  <a:lnTo>
                    <a:pt x="643" y="205"/>
                  </a:lnTo>
                  <a:lnTo>
                    <a:pt x="643" y="195"/>
                  </a:lnTo>
                  <a:lnTo>
                    <a:pt x="643" y="186"/>
                  </a:lnTo>
                  <a:lnTo>
                    <a:pt x="653" y="176"/>
                  </a:lnTo>
                  <a:lnTo>
                    <a:pt x="663" y="186"/>
                  </a:lnTo>
                  <a:lnTo>
                    <a:pt x="673" y="186"/>
                  </a:lnTo>
                  <a:lnTo>
                    <a:pt x="673" y="176"/>
                  </a:lnTo>
                  <a:lnTo>
                    <a:pt x="683" y="176"/>
                  </a:lnTo>
                  <a:lnTo>
                    <a:pt x="683" y="186"/>
                  </a:lnTo>
                  <a:lnTo>
                    <a:pt x="692" y="186"/>
                  </a:lnTo>
                  <a:lnTo>
                    <a:pt x="702" y="186"/>
                  </a:lnTo>
                  <a:lnTo>
                    <a:pt x="712" y="186"/>
                  </a:lnTo>
                  <a:lnTo>
                    <a:pt x="722" y="186"/>
                  </a:lnTo>
                  <a:lnTo>
                    <a:pt x="731" y="186"/>
                  </a:lnTo>
                  <a:lnTo>
                    <a:pt x="741" y="186"/>
                  </a:lnTo>
                  <a:lnTo>
                    <a:pt x="741" y="195"/>
                  </a:lnTo>
                  <a:lnTo>
                    <a:pt x="731" y="205"/>
                  </a:lnTo>
                  <a:lnTo>
                    <a:pt x="731" y="215"/>
                  </a:lnTo>
                  <a:lnTo>
                    <a:pt x="741" y="205"/>
                  </a:lnTo>
                  <a:lnTo>
                    <a:pt x="751" y="205"/>
                  </a:lnTo>
                  <a:lnTo>
                    <a:pt x="751" y="215"/>
                  </a:lnTo>
                  <a:lnTo>
                    <a:pt x="761" y="205"/>
                  </a:lnTo>
                  <a:lnTo>
                    <a:pt x="770" y="205"/>
                  </a:lnTo>
                  <a:lnTo>
                    <a:pt x="780" y="205"/>
                  </a:lnTo>
                  <a:lnTo>
                    <a:pt x="790" y="205"/>
                  </a:lnTo>
                  <a:lnTo>
                    <a:pt x="790" y="195"/>
                  </a:lnTo>
                  <a:lnTo>
                    <a:pt x="800" y="186"/>
                  </a:lnTo>
                  <a:lnTo>
                    <a:pt x="800" y="176"/>
                  </a:lnTo>
                  <a:lnTo>
                    <a:pt x="809" y="176"/>
                  </a:lnTo>
                  <a:lnTo>
                    <a:pt x="819" y="166"/>
                  </a:lnTo>
                  <a:lnTo>
                    <a:pt x="839" y="176"/>
                  </a:lnTo>
                  <a:lnTo>
                    <a:pt x="848" y="186"/>
                  </a:lnTo>
                  <a:lnTo>
                    <a:pt x="858" y="195"/>
                  </a:lnTo>
                  <a:lnTo>
                    <a:pt x="858" y="176"/>
                  </a:lnTo>
                  <a:lnTo>
                    <a:pt x="839" y="176"/>
                  </a:lnTo>
                  <a:lnTo>
                    <a:pt x="839" y="156"/>
                  </a:lnTo>
                  <a:lnTo>
                    <a:pt x="829" y="156"/>
                  </a:lnTo>
                  <a:lnTo>
                    <a:pt x="829" y="137"/>
                  </a:lnTo>
                  <a:lnTo>
                    <a:pt x="839" y="137"/>
                  </a:lnTo>
                  <a:lnTo>
                    <a:pt x="848" y="147"/>
                  </a:lnTo>
                  <a:lnTo>
                    <a:pt x="868" y="147"/>
                  </a:lnTo>
                  <a:lnTo>
                    <a:pt x="878" y="147"/>
                  </a:lnTo>
                  <a:lnTo>
                    <a:pt x="887" y="137"/>
                  </a:lnTo>
                  <a:lnTo>
                    <a:pt x="897" y="147"/>
                  </a:lnTo>
                  <a:lnTo>
                    <a:pt x="907" y="156"/>
                  </a:lnTo>
                  <a:lnTo>
                    <a:pt x="926" y="156"/>
                  </a:lnTo>
                  <a:lnTo>
                    <a:pt x="917" y="147"/>
                  </a:lnTo>
                  <a:lnTo>
                    <a:pt x="907" y="137"/>
                  </a:lnTo>
                  <a:lnTo>
                    <a:pt x="897" y="137"/>
                  </a:lnTo>
                  <a:lnTo>
                    <a:pt x="897" y="108"/>
                  </a:lnTo>
                  <a:lnTo>
                    <a:pt x="887" y="108"/>
                  </a:lnTo>
                  <a:lnTo>
                    <a:pt x="887" y="98"/>
                  </a:lnTo>
                  <a:lnTo>
                    <a:pt x="887" y="88"/>
                  </a:lnTo>
                  <a:lnTo>
                    <a:pt x="897" y="88"/>
                  </a:lnTo>
                  <a:lnTo>
                    <a:pt x="897" y="78"/>
                  </a:lnTo>
                  <a:lnTo>
                    <a:pt x="897" y="69"/>
                  </a:lnTo>
                  <a:lnTo>
                    <a:pt x="907" y="59"/>
                  </a:lnTo>
                  <a:lnTo>
                    <a:pt x="917" y="39"/>
                  </a:lnTo>
                  <a:lnTo>
                    <a:pt x="926" y="49"/>
                  </a:lnTo>
                  <a:lnTo>
                    <a:pt x="926" y="30"/>
                  </a:lnTo>
                  <a:lnTo>
                    <a:pt x="936" y="20"/>
                  </a:lnTo>
                  <a:lnTo>
                    <a:pt x="946" y="10"/>
                  </a:lnTo>
                  <a:lnTo>
                    <a:pt x="956" y="10"/>
                  </a:lnTo>
                  <a:lnTo>
                    <a:pt x="965" y="10"/>
                  </a:lnTo>
                  <a:lnTo>
                    <a:pt x="965" y="0"/>
                  </a:lnTo>
                  <a:lnTo>
                    <a:pt x="975" y="0"/>
                  </a:lnTo>
                  <a:lnTo>
                    <a:pt x="975" y="10"/>
                  </a:lnTo>
                  <a:lnTo>
                    <a:pt x="995" y="10"/>
                  </a:lnTo>
                  <a:lnTo>
                    <a:pt x="1004" y="20"/>
                  </a:lnTo>
                  <a:lnTo>
                    <a:pt x="1014" y="20"/>
                  </a:lnTo>
                  <a:lnTo>
                    <a:pt x="1024" y="10"/>
                  </a:lnTo>
                  <a:lnTo>
                    <a:pt x="1024" y="30"/>
                  </a:lnTo>
                  <a:lnTo>
                    <a:pt x="1034" y="39"/>
                  </a:lnTo>
                  <a:lnTo>
                    <a:pt x="1024" y="39"/>
                  </a:lnTo>
                  <a:lnTo>
                    <a:pt x="1014" y="49"/>
                  </a:lnTo>
                  <a:lnTo>
                    <a:pt x="1004" y="59"/>
                  </a:lnTo>
                  <a:lnTo>
                    <a:pt x="995" y="59"/>
                  </a:lnTo>
                  <a:lnTo>
                    <a:pt x="985" y="69"/>
                  </a:lnTo>
                  <a:lnTo>
                    <a:pt x="1014" y="69"/>
                  </a:lnTo>
                  <a:lnTo>
                    <a:pt x="1024" y="69"/>
                  </a:lnTo>
                  <a:lnTo>
                    <a:pt x="1014" y="78"/>
                  </a:lnTo>
                  <a:lnTo>
                    <a:pt x="1024" y="78"/>
                  </a:lnTo>
                  <a:lnTo>
                    <a:pt x="1043" y="69"/>
                  </a:lnTo>
                  <a:lnTo>
                    <a:pt x="1053" y="78"/>
                  </a:lnTo>
                  <a:lnTo>
                    <a:pt x="1073" y="78"/>
                  </a:lnTo>
                  <a:lnTo>
                    <a:pt x="1073" y="88"/>
                  </a:lnTo>
                  <a:lnTo>
                    <a:pt x="1063" y="98"/>
                  </a:lnTo>
                  <a:lnTo>
                    <a:pt x="1053" y="108"/>
                  </a:lnTo>
                  <a:lnTo>
                    <a:pt x="1053" y="127"/>
                  </a:lnTo>
                  <a:lnTo>
                    <a:pt x="1053" y="137"/>
                  </a:lnTo>
                  <a:lnTo>
                    <a:pt x="1063" y="127"/>
                  </a:lnTo>
                  <a:lnTo>
                    <a:pt x="1073" y="127"/>
                  </a:lnTo>
                  <a:lnTo>
                    <a:pt x="1092" y="127"/>
                  </a:lnTo>
                  <a:lnTo>
                    <a:pt x="1092" y="117"/>
                  </a:lnTo>
                  <a:lnTo>
                    <a:pt x="1092" y="108"/>
                  </a:lnTo>
                  <a:lnTo>
                    <a:pt x="1102" y="98"/>
                  </a:lnTo>
                  <a:lnTo>
                    <a:pt x="1112" y="98"/>
                  </a:lnTo>
                  <a:lnTo>
                    <a:pt x="1121" y="98"/>
                  </a:lnTo>
                  <a:lnTo>
                    <a:pt x="1131" y="98"/>
                  </a:lnTo>
                  <a:lnTo>
                    <a:pt x="1141" y="98"/>
                  </a:lnTo>
                  <a:lnTo>
                    <a:pt x="1151" y="98"/>
                  </a:lnTo>
                  <a:lnTo>
                    <a:pt x="1160" y="88"/>
                  </a:lnTo>
                  <a:lnTo>
                    <a:pt x="1170" y="88"/>
                  </a:lnTo>
                  <a:lnTo>
                    <a:pt x="1180" y="88"/>
                  </a:lnTo>
                  <a:lnTo>
                    <a:pt x="1190" y="98"/>
                  </a:lnTo>
                  <a:lnTo>
                    <a:pt x="1199" y="98"/>
                  </a:lnTo>
                  <a:lnTo>
                    <a:pt x="1199" y="108"/>
                  </a:lnTo>
                  <a:lnTo>
                    <a:pt x="1209" y="108"/>
                  </a:lnTo>
                  <a:lnTo>
                    <a:pt x="1219" y="117"/>
                  </a:lnTo>
                  <a:lnTo>
                    <a:pt x="1219" y="127"/>
                  </a:lnTo>
                  <a:lnTo>
                    <a:pt x="1238" y="127"/>
                  </a:lnTo>
                  <a:lnTo>
                    <a:pt x="1238" y="137"/>
                  </a:lnTo>
                  <a:lnTo>
                    <a:pt x="1238" y="147"/>
                  </a:lnTo>
                  <a:lnTo>
                    <a:pt x="1248" y="147"/>
                  </a:lnTo>
                  <a:lnTo>
                    <a:pt x="1248" y="156"/>
                  </a:lnTo>
                  <a:lnTo>
                    <a:pt x="1258" y="156"/>
                  </a:lnTo>
                  <a:lnTo>
                    <a:pt x="1258" y="147"/>
                  </a:lnTo>
                  <a:lnTo>
                    <a:pt x="1248" y="137"/>
                  </a:lnTo>
                  <a:lnTo>
                    <a:pt x="1258" y="127"/>
                  </a:lnTo>
                  <a:lnTo>
                    <a:pt x="1258" y="137"/>
                  </a:lnTo>
                  <a:lnTo>
                    <a:pt x="1268" y="147"/>
                  </a:lnTo>
                  <a:lnTo>
                    <a:pt x="1268" y="156"/>
                  </a:lnTo>
                  <a:lnTo>
                    <a:pt x="1278" y="176"/>
                  </a:lnTo>
                  <a:lnTo>
                    <a:pt x="1287" y="166"/>
                  </a:lnTo>
                  <a:lnTo>
                    <a:pt x="1287" y="186"/>
                  </a:lnTo>
                  <a:lnTo>
                    <a:pt x="1287" y="205"/>
                  </a:lnTo>
                  <a:lnTo>
                    <a:pt x="1278" y="205"/>
                  </a:lnTo>
                  <a:lnTo>
                    <a:pt x="1278" y="195"/>
                  </a:lnTo>
                  <a:lnTo>
                    <a:pt x="1258" y="195"/>
                  </a:lnTo>
                  <a:lnTo>
                    <a:pt x="1258" y="186"/>
                  </a:lnTo>
                  <a:lnTo>
                    <a:pt x="1248" y="186"/>
                  </a:lnTo>
                  <a:lnTo>
                    <a:pt x="1248" y="195"/>
                  </a:lnTo>
                  <a:lnTo>
                    <a:pt x="1258" y="205"/>
                  </a:lnTo>
                  <a:lnTo>
                    <a:pt x="1258" y="215"/>
                  </a:lnTo>
                  <a:lnTo>
                    <a:pt x="1268" y="205"/>
                  </a:lnTo>
                  <a:lnTo>
                    <a:pt x="1278" y="215"/>
                  </a:lnTo>
                  <a:lnTo>
                    <a:pt x="1287" y="215"/>
                  </a:lnTo>
                  <a:lnTo>
                    <a:pt x="1297" y="234"/>
                  </a:lnTo>
                  <a:lnTo>
                    <a:pt x="1297" y="244"/>
                  </a:lnTo>
                  <a:lnTo>
                    <a:pt x="1287" y="264"/>
                  </a:lnTo>
                  <a:lnTo>
                    <a:pt x="1287" y="273"/>
                  </a:lnTo>
                  <a:lnTo>
                    <a:pt x="1278" y="283"/>
                  </a:lnTo>
                  <a:lnTo>
                    <a:pt x="1258" y="293"/>
                  </a:lnTo>
                  <a:lnTo>
                    <a:pt x="1258" y="303"/>
                  </a:lnTo>
                  <a:lnTo>
                    <a:pt x="1258" y="322"/>
                  </a:lnTo>
                  <a:lnTo>
                    <a:pt x="1229" y="322"/>
                  </a:lnTo>
                  <a:lnTo>
                    <a:pt x="1229" y="332"/>
                  </a:lnTo>
                  <a:lnTo>
                    <a:pt x="1209" y="342"/>
                  </a:lnTo>
                  <a:lnTo>
                    <a:pt x="1209" y="351"/>
                  </a:lnTo>
                  <a:lnTo>
                    <a:pt x="1199" y="361"/>
                  </a:lnTo>
                  <a:lnTo>
                    <a:pt x="1190" y="361"/>
                  </a:lnTo>
                  <a:lnTo>
                    <a:pt x="1180" y="371"/>
                  </a:lnTo>
                  <a:lnTo>
                    <a:pt x="1199" y="371"/>
                  </a:lnTo>
                  <a:lnTo>
                    <a:pt x="1199" y="381"/>
                  </a:lnTo>
                  <a:lnTo>
                    <a:pt x="1190" y="391"/>
                  </a:lnTo>
                  <a:lnTo>
                    <a:pt x="1170" y="410"/>
                  </a:lnTo>
                  <a:lnTo>
                    <a:pt x="1160" y="420"/>
                  </a:lnTo>
                  <a:lnTo>
                    <a:pt x="1151" y="430"/>
                  </a:lnTo>
                  <a:lnTo>
                    <a:pt x="1151" y="449"/>
                  </a:lnTo>
                  <a:lnTo>
                    <a:pt x="1131" y="449"/>
                  </a:lnTo>
                  <a:lnTo>
                    <a:pt x="1121" y="449"/>
                  </a:lnTo>
                  <a:lnTo>
                    <a:pt x="1112" y="459"/>
                  </a:lnTo>
                  <a:lnTo>
                    <a:pt x="1112" y="469"/>
                  </a:lnTo>
                  <a:lnTo>
                    <a:pt x="1112" y="478"/>
                  </a:lnTo>
                  <a:lnTo>
                    <a:pt x="1102" y="488"/>
                  </a:lnTo>
                  <a:lnTo>
                    <a:pt x="1082" y="488"/>
                  </a:lnTo>
                  <a:lnTo>
                    <a:pt x="1073" y="498"/>
                  </a:lnTo>
                  <a:lnTo>
                    <a:pt x="1073" y="527"/>
                  </a:lnTo>
                  <a:lnTo>
                    <a:pt x="1063" y="537"/>
                  </a:lnTo>
                  <a:lnTo>
                    <a:pt x="1043" y="556"/>
                  </a:lnTo>
                  <a:lnTo>
                    <a:pt x="1063" y="556"/>
                  </a:lnTo>
                  <a:lnTo>
                    <a:pt x="1073" y="556"/>
                  </a:lnTo>
                  <a:lnTo>
                    <a:pt x="1073" y="547"/>
                  </a:lnTo>
                  <a:lnTo>
                    <a:pt x="1082" y="537"/>
                  </a:lnTo>
                  <a:lnTo>
                    <a:pt x="1082" y="517"/>
                  </a:lnTo>
                  <a:lnTo>
                    <a:pt x="1082" y="508"/>
                  </a:lnTo>
                  <a:lnTo>
                    <a:pt x="1121" y="508"/>
                  </a:lnTo>
                  <a:lnTo>
                    <a:pt x="1141" y="508"/>
                  </a:lnTo>
                  <a:lnTo>
                    <a:pt x="1141" y="498"/>
                  </a:lnTo>
                  <a:lnTo>
                    <a:pt x="1151" y="498"/>
                  </a:lnTo>
                  <a:lnTo>
                    <a:pt x="1160" y="488"/>
                  </a:lnTo>
                  <a:lnTo>
                    <a:pt x="1170" y="478"/>
                  </a:lnTo>
                  <a:lnTo>
                    <a:pt x="1180" y="478"/>
                  </a:lnTo>
                  <a:lnTo>
                    <a:pt x="1180" y="459"/>
                  </a:lnTo>
                  <a:lnTo>
                    <a:pt x="1199" y="469"/>
                  </a:lnTo>
                  <a:lnTo>
                    <a:pt x="1209" y="459"/>
                  </a:lnTo>
                  <a:lnTo>
                    <a:pt x="1219" y="449"/>
                  </a:lnTo>
                  <a:lnTo>
                    <a:pt x="1219" y="439"/>
                  </a:lnTo>
                  <a:lnTo>
                    <a:pt x="1229" y="439"/>
                  </a:lnTo>
                  <a:lnTo>
                    <a:pt x="1229" y="420"/>
                  </a:lnTo>
                  <a:lnTo>
                    <a:pt x="1219" y="430"/>
                  </a:lnTo>
                  <a:lnTo>
                    <a:pt x="1209" y="430"/>
                  </a:lnTo>
                  <a:lnTo>
                    <a:pt x="1199" y="439"/>
                  </a:lnTo>
                  <a:lnTo>
                    <a:pt x="1190" y="430"/>
                  </a:lnTo>
                  <a:lnTo>
                    <a:pt x="1190" y="420"/>
                  </a:lnTo>
                  <a:lnTo>
                    <a:pt x="1199" y="410"/>
                  </a:lnTo>
                  <a:lnTo>
                    <a:pt x="1199" y="400"/>
                  </a:lnTo>
                  <a:lnTo>
                    <a:pt x="1209" y="391"/>
                  </a:lnTo>
                  <a:lnTo>
                    <a:pt x="1219" y="400"/>
                  </a:lnTo>
                  <a:lnTo>
                    <a:pt x="1229" y="410"/>
                  </a:lnTo>
                  <a:lnTo>
                    <a:pt x="1238" y="410"/>
                  </a:lnTo>
                  <a:lnTo>
                    <a:pt x="1248" y="410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8" name="Freeform 61"/>
            <p:cNvSpPr>
              <a:spLocks/>
            </p:cNvSpPr>
            <p:nvPr/>
          </p:nvSpPr>
          <p:spPr bwMode="auto">
            <a:xfrm>
              <a:off x="4782" y="1951"/>
              <a:ext cx="1033" cy="1295"/>
            </a:xfrm>
            <a:custGeom>
              <a:avLst/>
              <a:gdLst>
                <a:gd name="T0" fmla="*/ 877 w 1034"/>
                <a:gd name="T1" fmla="*/ 166 h 1298"/>
                <a:gd name="T2" fmla="*/ 868 w 1034"/>
                <a:gd name="T3" fmla="*/ 303 h 1298"/>
                <a:gd name="T4" fmla="*/ 858 w 1034"/>
                <a:gd name="T5" fmla="*/ 342 h 1298"/>
                <a:gd name="T6" fmla="*/ 868 w 1034"/>
                <a:gd name="T7" fmla="*/ 391 h 1298"/>
                <a:gd name="T8" fmla="*/ 897 w 1034"/>
                <a:gd name="T9" fmla="*/ 469 h 1298"/>
                <a:gd name="T10" fmla="*/ 897 w 1034"/>
                <a:gd name="T11" fmla="*/ 527 h 1298"/>
                <a:gd name="T12" fmla="*/ 868 w 1034"/>
                <a:gd name="T13" fmla="*/ 615 h 1298"/>
                <a:gd name="T14" fmla="*/ 916 w 1034"/>
                <a:gd name="T15" fmla="*/ 615 h 1298"/>
                <a:gd name="T16" fmla="*/ 1004 w 1034"/>
                <a:gd name="T17" fmla="*/ 635 h 1298"/>
                <a:gd name="T18" fmla="*/ 1034 w 1034"/>
                <a:gd name="T19" fmla="*/ 653 h 1298"/>
                <a:gd name="T20" fmla="*/ 936 w 1034"/>
                <a:gd name="T21" fmla="*/ 663 h 1298"/>
                <a:gd name="T22" fmla="*/ 926 w 1034"/>
                <a:gd name="T23" fmla="*/ 672 h 1298"/>
                <a:gd name="T24" fmla="*/ 926 w 1034"/>
                <a:gd name="T25" fmla="*/ 721 h 1298"/>
                <a:gd name="T26" fmla="*/ 916 w 1034"/>
                <a:gd name="T27" fmla="*/ 780 h 1298"/>
                <a:gd name="T28" fmla="*/ 936 w 1034"/>
                <a:gd name="T29" fmla="*/ 877 h 1298"/>
                <a:gd name="T30" fmla="*/ 887 w 1034"/>
                <a:gd name="T31" fmla="*/ 955 h 1298"/>
                <a:gd name="T32" fmla="*/ 858 w 1034"/>
                <a:gd name="T33" fmla="*/ 994 h 1298"/>
                <a:gd name="T34" fmla="*/ 848 w 1034"/>
                <a:gd name="T35" fmla="*/ 1033 h 1298"/>
                <a:gd name="T36" fmla="*/ 887 w 1034"/>
                <a:gd name="T37" fmla="*/ 1082 h 1298"/>
                <a:gd name="T38" fmla="*/ 887 w 1034"/>
                <a:gd name="T39" fmla="*/ 1141 h 1298"/>
                <a:gd name="T40" fmla="*/ 897 w 1034"/>
                <a:gd name="T41" fmla="*/ 1189 h 1298"/>
                <a:gd name="T42" fmla="*/ 877 w 1034"/>
                <a:gd name="T43" fmla="*/ 1248 h 1298"/>
                <a:gd name="T44" fmla="*/ 848 w 1034"/>
                <a:gd name="T45" fmla="*/ 1267 h 1298"/>
                <a:gd name="T46" fmla="*/ 770 w 1034"/>
                <a:gd name="T47" fmla="*/ 1228 h 1298"/>
                <a:gd name="T48" fmla="*/ 721 w 1034"/>
                <a:gd name="T49" fmla="*/ 1209 h 1298"/>
                <a:gd name="T50" fmla="*/ 702 w 1034"/>
                <a:gd name="T51" fmla="*/ 1170 h 1298"/>
                <a:gd name="T52" fmla="*/ 604 w 1034"/>
                <a:gd name="T53" fmla="*/ 1150 h 1298"/>
                <a:gd name="T54" fmla="*/ 526 w 1034"/>
                <a:gd name="T55" fmla="*/ 1150 h 1298"/>
                <a:gd name="T56" fmla="*/ 429 w 1034"/>
                <a:gd name="T57" fmla="*/ 1150 h 1298"/>
                <a:gd name="T58" fmla="*/ 351 w 1034"/>
                <a:gd name="T59" fmla="*/ 1160 h 1298"/>
                <a:gd name="T60" fmla="*/ 292 w 1034"/>
                <a:gd name="T61" fmla="*/ 1160 h 1298"/>
                <a:gd name="T62" fmla="*/ 312 w 1034"/>
                <a:gd name="T63" fmla="*/ 1053 h 1298"/>
                <a:gd name="T64" fmla="*/ 273 w 1034"/>
                <a:gd name="T65" fmla="*/ 994 h 1298"/>
                <a:gd name="T66" fmla="*/ 195 w 1034"/>
                <a:gd name="T67" fmla="*/ 975 h 1298"/>
                <a:gd name="T68" fmla="*/ 175 w 1034"/>
                <a:gd name="T69" fmla="*/ 975 h 1298"/>
                <a:gd name="T70" fmla="*/ 146 w 1034"/>
                <a:gd name="T71" fmla="*/ 1004 h 1298"/>
                <a:gd name="T72" fmla="*/ 107 w 1034"/>
                <a:gd name="T73" fmla="*/ 1024 h 1298"/>
                <a:gd name="T74" fmla="*/ 58 w 1034"/>
                <a:gd name="T75" fmla="*/ 975 h 1298"/>
                <a:gd name="T76" fmla="*/ 19 w 1034"/>
                <a:gd name="T77" fmla="*/ 838 h 1298"/>
                <a:gd name="T78" fmla="*/ 136 w 1034"/>
                <a:gd name="T79" fmla="*/ 770 h 1298"/>
                <a:gd name="T80" fmla="*/ 136 w 1034"/>
                <a:gd name="T81" fmla="*/ 692 h 1298"/>
                <a:gd name="T82" fmla="*/ 156 w 1034"/>
                <a:gd name="T83" fmla="*/ 635 h 1298"/>
                <a:gd name="T84" fmla="*/ 107 w 1034"/>
                <a:gd name="T85" fmla="*/ 605 h 1298"/>
                <a:gd name="T86" fmla="*/ 78 w 1034"/>
                <a:gd name="T87" fmla="*/ 596 h 1298"/>
                <a:gd name="T88" fmla="*/ 39 w 1034"/>
                <a:gd name="T89" fmla="*/ 566 h 1298"/>
                <a:gd name="T90" fmla="*/ 19 w 1034"/>
                <a:gd name="T91" fmla="*/ 430 h 1298"/>
                <a:gd name="T92" fmla="*/ 97 w 1034"/>
                <a:gd name="T93" fmla="*/ 361 h 1298"/>
                <a:gd name="T94" fmla="*/ 156 w 1034"/>
                <a:gd name="T95" fmla="*/ 303 h 1298"/>
                <a:gd name="T96" fmla="*/ 214 w 1034"/>
                <a:gd name="T97" fmla="*/ 244 h 1298"/>
                <a:gd name="T98" fmla="*/ 253 w 1034"/>
                <a:gd name="T99" fmla="*/ 186 h 1298"/>
                <a:gd name="T100" fmla="*/ 312 w 1034"/>
                <a:gd name="T101" fmla="*/ 166 h 1298"/>
                <a:gd name="T102" fmla="*/ 360 w 1034"/>
                <a:gd name="T103" fmla="*/ 88 h 1298"/>
                <a:gd name="T104" fmla="*/ 439 w 1034"/>
                <a:gd name="T105" fmla="*/ 30 h 1298"/>
                <a:gd name="T106" fmla="*/ 497 w 1034"/>
                <a:gd name="T107" fmla="*/ 10 h 1298"/>
                <a:gd name="T108" fmla="*/ 595 w 1034"/>
                <a:gd name="T109" fmla="*/ 30 h 1298"/>
                <a:gd name="T110" fmla="*/ 643 w 1034"/>
                <a:gd name="T111" fmla="*/ 49 h 1298"/>
                <a:gd name="T112" fmla="*/ 692 w 1034"/>
                <a:gd name="T113" fmla="*/ 69 h 1298"/>
                <a:gd name="T114" fmla="*/ 760 w 1034"/>
                <a:gd name="T115" fmla="*/ 49 h 1298"/>
                <a:gd name="T116" fmla="*/ 829 w 1034"/>
                <a:gd name="T117" fmla="*/ 39 h 129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34"/>
                <a:gd name="T178" fmla="*/ 0 h 1298"/>
                <a:gd name="T179" fmla="*/ 1034 w 1034"/>
                <a:gd name="T180" fmla="*/ 1298 h 129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34" h="1298">
                  <a:moveTo>
                    <a:pt x="838" y="59"/>
                  </a:moveTo>
                  <a:lnTo>
                    <a:pt x="858" y="69"/>
                  </a:lnTo>
                  <a:lnTo>
                    <a:pt x="868" y="108"/>
                  </a:lnTo>
                  <a:lnTo>
                    <a:pt x="877" y="166"/>
                  </a:lnTo>
                  <a:lnTo>
                    <a:pt x="877" y="225"/>
                  </a:lnTo>
                  <a:lnTo>
                    <a:pt x="887" y="283"/>
                  </a:lnTo>
                  <a:lnTo>
                    <a:pt x="877" y="303"/>
                  </a:lnTo>
                  <a:lnTo>
                    <a:pt x="868" y="303"/>
                  </a:lnTo>
                  <a:lnTo>
                    <a:pt x="858" y="313"/>
                  </a:lnTo>
                  <a:lnTo>
                    <a:pt x="848" y="322"/>
                  </a:lnTo>
                  <a:lnTo>
                    <a:pt x="838" y="342"/>
                  </a:lnTo>
                  <a:lnTo>
                    <a:pt x="858" y="342"/>
                  </a:lnTo>
                  <a:lnTo>
                    <a:pt x="868" y="352"/>
                  </a:lnTo>
                  <a:lnTo>
                    <a:pt x="877" y="371"/>
                  </a:lnTo>
                  <a:lnTo>
                    <a:pt x="868" y="391"/>
                  </a:lnTo>
                  <a:lnTo>
                    <a:pt x="868" y="410"/>
                  </a:lnTo>
                  <a:lnTo>
                    <a:pt x="887" y="420"/>
                  </a:lnTo>
                  <a:lnTo>
                    <a:pt x="897" y="439"/>
                  </a:lnTo>
                  <a:lnTo>
                    <a:pt x="897" y="469"/>
                  </a:lnTo>
                  <a:lnTo>
                    <a:pt x="907" y="488"/>
                  </a:lnTo>
                  <a:lnTo>
                    <a:pt x="916" y="498"/>
                  </a:lnTo>
                  <a:lnTo>
                    <a:pt x="916" y="508"/>
                  </a:lnTo>
                  <a:lnTo>
                    <a:pt x="897" y="527"/>
                  </a:lnTo>
                  <a:lnTo>
                    <a:pt x="877" y="547"/>
                  </a:lnTo>
                  <a:lnTo>
                    <a:pt x="877" y="576"/>
                  </a:lnTo>
                  <a:lnTo>
                    <a:pt x="868" y="596"/>
                  </a:lnTo>
                  <a:lnTo>
                    <a:pt x="868" y="615"/>
                  </a:lnTo>
                  <a:lnTo>
                    <a:pt x="887" y="615"/>
                  </a:lnTo>
                  <a:lnTo>
                    <a:pt x="907" y="625"/>
                  </a:lnTo>
                  <a:lnTo>
                    <a:pt x="907" y="615"/>
                  </a:lnTo>
                  <a:lnTo>
                    <a:pt x="916" y="615"/>
                  </a:lnTo>
                  <a:lnTo>
                    <a:pt x="926" y="625"/>
                  </a:lnTo>
                  <a:lnTo>
                    <a:pt x="955" y="635"/>
                  </a:lnTo>
                  <a:lnTo>
                    <a:pt x="965" y="625"/>
                  </a:lnTo>
                  <a:lnTo>
                    <a:pt x="1004" y="635"/>
                  </a:lnTo>
                  <a:lnTo>
                    <a:pt x="1004" y="625"/>
                  </a:lnTo>
                  <a:lnTo>
                    <a:pt x="1014" y="625"/>
                  </a:lnTo>
                  <a:lnTo>
                    <a:pt x="1024" y="635"/>
                  </a:lnTo>
                  <a:lnTo>
                    <a:pt x="1034" y="664"/>
                  </a:lnTo>
                  <a:lnTo>
                    <a:pt x="985" y="654"/>
                  </a:lnTo>
                  <a:lnTo>
                    <a:pt x="965" y="674"/>
                  </a:lnTo>
                  <a:lnTo>
                    <a:pt x="955" y="674"/>
                  </a:lnTo>
                  <a:lnTo>
                    <a:pt x="936" y="674"/>
                  </a:lnTo>
                  <a:lnTo>
                    <a:pt x="926" y="664"/>
                  </a:lnTo>
                  <a:lnTo>
                    <a:pt x="916" y="664"/>
                  </a:lnTo>
                  <a:lnTo>
                    <a:pt x="916" y="674"/>
                  </a:lnTo>
                  <a:lnTo>
                    <a:pt x="926" y="683"/>
                  </a:lnTo>
                  <a:lnTo>
                    <a:pt x="926" y="713"/>
                  </a:lnTo>
                  <a:lnTo>
                    <a:pt x="946" y="732"/>
                  </a:lnTo>
                  <a:lnTo>
                    <a:pt x="936" y="742"/>
                  </a:lnTo>
                  <a:lnTo>
                    <a:pt x="926" y="732"/>
                  </a:lnTo>
                  <a:lnTo>
                    <a:pt x="926" y="752"/>
                  </a:lnTo>
                  <a:lnTo>
                    <a:pt x="926" y="771"/>
                  </a:lnTo>
                  <a:lnTo>
                    <a:pt x="916" y="781"/>
                  </a:lnTo>
                  <a:lnTo>
                    <a:pt x="916" y="791"/>
                  </a:lnTo>
                  <a:lnTo>
                    <a:pt x="936" y="800"/>
                  </a:lnTo>
                  <a:lnTo>
                    <a:pt x="946" y="830"/>
                  </a:lnTo>
                  <a:lnTo>
                    <a:pt x="936" y="849"/>
                  </a:lnTo>
                  <a:lnTo>
                    <a:pt x="936" y="888"/>
                  </a:lnTo>
                  <a:lnTo>
                    <a:pt x="907" y="908"/>
                  </a:lnTo>
                  <a:lnTo>
                    <a:pt x="907" y="917"/>
                  </a:lnTo>
                  <a:lnTo>
                    <a:pt x="916" y="947"/>
                  </a:lnTo>
                  <a:lnTo>
                    <a:pt x="887" y="966"/>
                  </a:lnTo>
                  <a:lnTo>
                    <a:pt x="868" y="976"/>
                  </a:lnTo>
                  <a:lnTo>
                    <a:pt x="858" y="976"/>
                  </a:lnTo>
                  <a:lnTo>
                    <a:pt x="848" y="986"/>
                  </a:lnTo>
                  <a:lnTo>
                    <a:pt x="858" y="1005"/>
                  </a:lnTo>
                  <a:lnTo>
                    <a:pt x="848" y="1015"/>
                  </a:lnTo>
                  <a:lnTo>
                    <a:pt x="848" y="1035"/>
                  </a:lnTo>
                  <a:lnTo>
                    <a:pt x="848" y="1044"/>
                  </a:lnTo>
                  <a:lnTo>
                    <a:pt x="848" y="1054"/>
                  </a:lnTo>
                  <a:lnTo>
                    <a:pt x="848" y="1074"/>
                  </a:lnTo>
                  <a:lnTo>
                    <a:pt x="868" y="1093"/>
                  </a:lnTo>
                  <a:lnTo>
                    <a:pt x="887" y="1093"/>
                  </a:lnTo>
                  <a:lnTo>
                    <a:pt x="897" y="1103"/>
                  </a:lnTo>
                  <a:lnTo>
                    <a:pt x="907" y="1122"/>
                  </a:lnTo>
                  <a:lnTo>
                    <a:pt x="907" y="1142"/>
                  </a:lnTo>
                  <a:lnTo>
                    <a:pt x="887" y="1152"/>
                  </a:lnTo>
                  <a:lnTo>
                    <a:pt x="868" y="1161"/>
                  </a:lnTo>
                  <a:lnTo>
                    <a:pt x="868" y="1181"/>
                  </a:lnTo>
                  <a:lnTo>
                    <a:pt x="877" y="1181"/>
                  </a:lnTo>
                  <a:lnTo>
                    <a:pt x="897" y="1200"/>
                  </a:lnTo>
                  <a:lnTo>
                    <a:pt x="897" y="1210"/>
                  </a:lnTo>
                  <a:lnTo>
                    <a:pt x="907" y="1220"/>
                  </a:lnTo>
                  <a:lnTo>
                    <a:pt x="907" y="1230"/>
                  </a:lnTo>
                  <a:lnTo>
                    <a:pt x="877" y="1259"/>
                  </a:lnTo>
                  <a:lnTo>
                    <a:pt x="868" y="1269"/>
                  </a:lnTo>
                  <a:lnTo>
                    <a:pt x="877" y="1288"/>
                  </a:lnTo>
                  <a:lnTo>
                    <a:pt x="868" y="1298"/>
                  </a:lnTo>
                  <a:lnTo>
                    <a:pt x="848" y="1278"/>
                  </a:lnTo>
                  <a:lnTo>
                    <a:pt x="819" y="1278"/>
                  </a:lnTo>
                  <a:lnTo>
                    <a:pt x="819" y="1259"/>
                  </a:lnTo>
                  <a:lnTo>
                    <a:pt x="790" y="1259"/>
                  </a:lnTo>
                  <a:lnTo>
                    <a:pt x="770" y="1239"/>
                  </a:lnTo>
                  <a:lnTo>
                    <a:pt x="760" y="1259"/>
                  </a:lnTo>
                  <a:lnTo>
                    <a:pt x="741" y="1269"/>
                  </a:lnTo>
                  <a:lnTo>
                    <a:pt x="721" y="1220"/>
                  </a:lnTo>
                  <a:lnTo>
                    <a:pt x="731" y="1200"/>
                  </a:lnTo>
                  <a:lnTo>
                    <a:pt x="731" y="1181"/>
                  </a:lnTo>
                  <a:lnTo>
                    <a:pt x="721" y="1171"/>
                  </a:lnTo>
                  <a:lnTo>
                    <a:pt x="702" y="1181"/>
                  </a:lnTo>
                  <a:lnTo>
                    <a:pt x="692" y="1171"/>
                  </a:lnTo>
                  <a:lnTo>
                    <a:pt x="663" y="1161"/>
                  </a:lnTo>
                  <a:lnTo>
                    <a:pt x="634" y="1161"/>
                  </a:lnTo>
                  <a:lnTo>
                    <a:pt x="604" y="1161"/>
                  </a:lnTo>
                  <a:lnTo>
                    <a:pt x="565" y="1132"/>
                  </a:lnTo>
                  <a:lnTo>
                    <a:pt x="556" y="1132"/>
                  </a:lnTo>
                  <a:lnTo>
                    <a:pt x="546" y="1152"/>
                  </a:lnTo>
                  <a:lnTo>
                    <a:pt x="526" y="1161"/>
                  </a:lnTo>
                  <a:lnTo>
                    <a:pt x="497" y="1161"/>
                  </a:lnTo>
                  <a:lnTo>
                    <a:pt x="468" y="1161"/>
                  </a:lnTo>
                  <a:lnTo>
                    <a:pt x="448" y="1161"/>
                  </a:lnTo>
                  <a:lnTo>
                    <a:pt x="429" y="1161"/>
                  </a:lnTo>
                  <a:lnTo>
                    <a:pt x="419" y="1171"/>
                  </a:lnTo>
                  <a:lnTo>
                    <a:pt x="400" y="1181"/>
                  </a:lnTo>
                  <a:lnTo>
                    <a:pt x="351" y="1181"/>
                  </a:lnTo>
                  <a:lnTo>
                    <a:pt x="351" y="1171"/>
                  </a:lnTo>
                  <a:lnTo>
                    <a:pt x="331" y="1171"/>
                  </a:lnTo>
                  <a:lnTo>
                    <a:pt x="321" y="1181"/>
                  </a:lnTo>
                  <a:lnTo>
                    <a:pt x="312" y="1161"/>
                  </a:lnTo>
                  <a:lnTo>
                    <a:pt x="292" y="1171"/>
                  </a:lnTo>
                  <a:lnTo>
                    <a:pt x="292" y="1161"/>
                  </a:lnTo>
                  <a:lnTo>
                    <a:pt x="292" y="1103"/>
                  </a:lnTo>
                  <a:lnTo>
                    <a:pt x="302" y="1093"/>
                  </a:lnTo>
                  <a:lnTo>
                    <a:pt x="312" y="1064"/>
                  </a:lnTo>
                  <a:lnTo>
                    <a:pt x="312" y="1044"/>
                  </a:lnTo>
                  <a:lnTo>
                    <a:pt x="302" y="1025"/>
                  </a:lnTo>
                  <a:lnTo>
                    <a:pt x="282" y="1015"/>
                  </a:lnTo>
                  <a:lnTo>
                    <a:pt x="273" y="1005"/>
                  </a:lnTo>
                  <a:lnTo>
                    <a:pt x="243" y="1005"/>
                  </a:lnTo>
                  <a:lnTo>
                    <a:pt x="214" y="996"/>
                  </a:lnTo>
                  <a:lnTo>
                    <a:pt x="195" y="996"/>
                  </a:lnTo>
                  <a:lnTo>
                    <a:pt x="195" y="986"/>
                  </a:lnTo>
                  <a:lnTo>
                    <a:pt x="204" y="966"/>
                  </a:lnTo>
                  <a:lnTo>
                    <a:pt x="185" y="966"/>
                  </a:lnTo>
                  <a:lnTo>
                    <a:pt x="175" y="976"/>
                  </a:lnTo>
                  <a:lnTo>
                    <a:pt x="175" y="986"/>
                  </a:lnTo>
                  <a:lnTo>
                    <a:pt x="165" y="996"/>
                  </a:lnTo>
                  <a:lnTo>
                    <a:pt x="156" y="996"/>
                  </a:lnTo>
                  <a:lnTo>
                    <a:pt x="156" y="1005"/>
                  </a:lnTo>
                  <a:lnTo>
                    <a:pt x="146" y="1015"/>
                  </a:lnTo>
                  <a:lnTo>
                    <a:pt x="146" y="1005"/>
                  </a:lnTo>
                  <a:lnTo>
                    <a:pt x="126" y="1015"/>
                  </a:lnTo>
                  <a:lnTo>
                    <a:pt x="117" y="1025"/>
                  </a:lnTo>
                  <a:lnTo>
                    <a:pt x="107" y="1035"/>
                  </a:lnTo>
                  <a:lnTo>
                    <a:pt x="87" y="1035"/>
                  </a:lnTo>
                  <a:lnTo>
                    <a:pt x="87" y="1025"/>
                  </a:lnTo>
                  <a:lnTo>
                    <a:pt x="78" y="1005"/>
                  </a:lnTo>
                  <a:lnTo>
                    <a:pt x="58" y="986"/>
                  </a:lnTo>
                  <a:lnTo>
                    <a:pt x="39" y="947"/>
                  </a:lnTo>
                  <a:lnTo>
                    <a:pt x="58" y="917"/>
                  </a:lnTo>
                  <a:lnTo>
                    <a:pt x="58" y="888"/>
                  </a:lnTo>
                  <a:lnTo>
                    <a:pt x="19" y="849"/>
                  </a:lnTo>
                  <a:lnTo>
                    <a:pt x="78" y="830"/>
                  </a:lnTo>
                  <a:lnTo>
                    <a:pt x="87" y="810"/>
                  </a:lnTo>
                  <a:lnTo>
                    <a:pt x="107" y="791"/>
                  </a:lnTo>
                  <a:lnTo>
                    <a:pt x="136" y="781"/>
                  </a:lnTo>
                  <a:lnTo>
                    <a:pt x="146" y="742"/>
                  </a:lnTo>
                  <a:lnTo>
                    <a:pt x="146" y="722"/>
                  </a:lnTo>
                  <a:lnTo>
                    <a:pt x="136" y="722"/>
                  </a:lnTo>
                  <a:lnTo>
                    <a:pt x="136" y="703"/>
                  </a:lnTo>
                  <a:lnTo>
                    <a:pt x="156" y="693"/>
                  </a:lnTo>
                  <a:lnTo>
                    <a:pt x="165" y="674"/>
                  </a:lnTo>
                  <a:lnTo>
                    <a:pt x="165" y="654"/>
                  </a:lnTo>
                  <a:lnTo>
                    <a:pt x="156" y="635"/>
                  </a:lnTo>
                  <a:lnTo>
                    <a:pt x="146" y="615"/>
                  </a:lnTo>
                  <a:lnTo>
                    <a:pt x="126" y="615"/>
                  </a:lnTo>
                  <a:lnTo>
                    <a:pt x="117" y="615"/>
                  </a:lnTo>
                  <a:lnTo>
                    <a:pt x="107" y="605"/>
                  </a:lnTo>
                  <a:lnTo>
                    <a:pt x="107" y="586"/>
                  </a:lnTo>
                  <a:lnTo>
                    <a:pt x="97" y="576"/>
                  </a:lnTo>
                  <a:lnTo>
                    <a:pt x="87" y="596"/>
                  </a:lnTo>
                  <a:lnTo>
                    <a:pt x="78" y="596"/>
                  </a:lnTo>
                  <a:lnTo>
                    <a:pt x="78" y="586"/>
                  </a:lnTo>
                  <a:lnTo>
                    <a:pt x="78" y="576"/>
                  </a:lnTo>
                  <a:lnTo>
                    <a:pt x="68" y="576"/>
                  </a:lnTo>
                  <a:lnTo>
                    <a:pt x="39" y="566"/>
                  </a:lnTo>
                  <a:lnTo>
                    <a:pt x="19" y="556"/>
                  </a:lnTo>
                  <a:lnTo>
                    <a:pt x="39" y="478"/>
                  </a:lnTo>
                  <a:lnTo>
                    <a:pt x="0" y="469"/>
                  </a:lnTo>
                  <a:lnTo>
                    <a:pt x="19" y="430"/>
                  </a:lnTo>
                  <a:lnTo>
                    <a:pt x="48" y="420"/>
                  </a:lnTo>
                  <a:lnTo>
                    <a:pt x="58" y="381"/>
                  </a:lnTo>
                  <a:lnTo>
                    <a:pt x="68" y="371"/>
                  </a:lnTo>
                  <a:lnTo>
                    <a:pt x="97" y="361"/>
                  </a:lnTo>
                  <a:lnTo>
                    <a:pt x="107" y="352"/>
                  </a:lnTo>
                  <a:lnTo>
                    <a:pt x="126" y="332"/>
                  </a:lnTo>
                  <a:lnTo>
                    <a:pt x="146" y="313"/>
                  </a:lnTo>
                  <a:lnTo>
                    <a:pt x="156" y="303"/>
                  </a:lnTo>
                  <a:lnTo>
                    <a:pt x="165" y="283"/>
                  </a:lnTo>
                  <a:lnTo>
                    <a:pt x="175" y="264"/>
                  </a:lnTo>
                  <a:lnTo>
                    <a:pt x="185" y="264"/>
                  </a:lnTo>
                  <a:lnTo>
                    <a:pt x="214" y="244"/>
                  </a:lnTo>
                  <a:lnTo>
                    <a:pt x="224" y="225"/>
                  </a:lnTo>
                  <a:lnTo>
                    <a:pt x="234" y="215"/>
                  </a:lnTo>
                  <a:lnTo>
                    <a:pt x="243" y="205"/>
                  </a:lnTo>
                  <a:lnTo>
                    <a:pt x="253" y="186"/>
                  </a:lnTo>
                  <a:lnTo>
                    <a:pt x="263" y="176"/>
                  </a:lnTo>
                  <a:lnTo>
                    <a:pt x="273" y="166"/>
                  </a:lnTo>
                  <a:lnTo>
                    <a:pt x="282" y="166"/>
                  </a:lnTo>
                  <a:lnTo>
                    <a:pt x="312" y="166"/>
                  </a:lnTo>
                  <a:lnTo>
                    <a:pt x="331" y="147"/>
                  </a:lnTo>
                  <a:lnTo>
                    <a:pt x="341" y="127"/>
                  </a:lnTo>
                  <a:lnTo>
                    <a:pt x="360" y="117"/>
                  </a:lnTo>
                  <a:lnTo>
                    <a:pt x="360" y="88"/>
                  </a:lnTo>
                  <a:lnTo>
                    <a:pt x="370" y="69"/>
                  </a:lnTo>
                  <a:lnTo>
                    <a:pt x="380" y="69"/>
                  </a:lnTo>
                  <a:lnTo>
                    <a:pt x="409" y="59"/>
                  </a:lnTo>
                  <a:lnTo>
                    <a:pt x="439" y="30"/>
                  </a:lnTo>
                  <a:lnTo>
                    <a:pt x="458" y="30"/>
                  </a:lnTo>
                  <a:lnTo>
                    <a:pt x="468" y="20"/>
                  </a:lnTo>
                  <a:lnTo>
                    <a:pt x="487" y="20"/>
                  </a:lnTo>
                  <a:lnTo>
                    <a:pt x="497" y="10"/>
                  </a:lnTo>
                  <a:lnTo>
                    <a:pt x="536" y="20"/>
                  </a:lnTo>
                  <a:lnTo>
                    <a:pt x="565" y="0"/>
                  </a:lnTo>
                  <a:lnTo>
                    <a:pt x="575" y="10"/>
                  </a:lnTo>
                  <a:lnTo>
                    <a:pt x="595" y="30"/>
                  </a:lnTo>
                  <a:lnTo>
                    <a:pt x="585" y="49"/>
                  </a:lnTo>
                  <a:lnTo>
                    <a:pt x="595" y="49"/>
                  </a:lnTo>
                  <a:lnTo>
                    <a:pt x="604" y="39"/>
                  </a:lnTo>
                  <a:lnTo>
                    <a:pt x="643" y="49"/>
                  </a:lnTo>
                  <a:lnTo>
                    <a:pt x="663" y="39"/>
                  </a:lnTo>
                  <a:lnTo>
                    <a:pt x="673" y="49"/>
                  </a:lnTo>
                  <a:lnTo>
                    <a:pt x="673" y="59"/>
                  </a:lnTo>
                  <a:lnTo>
                    <a:pt x="692" y="69"/>
                  </a:lnTo>
                  <a:lnTo>
                    <a:pt x="721" y="69"/>
                  </a:lnTo>
                  <a:lnTo>
                    <a:pt x="741" y="78"/>
                  </a:lnTo>
                  <a:lnTo>
                    <a:pt x="760" y="59"/>
                  </a:lnTo>
                  <a:lnTo>
                    <a:pt x="760" y="49"/>
                  </a:lnTo>
                  <a:lnTo>
                    <a:pt x="799" y="49"/>
                  </a:lnTo>
                  <a:lnTo>
                    <a:pt x="799" y="59"/>
                  </a:lnTo>
                  <a:lnTo>
                    <a:pt x="809" y="69"/>
                  </a:lnTo>
                  <a:lnTo>
                    <a:pt x="829" y="39"/>
                  </a:lnTo>
                  <a:lnTo>
                    <a:pt x="848" y="39"/>
                  </a:lnTo>
                  <a:lnTo>
                    <a:pt x="838" y="59"/>
                  </a:lnTo>
                  <a:close/>
                </a:path>
              </a:pathLst>
            </a:custGeom>
            <a:solidFill>
              <a:srgbClr val="0078DC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9" name="Freeform 60"/>
            <p:cNvSpPr>
              <a:spLocks/>
            </p:cNvSpPr>
            <p:nvPr/>
          </p:nvSpPr>
          <p:spPr bwMode="auto">
            <a:xfrm>
              <a:off x="7677" y="3716"/>
              <a:ext cx="319" cy="226"/>
            </a:xfrm>
            <a:custGeom>
              <a:avLst/>
              <a:gdLst>
                <a:gd name="T0" fmla="*/ 0 w 321"/>
                <a:gd name="T1" fmla="*/ 127 h 225"/>
                <a:gd name="T2" fmla="*/ 0 w 321"/>
                <a:gd name="T3" fmla="*/ 108 h 225"/>
                <a:gd name="T4" fmla="*/ 0 w 321"/>
                <a:gd name="T5" fmla="*/ 88 h 225"/>
                <a:gd name="T6" fmla="*/ 9 w 321"/>
                <a:gd name="T7" fmla="*/ 69 h 225"/>
                <a:gd name="T8" fmla="*/ 19 w 321"/>
                <a:gd name="T9" fmla="*/ 69 h 225"/>
                <a:gd name="T10" fmla="*/ 29 w 321"/>
                <a:gd name="T11" fmla="*/ 59 h 225"/>
                <a:gd name="T12" fmla="*/ 39 w 321"/>
                <a:gd name="T13" fmla="*/ 49 h 225"/>
                <a:gd name="T14" fmla="*/ 39 w 321"/>
                <a:gd name="T15" fmla="*/ 49 h 225"/>
                <a:gd name="T16" fmla="*/ 68 w 321"/>
                <a:gd name="T17" fmla="*/ 39 h 225"/>
                <a:gd name="T18" fmla="*/ 68 w 321"/>
                <a:gd name="T19" fmla="*/ 20 h 225"/>
                <a:gd name="T20" fmla="*/ 87 w 321"/>
                <a:gd name="T21" fmla="*/ 20 h 225"/>
                <a:gd name="T22" fmla="*/ 87 w 321"/>
                <a:gd name="T23" fmla="*/ 30 h 225"/>
                <a:gd name="T24" fmla="*/ 97 w 321"/>
                <a:gd name="T25" fmla="*/ 39 h 225"/>
                <a:gd name="T26" fmla="*/ 107 w 321"/>
                <a:gd name="T27" fmla="*/ 20 h 225"/>
                <a:gd name="T28" fmla="*/ 126 w 321"/>
                <a:gd name="T29" fmla="*/ 20 h 225"/>
                <a:gd name="T30" fmla="*/ 136 w 321"/>
                <a:gd name="T31" fmla="*/ 20 h 225"/>
                <a:gd name="T32" fmla="*/ 156 w 321"/>
                <a:gd name="T33" fmla="*/ 20 h 225"/>
                <a:gd name="T34" fmla="*/ 165 w 321"/>
                <a:gd name="T35" fmla="*/ 20 h 225"/>
                <a:gd name="T36" fmla="*/ 175 w 321"/>
                <a:gd name="T37" fmla="*/ 30 h 225"/>
                <a:gd name="T38" fmla="*/ 185 w 321"/>
                <a:gd name="T39" fmla="*/ 39 h 225"/>
                <a:gd name="T40" fmla="*/ 204 w 321"/>
                <a:gd name="T41" fmla="*/ 30 h 225"/>
                <a:gd name="T42" fmla="*/ 234 w 321"/>
                <a:gd name="T43" fmla="*/ 30 h 225"/>
                <a:gd name="T44" fmla="*/ 243 w 321"/>
                <a:gd name="T45" fmla="*/ 30 h 225"/>
                <a:gd name="T46" fmla="*/ 263 w 321"/>
                <a:gd name="T47" fmla="*/ 20 h 225"/>
                <a:gd name="T48" fmla="*/ 263 w 321"/>
                <a:gd name="T49" fmla="*/ 10 h 225"/>
                <a:gd name="T50" fmla="*/ 273 w 321"/>
                <a:gd name="T51" fmla="*/ 10 h 225"/>
                <a:gd name="T52" fmla="*/ 282 w 321"/>
                <a:gd name="T53" fmla="*/ 20 h 225"/>
                <a:gd name="T54" fmla="*/ 302 w 321"/>
                <a:gd name="T55" fmla="*/ 0 h 225"/>
                <a:gd name="T56" fmla="*/ 312 w 321"/>
                <a:gd name="T57" fmla="*/ 0 h 225"/>
                <a:gd name="T58" fmla="*/ 321 w 321"/>
                <a:gd name="T59" fmla="*/ 20 h 225"/>
                <a:gd name="T60" fmla="*/ 321 w 321"/>
                <a:gd name="T61" fmla="*/ 30 h 225"/>
                <a:gd name="T62" fmla="*/ 302 w 321"/>
                <a:gd name="T63" fmla="*/ 30 h 225"/>
                <a:gd name="T64" fmla="*/ 292 w 321"/>
                <a:gd name="T65" fmla="*/ 39 h 225"/>
                <a:gd name="T66" fmla="*/ 292 w 321"/>
                <a:gd name="T67" fmla="*/ 39 h 225"/>
                <a:gd name="T68" fmla="*/ 273 w 321"/>
                <a:gd name="T69" fmla="*/ 49 h 225"/>
                <a:gd name="T70" fmla="*/ 263 w 321"/>
                <a:gd name="T71" fmla="*/ 69 h 225"/>
                <a:gd name="T72" fmla="*/ 243 w 321"/>
                <a:gd name="T73" fmla="*/ 98 h 225"/>
                <a:gd name="T74" fmla="*/ 224 w 321"/>
                <a:gd name="T75" fmla="*/ 108 h 225"/>
                <a:gd name="T76" fmla="*/ 204 w 321"/>
                <a:gd name="T77" fmla="*/ 127 h 225"/>
                <a:gd name="T78" fmla="*/ 195 w 321"/>
                <a:gd name="T79" fmla="*/ 147 h 225"/>
                <a:gd name="T80" fmla="*/ 185 w 321"/>
                <a:gd name="T81" fmla="*/ 176 h 225"/>
                <a:gd name="T82" fmla="*/ 165 w 321"/>
                <a:gd name="T83" fmla="*/ 186 h 225"/>
                <a:gd name="T84" fmla="*/ 146 w 321"/>
                <a:gd name="T85" fmla="*/ 205 h 225"/>
                <a:gd name="T86" fmla="*/ 126 w 321"/>
                <a:gd name="T87" fmla="*/ 215 h 225"/>
                <a:gd name="T88" fmla="*/ 117 w 321"/>
                <a:gd name="T89" fmla="*/ 215 h 225"/>
                <a:gd name="T90" fmla="*/ 97 w 321"/>
                <a:gd name="T91" fmla="*/ 225 h 225"/>
                <a:gd name="T92" fmla="*/ 78 w 321"/>
                <a:gd name="T93" fmla="*/ 225 h 225"/>
                <a:gd name="T94" fmla="*/ 68 w 321"/>
                <a:gd name="T95" fmla="*/ 205 h 225"/>
                <a:gd name="T96" fmla="*/ 58 w 321"/>
                <a:gd name="T97" fmla="*/ 205 h 225"/>
                <a:gd name="T98" fmla="*/ 39 w 321"/>
                <a:gd name="T99" fmla="*/ 205 h 225"/>
                <a:gd name="T100" fmla="*/ 39 w 321"/>
                <a:gd name="T101" fmla="*/ 176 h 225"/>
                <a:gd name="T102" fmla="*/ 19 w 321"/>
                <a:gd name="T103" fmla="*/ 156 h 225"/>
                <a:gd name="T104" fmla="*/ 9 w 321"/>
                <a:gd name="T105" fmla="*/ 147 h 225"/>
                <a:gd name="T106" fmla="*/ 9 w 321"/>
                <a:gd name="T107" fmla="*/ 127 h 225"/>
                <a:gd name="T108" fmla="*/ 0 w 321"/>
                <a:gd name="T109" fmla="*/ 127 h 22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1"/>
                <a:gd name="T166" fmla="*/ 0 h 225"/>
                <a:gd name="T167" fmla="*/ 321 w 321"/>
                <a:gd name="T168" fmla="*/ 225 h 22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1" h="225">
                  <a:moveTo>
                    <a:pt x="0" y="127"/>
                  </a:moveTo>
                  <a:lnTo>
                    <a:pt x="0" y="108"/>
                  </a:lnTo>
                  <a:lnTo>
                    <a:pt x="0" y="88"/>
                  </a:lnTo>
                  <a:lnTo>
                    <a:pt x="9" y="69"/>
                  </a:lnTo>
                  <a:lnTo>
                    <a:pt x="19" y="69"/>
                  </a:lnTo>
                  <a:lnTo>
                    <a:pt x="29" y="59"/>
                  </a:lnTo>
                  <a:lnTo>
                    <a:pt x="39" y="49"/>
                  </a:lnTo>
                  <a:lnTo>
                    <a:pt x="68" y="39"/>
                  </a:lnTo>
                  <a:lnTo>
                    <a:pt x="68" y="20"/>
                  </a:lnTo>
                  <a:lnTo>
                    <a:pt x="87" y="20"/>
                  </a:lnTo>
                  <a:lnTo>
                    <a:pt x="87" y="30"/>
                  </a:lnTo>
                  <a:lnTo>
                    <a:pt x="97" y="39"/>
                  </a:lnTo>
                  <a:lnTo>
                    <a:pt x="107" y="20"/>
                  </a:lnTo>
                  <a:lnTo>
                    <a:pt x="126" y="20"/>
                  </a:lnTo>
                  <a:lnTo>
                    <a:pt x="136" y="20"/>
                  </a:lnTo>
                  <a:lnTo>
                    <a:pt x="156" y="20"/>
                  </a:lnTo>
                  <a:lnTo>
                    <a:pt x="165" y="20"/>
                  </a:lnTo>
                  <a:lnTo>
                    <a:pt x="175" y="30"/>
                  </a:lnTo>
                  <a:lnTo>
                    <a:pt x="185" y="39"/>
                  </a:lnTo>
                  <a:lnTo>
                    <a:pt x="204" y="30"/>
                  </a:lnTo>
                  <a:lnTo>
                    <a:pt x="234" y="30"/>
                  </a:lnTo>
                  <a:lnTo>
                    <a:pt x="243" y="30"/>
                  </a:lnTo>
                  <a:lnTo>
                    <a:pt x="263" y="20"/>
                  </a:lnTo>
                  <a:lnTo>
                    <a:pt x="263" y="10"/>
                  </a:lnTo>
                  <a:lnTo>
                    <a:pt x="273" y="10"/>
                  </a:lnTo>
                  <a:lnTo>
                    <a:pt x="282" y="20"/>
                  </a:lnTo>
                  <a:lnTo>
                    <a:pt x="302" y="0"/>
                  </a:lnTo>
                  <a:lnTo>
                    <a:pt x="312" y="0"/>
                  </a:lnTo>
                  <a:lnTo>
                    <a:pt x="321" y="20"/>
                  </a:lnTo>
                  <a:lnTo>
                    <a:pt x="321" y="30"/>
                  </a:lnTo>
                  <a:lnTo>
                    <a:pt x="302" y="30"/>
                  </a:lnTo>
                  <a:lnTo>
                    <a:pt x="292" y="39"/>
                  </a:lnTo>
                  <a:lnTo>
                    <a:pt x="273" y="49"/>
                  </a:lnTo>
                  <a:lnTo>
                    <a:pt x="263" y="69"/>
                  </a:lnTo>
                  <a:lnTo>
                    <a:pt x="243" y="98"/>
                  </a:lnTo>
                  <a:lnTo>
                    <a:pt x="224" y="108"/>
                  </a:lnTo>
                  <a:lnTo>
                    <a:pt x="204" y="127"/>
                  </a:lnTo>
                  <a:lnTo>
                    <a:pt x="195" y="147"/>
                  </a:lnTo>
                  <a:lnTo>
                    <a:pt x="185" y="176"/>
                  </a:lnTo>
                  <a:lnTo>
                    <a:pt x="165" y="186"/>
                  </a:lnTo>
                  <a:lnTo>
                    <a:pt x="146" y="205"/>
                  </a:lnTo>
                  <a:lnTo>
                    <a:pt x="126" y="215"/>
                  </a:lnTo>
                  <a:lnTo>
                    <a:pt x="117" y="215"/>
                  </a:lnTo>
                  <a:lnTo>
                    <a:pt x="97" y="225"/>
                  </a:lnTo>
                  <a:lnTo>
                    <a:pt x="78" y="225"/>
                  </a:lnTo>
                  <a:lnTo>
                    <a:pt x="68" y="205"/>
                  </a:lnTo>
                  <a:lnTo>
                    <a:pt x="58" y="205"/>
                  </a:lnTo>
                  <a:lnTo>
                    <a:pt x="39" y="205"/>
                  </a:lnTo>
                  <a:lnTo>
                    <a:pt x="39" y="176"/>
                  </a:lnTo>
                  <a:lnTo>
                    <a:pt x="19" y="156"/>
                  </a:lnTo>
                  <a:lnTo>
                    <a:pt x="9" y="147"/>
                  </a:lnTo>
                  <a:lnTo>
                    <a:pt x="9" y="127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50" name="Group 57"/>
            <p:cNvGrpSpPr>
              <a:grpSpLocks/>
            </p:cNvGrpSpPr>
            <p:nvPr/>
          </p:nvGrpSpPr>
          <p:grpSpPr bwMode="auto">
            <a:xfrm>
              <a:off x="7676" y="3717"/>
              <a:ext cx="321" cy="225"/>
              <a:chOff x="7677" y="3717"/>
              <a:chExt cx="321" cy="225"/>
            </a:xfrm>
          </p:grpSpPr>
          <p:sp>
            <p:nvSpPr>
              <p:cNvPr id="292" name="Freeform 59"/>
              <p:cNvSpPr>
                <a:spLocks/>
              </p:cNvSpPr>
              <p:nvPr/>
            </p:nvSpPr>
            <p:spPr bwMode="auto">
              <a:xfrm>
                <a:off x="7678" y="3716"/>
                <a:ext cx="319" cy="226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3" name="Freeform 58"/>
              <p:cNvSpPr>
                <a:spLocks/>
              </p:cNvSpPr>
              <p:nvPr/>
            </p:nvSpPr>
            <p:spPr bwMode="auto">
              <a:xfrm>
                <a:off x="7678" y="3716"/>
                <a:ext cx="319" cy="226"/>
              </a:xfrm>
              <a:custGeom>
                <a:avLst/>
                <a:gdLst>
                  <a:gd name="T0" fmla="*/ 0 w 321"/>
                  <a:gd name="T1" fmla="*/ 127 h 225"/>
                  <a:gd name="T2" fmla="*/ 0 w 321"/>
                  <a:gd name="T3" fmla="*/ 108 h 225"/>
                  <a:gd name="T4" fmla="*/ 0 w 321"/>
                  <a:gd name="T5" fmla="*/ 88 h 225"/>
                  <a:gd name="T6" fmla="*/ 9 w 321"/>
                  <a:gd name="T7" fmla="*/ 69 h 225"/>
                  <a:gd name="T8" fmla="*/ 19 w 321"/>
                  <a:gd name="T9" fmla="*/ 69 h 225"/>
                  <a:gd name="T10" fmla="*/ 29 w 321"/>
                  <a:gd name="T11" fmla="*/ 59 h 225"/>
                  <a:gd name="T12" fmla="*/ 39 w 321"/>
                  <a:gd name="T13" fmla="*/ 49 h 225"/>
                  <a:gd name="T14" fmla="*/ 39 w 321"/>
                  <a:gd name="T15" fmla="*/ 49 h 225"/>
                  <a:gd name="T16" fmla="*/ 68 w 321"/>
                  <a:gd name="T17" fmla="*/ 39 h 225"/>
                  <a:gd name="T18" fmla="*/ 68 w 321"/>
                  <a:gd name="T19" fmla="*/ 20 h 225"/>
                  <a:gd name="T20" fmla="*/ 78 w 321"/>
                  <a:gd name="T21" fmla="*/ 20 h 225"/>
                  <a:gd name="T22" fmla="*/ 87 w 321"/>
                  <a:gd name="T23" fmla="*/ 30 h 225"/>
                  <a:gd name="T24" fmla="*/ 97 w 321"/>
                  <a:gd name="T25" fmla="*/ 39 h 225"/>
                  <a:gd name="T26" fmla="*/ 107 w 321"/>
                  <a:gd name="T27" fmla="*/ 20 h 225"/>
                  <a:gd name="T28" fmla="*/ 126 w 321"/>
                  <a:gd name="T29" fmla="*/ 20 h 225"/>
                  <a:gd name="T30" fmla="*/ 136 w 321"/>
                  <a:gd name="T31" fmla="*/ 10 h 225"/>
                  <a:gd name="T32" fmla="*/ 156 w 321"/>
                  <a:gd name="T33" fmla="*/ 20 h 225"/>
                  <a:gd name="T34" fmla="*/ 165 w 321"/>
                  <a:gd name="T35" fmla="*/ 20 h 225"/>
                  <a:gd name="T36" fmla="*/ 175 w 321"/>
                  <a:gd name="T37" fmla="*/ 30 h 225"/>
                  <a:gd name="T38" fmla="*/ 185 w 321"/>
                  <a:gd name="T39" fmla="*/ 30 h 225"/>
                  <a:gd name="T40" fmla="*/ 204 w 321"/>
                  <a:gd name="T41" fmla="*/ 30 h 225"/>
                  <a:gd name="T42" fmla="*/ 234 w 321"/>
                  <a:gd name="T43" fmla="*/ 30 h 225"/>
                  <a:gd name="T44" fmla="*/ 243 w 321"/>
                  <a:gd name="T45" fmla="*/ 30 h 225"/>
                  <a:gd name="T46" fmla="*/ 263 w 321"/>
                  <a:gd name="T47" fmla="*/ 20 h 225"/>
                  <a:gd name="T48" fmla="*/ 263 w 321"/>
                  <a:gd name="T49" fmla="*/ 10 h 225"/>
                  <a:gd name="T50" fmla="*/ 273 w 321"/>
                  <a:gd name="T51" fmla="*/ 10 h 225"/>
                  <a:gd name="T52" fmla="*/ 282 w 321"/>
                  <a:gd name="T53" fmla="*/ 10 h 225"/>
                  <a:gd name="T54" fmla="*/ 302 w 321"/>
                  <a:gd name="T55" fmla="*/ 0 h 225"/>
                  <a:gd name="T56" fmla="*/ 312 w 321"/>
                  <a:gd name="T57" fmla="*/ 0 h 225"/>
                  <a:gd name="T58" fmla="*/ 321 w 321"/>
                  <a:gd name="T59" fmla="*/ 10 h 225"/>
                  <a:gd name="T60" fmla="*/ 321 w 321"/>
                  <a:gd name="T61" fmla="*/ 30 h 225"/>
                  <a:gd name="T62" fmla="*/ 302 w 321"/>
                  <a:gd name="T63" fmla="*/ 30 h 225"/>
                  <a:gd name="T64" fmla="*/ 292 w 321"/>
                  <a:gd name="T65" fmla="*/ 30 h 225"/>
                  <a:gd name="T66" fmla="*/ 292 w 321"/>
                  <a:gd name="T67" fmla="*/ 39 h 225"/>
                  <a:gd name="T68" fmla="*/ 282 w 321"/>
                  <a:gd name="T69" fmla="*/ 49 h 225"/>
                  <a:gd name="T70" fmla="*/ 263 w 321"/>
                  <a:gd name="T71" fmla="*/ 69 h 225"/>
                  <a:gd name="T72" fmla="*/ 243 w 321"/>
                  <a:gd name="T73" fmla="*/ 98 h 225"/>
                  <a:gd name="T74" fmla="*/ 224 w 321"/>
                  <a:gd name="T75" fmla="*/ 108 h 225"/>
                  <a:gd name="T76" fmla="*/ 204 w 321"/>
                  <a:gd name="T77" fmla="*/ 127 h 225"/>
                  <a:gd name="T78" fmla="*/ 195 w 321"/>
                  <a:gd name="T79" fmla="*/ 147 h 225"/>
                  <a:gd name="T80" fmla="*/ 185 w 321"/>
                  <a:gd name="T81" fmla="*/ 176 h 225"/>
                  <a:gd name="T82" fmla="*/ 165 w 321"/>
                  <a:gd name="T83" fmla="*/ 195 h 225"/>
                  <a:gd name="T84" fmla="*/ 146 w 321"/>
                  <a:gd name="T85" fmla="*/ 205 h 225"/>
                  <a:gd name="T86" fmla="*/ 136 w 321"/>
                  <a:gd name="T87" fmla="*/ 215 h 225"/>
                  <a:gd name="T88" fmla="*/ 117 w 321"/>
                  <a:gd name="T89" fmla="*/ 215 h 225"/>
                  <a:gd name="T90" fmla="*/ 97 w 321"/>
                  <a:gd name="T91" fmla="*/ 225 h 225"/>
                  <a:gd name="T92" fmla="*/ 78 w 321"/>
                  <a:gd name="T93" fmla="*/ 225 h 225"/>
                  <a:gd name="T94" fmla="*/ 68 w 321"/>
                  <a:gd name="T95" fmla="*/ 215 h 225"/>
                  <a:gd name="T96" fmla="*/ 58 w 321"/>
                  <a:gd name="T97" fmla="*/ 215 h 225"/>
                  <a:gd name="T98" fmla="*/ 39 w 321"/>
                  <a:gd name="T99" fmla="*/ 205 h 225"/>
                  <a:gd name="T100" fmla="*/ 39 w 321"/>
                  <a:gd name="T101" fmla="*/ 176 h 225"/>
                  <a:gd name="T102" fmla="*/ 19 w 321"/>
                  <a:gd name="T103" fmla="*/ 156 h 225"/>
                  <a:gd name="T104" fmla="*/ 9 w 321"/>
                  <a:gd name="T105" fmla="*/ 147 h 225"/>
                  <a:gd name="T106" fmla="*/ 9 w 321"/>
                  <a:gd name="T107" fmla="*/ 127 h 225"/>
                  <a:gd name="T108" fmla="*/ 0 w 321"/>
                  <a:gd name="T109" fmla="*/ 127 h 22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"/>
                  <a:gd name="T166" fmla="*/ 0 h 225"/>
                  <a:gd name="T167" fmla="*/ 321 w 321"/>
                  <a:gd name="T168" fmla="*/ 225 h 22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" h="225">
                    <a:moveTo>
                      <a:pt x="0" y="127"/>
                    </a:moveTo>
                    <a:lnTo>
                      <a:pt x="0" y="108"/>
                    </a:lnTo>
                    <a:lnTo>
                      <a:pt x="0" y="88"/>
                    </a:lnTo>
                    <a:lnTo>
                      <a:pt x="9" y="69"/>
                    </a:lnTo>
                    <a:lnTo>
                      <a:pt x="19" y="69"/>
                    </a:lnTo>
                    <a:lnTo>
                      <a:pt x="29" y="59"/>
                    </a:lnTo>
                    <a:lnTo>
                      <a:pt x="39" y="49"/>
                    </a:lnTo>
                    <a:lnTo>
                      <a:pt x="68" y="39"/>
                    </a:lnTo>
                    <a:lnTo>
                      <a:pt x="68" y="20"/>
                    </a:lnTo>
                    <a:lnTo>
                      <a:pt x="78" y="20"/>
                    </a:lnTo>
                    <a:lnTo>
                      <a:pt x="87" y="30"/>
                    </a:lnTo>
                    <a:lnTo>
                      <a:pt x="97" y="39"/>
                    </a:lnTo>
                    <a:lnTo>
                      <a:pt x="107" y="20"/>
                    </a:lnTo>
                    <a:lnTo>
                      <a:pt x="126" y="20"/>
                    </a:lnTo>
                    <a:lnTo>
                      <a:pt x="136" y="10"/>
                    </a:lnTo>
                    <a:lnTo>
                      <a:pt x="156" y="20"/>
                    </a:lnTo>
                    <a:lnTo>
                      <a:pt x="165" y="20"/>
                    </a:lnTo>
                    <a:lnTo>
                      <a:pt x="175" y="30"/>
                    </a:lnTo>
                    <a:lnTo>
                      <a:pt x="185" y="30"/>
                    </a:lnTo>
                    <a:lnTo>
                      <a:pt x="204" y="30"/>
                    </a:lnTo>
                    <a:lnTo>
                      <a:pt x="234" y="30"/>
                    </a:lnTo>
                    <a:lnTo>
                      <a:pt x="243" y="30"/>
                    </a:lnTo>
                    <a:lnTo>
                      <a:pt x="263" y="20"/>
                    </a:lnTo>
                    <a:lnTo>
                      <a:pt x="263" y="10"/>
                    </a:lnTo>
                    <a:lnTo>
                      <a:pt x="273" y="10"/>
                    </a:lnTo>
                    <a:lnTo>
                      <a:pt x="282" y="10"/>
                    </a:lnTo>
                    <a:lnTo>
                      <a:pt x="302" y="0"/>
                    </a:lnTo>
                    <a:lnTo>
                      <a:pt x="312" y="0"/>
                    </a:lnTo>
                    <a:lnTo>
                      <a:pt x="321" y="10"/>
                    </a:lnTo>
                    <a:lnTo>
                      <a:pt x="321" y="30"/>
                    </a:lnTo>
                    <a:lnTo>
                      <a:pt x="302" y="30"/>
                    </a:lnTo>
                    <a:lnTo>
                      <a:pt x="292" y="30"/>
                    </a:lnTo>
                    <a:lnTo>
                      <a:pt x="292" y="39"/>
                    </a:lnTo>
                    <a:lnTo>
                      <a:pt x="282" y="49"/>
                    </a:lnTo>
                    <a:lnTo>
                      <a:pt x="263" y="69"/>
                    </a:lnTo>
                    <a:lnTo>
                      <a:pt x="243" y="98"/>
                    </a:lnTo>
                    <a:lnTo>
                      <a:pt x="224" y="108"/>
                    </a:lnTo>
                    <a:lnTo>
                      <a:pt x="204" y="127"/>
                    </a:lnTo>
                    <a:lnTo>
                      <a:pt x="195" y="147"/>
                    </a:lnTo>
                    <a:lnTo>
                      <a:pt x="185" y="176"/>
                    </a:lnTo>
                    <a:lnTo>
                      <a:pt x="165" y="195"/>
                    </a:lnTo>
                    <a:lnTo>
                      <a:pt x="146" y="205"/>
                    </a:lnTo>
                    <a:lnTo>
                      <a:pt x="136" y="215"/>
                    </a:lnTo>
                    <a:lnTo>
                      <a:pt x="117" y="215"/>
                    </a:lnTo>
                    <a:lnTo>
                      <a:pt x="97" y="225"/>
                    </a:lnTo>
                    <a:lnTo>
                      <a:pt x="78" y="225"/>
                    </a:lnTo>
                    <a:lnTo>
                      <a:pt x="68" y="215"/>
                    </a:lnTo>
                    <a:lnTo>
                      <a:pt x="58" y="215"/>
                    </a:lnTo>
                    <a:lnTo>
                      <a:pt x="39" y="205"/>
                    </a:lnTo>
                    <a:lnTo>
                      <a:pt x="39" y="176"/>
                    </a:lnTo>
                    <a:lnTo>
                      <a:pt x="19" y="156"/>
                    </a:lnTo>
                    <a:lnTo>
                      <a:pt x="9" y="147"/>
                    </a:lnTo>
                    <a:lnTo>
                      <a:pt x="9" y="127"/>
                    </a:lnTo>
                    <a:lnTo>
                      <a:pt x="0" y="127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51" name="Freeform 56"/>
            <p:cNvSpPr>
              <a:spLocks/>
            </p:cNvSpPr>
            <p:nvPr/>
          </p:nvSpPr>
          <p:spPr bwMode="auto">
            <a:xfrm>
              <a:off x="8083" y="889"/>
              <a:ext cx="704" cy="1307"/>
            </a:xfrm>
            <a:custGeom>
              <a:avLst/>
              <a:gdLst>
                <a:gd name="T0" fmla="*/ 88 w 703"/>
                <a:gd name="T1" fmla="*/ 244 h 1307"/>
                <a:gd name="T2" fmla="*/ 176 w 703"/>
                <a:gd name="T3" fmla="*/ 156 h 1307"/>
                <a:gd name="T4" fmla="*/ 273 w 703"/>
                <a:gd name="T5" fmla="*/ 127 h 1307"/>
                <a:gd name="T6" fmla="*/ 342 w 703"/>
                <a:gd name="T7" fmla="*/ 224 h 1307"/>
                <a:gd name="T8" fmla="*/ 449 w 703"/>
                <a:gd name="T9" fmla="*/ 185 h 1307"/>
                <a:gd name="T10" fmla="*/ 488 w 703"/>
                <a:gd name="T11" fmla="*/ 88 h 1307"/>
                <a:gd name="T12" fmla="*/ 537 w 703"/>
                <a:gd name="T13" fmla="*/ 10 h 1307"/>
                <a:gd name="T14" fmla="*/ 605 w 703"/>
                <a:gd name="T15" fmla="*/ 10 h 1307"/>
                <a:gd name="T16" fmla="*/ 615 w 703"/>
                <a:gd name="T17" fmla="*/ 58 h 1307"/>
                <a:gd name="T18" fmla="*/ 625 w 703"/>
                <a:gd name="T19" fmla="*/ 88 h 1307"/>
                <a:gd name="T20" fmla="*/ 625 w 703"/>
                <a:gd name="T21" fmla="*/ 117 h 1307"/>
                <a:gd name="T22" fmla="*/ 634 w 703"/>
                <a:gd name="T23" fmla="*/ 156 h 1307"/>
                <a:gd name="T24" fmla="*/ 644 w 703"/>
                <a:gd name="T25" fmla="*/ 175 h 1307"/>
                <a:gd name="T26" fmla="*/ 654 w 703"/>
                <a:gd name="T27" fmla="*/ 224 h 1307"/>
                <a:gd name="T28" fmla="*/ 654 w 703"/>
                <a:gd name="T29" fmla="*/ 273 h 1307"/>
                <a:gd name="T30" fmla="*/ 703 w 703"/>
                <a:gd name="T31" fmla="*/ 312 h 1307"/>
                <a:gd name="T32" fmla="*/ 625 w 703"/>
                <a:gd name="T33" fmla="*/ 322 h 1307"/>
                <a:gd name="T34" fmla="*/ 576 w 703"/>
                <a:gd name="T35" fmla="*/ 371 h 1307"/>
                <a:gd name="T36" fmla="*/ 556 w 703"/>
                <a:gd name="T37" fmla="*/ 449 h 1307"/>
                <a:gd name="T38" fmla="*/ 576 w 703"/>
                <a:gd name="T39" fmla="*/ 488 h 1307"/>
                <a:gd name="T40" fmla="*/ 556 w 703"/>
                <a:gd name="T41" fmla="*/ 507 h 1307"/>
                <a:gd name="T42" fmla="*/ 527 w 703"/>
                <a:gd name="T43" fmla="*/ 546 h 1307"/>
                <a:gd name="T44" fmla="*/ 537 w 703"/>
                <a:gd name="T45" fmla="*/ 595 h 1307"/>
                <a:gd name="T46" fmla="*/ 508 w 703"/>
                <a:gd name="T47" fmla="*/ 605 h 1307"/>
                <a:gd name="T48" fmla="*/ 488 w 703"/>
                <a:gd name="T49" fmla="*/ 634 h 1307"/>
                <a:gd name="T50" fmla="*/ 508 w 703"/>
                <a:gd name="T51" fmla="*/ 683 h 1307"/>
                <a:gd name="T52" fmla="*/ 556 w 703"/>
                <a:gd name="T53" fmla="*/ 712 h 1307"/>
                <a:gd name="T54" fmla="*/ 556 w 703"/>
                <a:gd name="T55" fmla="*/ 741 h 1307"/>
                <a:gd name="T56" fmla="*/ 605 w 703"/>
                <a:gd name="T57" fmla="*/ 849 h 1307"/>
                <a:gd name="T58" fmla="*/ 654 w 703"/>
                <a:gd name="T59" fmla="*/ 829 h 1307"/>
                <a:gd name="T60" fmla="*/ 683 w 703"/>
                <a:gd name="T61" fmla="*/ 790 h 1307"/>
                <a:gd name="T62" fmla="*/ 683 w 703"/>
                <a:gd name="T63" fmla="*/ 868 h 1307"/>
                <a:gd name="T64" fmla="*/ 605 w 703"/>
                <a:gd name="T65" fmla="*/ 937 h 1307"/>
                <a:gd name="T66" fmla="*/ 644 w 703"/>
                <a:gd name="T67" fmla="*/ 1015 h 1307"/>
                <a:gd name="T68" fmla="*/ 576 w 703"/>
                <a:gd name="T69" fmla="*/ 1102 h 1307"/>
                <a:gd name="T70" fmla="*/ 615 w 703"/>
                <a:gd name="T71" fmla="*/ 1151 h 1307"/>
                <a:gd name="T72" fmla="*/ 605 w 703"/>
                <a:gd name="T73" fmla="*/ 1239 h 1307"/>
                <a:gd name="T74" fmla="*/ 547 w 703"/>
                <a:gd name="T75" fmla="*/ 1307 h 1307"/>
                <a:gd name="T76" fmla="*/ 488 w 703"/>
                <a:gd name="T77" fmla="*/ 1210 h 1307"/>
                <a:gd name="T78" fmla="*/ 488 w 703"/>
                <a:gd name="T79" fmla="*/ 1151 h 1307"/>
                <a:gd name="T80" fmla="*/ 420 w 703"/>
                <a:gd name="T81" fmla="*/ 1083 h 1307"/>
                <a:gd name="T82" fmla="*/ 439 w 703"/>
                <a:gd name="T83" fmla="*/ 1034 h 1307"/>
                <a:gd name="T84" fmla="*/ 459 w 703"/>
                <a:gd name="T85" fmla="*/ 937 h 1307"/>
                <a:gd name="T86" fmla="*/ 429 w 703"/>
                <a:gd name="T87" fmla="*/ 868 h 1307"/>
                <a:gd name="T88" fmla="*/ 410 w 703"/>
                <a:gd name="T89" fmla="*/ 780 h 1307"/>
                <a:gd name="T90" fmla="*/ 381 w 703"/>
                <a:gd name="T91" fmla="*/ 673 h 1307"/>
                <a:gd name="T92" fmla="*/ 381 w 703"/>
                <a:gd name="T93" fmla="*/ 595 h 1307"/>
                <a:gd name="T94" fmla="*/ 371 w 703"/>
                <a:gd name="T95" fmla="*/ 546 h 1307"/>
                <a:gd name="T96" fmla="*/ 322 w 703"/>
                <a:gd name="T97" fmla="*/ 517 h 1307"/>
                <a:gd name="T98" fmla="*/ 273 w 703"/>
                <a:gd name="T99" fmla="*/ 449 h 1307"/>
                <a:gd name="T100" fmla="*/ 283 w 703"/>
                <a:gd name="T101" fmla="*/ 400 h 1307"/>
                <a:gd name="T102" fmla="*/ 244 w 703"/>
                <a:gd name="T103" fmla="*/ 449 h 1307"/>
                <a:gd name="T104" fmla="*/ 244 w 703"/>
                <a:gd name="T105" fmla="*/ 497 h 1307"/>
                <a:gd name="T106" fmla="*/ 303 w 703"/>
                <a:gd name="T107" fmla="*/ 536 h 1307"/>
                <a:gd name="T108" fmla="*/ 283 w 703"/>
                <a:gd name="T109" fmla="*/ 566 h 1307"/>
                <a:gd name="T110" fmla="*/ 234 w 703"/>
                <a:gd name="T111" fmla="*/ 536 h 1307"/>
                <a:gd name="T112" fmla="*/ 156 w 703"/>
                <a:gd name="T113" fmla="*/ 478 h 1307"/>
                <a:gd name="T114" fmla="*/ 108 w 703"/>
                <a:gd name="T115" fmla="*/ 410 h 1307"/>
                <a:gd name="T116" fmla="*/ 49 w 703"/>
                <a:gd name="T117" fmla="*/ 380 h 1307"/>
                <a:gd name="T118" fmla="*/ 0 w 703"/>
                <a:gd name="T119" fmla="*/ 312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03"/>
                <a:gd name="T181" fmla="*/ 0 h 1307"/>
                <a:gd name="T182" fmla="*/ 703 w 703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03" h="1307">
                  <a:moveTo>
                    <a:pt x="49" y="244"/>
                  </a:moveTo>
                  <a:lnTo>
                    <a:pt x="59" y="234"/>
                  </a:lnTo>
                  <a:lnTo>
                    <a:pt x="69" y="234"/>
                  </a:lnTo>
                  <a:lnTo>
                    <a:pt x="78" y="224"/>
                  </a:lnTo>
                  <a:lnTo>
                    <a:pt x="88" y="224"/>
                  </a:lnTo>
                  <a:lnTo>
                    <a:pt x="88" y="244"/>
                  </a:lnTo>
                  <a:lnTo>
                    <a:pt x="108" y="244"/>
                  </a:lnTo>
                  <a:lnTo>
                    <a:pt x="108" y="224"/>
                  </a:lnTo>
                  <a:lnTo>
                    <a:pt x="127" y="205"/>
                  </a:lnTo>
                  <a:lnTo>
                    <a:pt x="137" y="175"/>
                  </a:lnTo>
                  <a:lnTo>
                    <a:pt x="156" y="175"/>
                  </a:lnTo>
                  <a:lnTo>
                    <a:pt x="176" y="156"/>
                  </a:lnTo>
                  <a:lnTo>
                    <a:pt x="176" y="146"/>
                  </a:lnTo>
                  <a:lnTo>
                    <a:pt x="195" y="136"/>
                  </a:lnTo>
                  <a:lnTo>
                    <a:pt x="215" y="136"/>
                  </a:lnTo>
                  <a:lnTo>
                    <a:pt x="244" y="146"/>
                  </a:lnTo>
                  <a:lnTo>
                    <a:pt x="264" y="146"/>
                  </a:lnTo>
                  <a:lnTo>
                    <a:pt x="273" y="127"/>
                  </a:lnTo>
                  <a:lnTo>
                    <a:pt x="303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95"/>
                  </a:lnTo>
                  <a:lnTo>
                    <a:pt x="322" y="224"/>
                  </a:lnTo>
                  <a:lnTo>
                    <a:pt x="342" y="224"/>
                  </a:lnTo>
                  <a:lnTo>
                    <a:pt x="342" y="205"/>
                  </a:lnTo>
                  <a:lnTo>
                    <a:pt x="371" y="195"/>
                  </a:lnTo>
                  <a:lnTo>
                    <a:pt x="400" y="175"/>
                  </a:lnTo>
                  <a:lnTo>
                    <a:pt x="420" y="166"/>
                  </a:lnTo>
                  <a:lnTo>
                    <a:pt x="429" y="175"/>
                  </a:lnTo>
                  <a:lnTo>
                    <a:pt x="449" y="185"/>
                  </a:lnTo>
                  <a:lnTo>
                    <a:pt x="459" y="185"/>
                  </a:lnTo>
                  <a:lnTo>
                    <a:pt x="468" y="175"/>
                  </a:lnTo>
                  <a:lnTo>
                    <a:pt x="468" y="146"/>
                  </a:lnTo>
                  <a:lnTo>
                    <a:pt x="468" y="127"/>
                  </a:lnTo>
                  <a:lnTo>
                    <a:pt x="488" y="107"/>
                  </a:lnTo>
                  <a:lnTo>
                    <a:pt x="488" y="88"/>
                  </a:lnTo>
                  <a:lnTo>
                    <a:pt x="498" y="68"/>
                  </a:lnTo>
                  <a:lnTo>
                    <a:pt x="508" y="68"/>
                  </a:lnTo>
                  <a:lnTo>
                    <a:pt x="517" y="49"/>
                  </a:lnTo>
                  <a:lnTo>
                    <a:pt x="517" y="19"/>
                  </a:lnTo>
                  <a:lnTo>
                    <a:pt x="527" y="10"/>
                  </a:lnTo>
                  <a:lnTo>
                    <a:pt x="537" y="10"/>
                  </a:lnTo>
                  <a:lnTo>
                    <a:pt x="547" y="0"/>
                  </a:lnTo>
                  <a:lnTo>
                    <a:pt x="547" y="19"/>
                  </a:lnTo>
                  <a:lnTo>
                    <a:pt x="556" y="19"/>
                  </a:lnTo>
                  <a:lnTo>
                    <a:pt x="576" y="10"/>
                  </a:lnTo>
                  <a:lnTo>
                    <a:pt x="595" y="10"/>
                  </a:lnTo>
                  <a:lnTo>
                    <a:pt x="605" y="10"/>
                  </a:lnTo>
                  <a:lnTo>
                    <a:pt x="615" y="10"/>
                  </a:lnTo>
                  <a:lnTo>
                    <a:pt x="615" y="29"/>
                  </a:lnTo>
                  <a:lnTo>
                    <a:pt x="605" y="29"/>
                  </a:lnTo>
                  <a:lnTo>
                    <a:pt x="605" y="39"/>
                  </a:lnTo>
                  <a:lnTo>
                    <a:pt x="615" y="39"/>
                  </a:lnTo>
                  <a:lnTo>
                    <a:pt x="615" y="58"/>
                  </a:lnTo>
                  <a:lnTo>
                    <a:pt x="605" y="58"/>
                  </a:lnTo>
                  <a:lnTo>
                    <a:pt x="605" y="68"/>
                  </a:lnTo>
                  <a:lnTo>
                    <a:pt x="605" y="78"/>
                  </a:lnTo>
                  <a:lnTo>
                    <a:pt x="615" y="78"/>
                  </a:lnTo>
                  <a:lnTo>
                    <a:pt x="615" y="88"/>
                  </a:lnTo>
                  <a:lnTo>
                    <a:pt x="625" y="88"/>
                  </a:lnTo>
                  <a:lnTo>
                    <a:pt x="625" y="97"/>
                  </a:lnTo>
                  <a:lnTo>
                    <a:pt x="625" y="107"/>
                  </a:lnTo>
                  <a:lnTo>
                    <a:pt x="615" y="107"/>
                  </a:lnTo>
                  <a:lnTo>
                    <a:pt x="605" y="117"/>
                  </a:lnTo>
                  <a:lnTo>
                    <a:pt x="625" y="117"/>
                  </a:lnTo>
                  <a:lnTo>
                    <a:pt x="634" y="117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25" y="156"/>
                  </a:lnTo>
                  <a:lnTo>
                    <a:pt x="634" y="156"/>
                  </a:lnTo>
                  <a:lnTo>
                    <a:pt x="644" y="156"/>
                  </a:lnTo>
                  <a:lnTo>
                    <a:pt x="634" y="166"/>
                  </a:lnTo>
                  <a:lnTo>
                    <a:pt x="644" y="175"/>
                  </a:lnTo>
                  <a:lnTo>
                    <a:pt x="654" y="175"/>
                  </a:lnTo>
                  <a:lnTo>
                    <a:pt x="644" y="175"/>
                  </a:lnTo>
                  <a:lnTo>
                    <a:pt x="644" y="185"/>
                  </a:lnTo>
                  <a:lnTo>
                    <a:pt x="654" y="195"/>
                  </a:lnTo>
                  <a:lnTo>
                    <a:pt x="644" y="195"/>
                  </a:lnTo>
                  <a:lnTo>
                    <a:pt x="644" y="205"/>
                  </a:lnTo>
                  <a:lnTo>
                    <a:pt x="654" y="205"/>
                  </a:lnTo>
                  <a:lnTo>
                    <a:pt x="654" y="224"/>
                  </a:lnTo>
                  <a:lnTo>
                    <a:pt x="654" y="234"/>
                  </a:lnTo>
                  <a:lnTo>
                    <a:pt x="654" y="244"/>
                  </a:lnTo>
                  <a:lnTo>
                    <a:pt x="654" y="263"/>
                  </a:lnTo>
                  <a:lnTo>
                    <a:pt x="664" y="273"/>
                  </a:lnTo>
                  <a:lnTo>
                    <a:pt x="654" y="273"/>
                  </a:lnTo>
                  <a:lnTo>
                    <a:pt x="664" y="273"/>
                  </a:lnTo>
                  <a:lnTo>
                    <a:pt x="673" y="283"/>
                  </a:lnTo>
                  <a:lnTo>
                    <a:pt x="673" y="293"/>
                  </a:lnTo>
                  <a:lnTo>
                    <a:pt x="683" y="302"/>
                  </a:lnTo>
                  <a:lnTo>
                    <a:pt x="693" y="302"/>
                  </a:lnTo>
                  <a:lnTo>
                    <a:pt x="703" y="312"/>
                  </a:lnTo>
                  <a:lnTo>
                    <a:pt x="703" y="322"/>
                  </a:lnTo>
                  <a:lnTo>
                    <a:pt x="683" y="322"/>
                  </a:lnTo>
                  <a:lnTo>
                    <a:pt x="673" y="322"/>
                  </a:lnTo>
                  <a:lnTo>
                    <a:pt x="654" y="322"/>
                  </a:lnTo>
                  <a:lnTo>
                    <a:pt x="644" y="322"/>
                  </a:lnTo>
                  <a:lnTo>
                    <a:pt x="625" y="322"/>
                  </a:lnTo>
                  <a:lnTo>
                    <a:pt x="615" y="332"/>
                  </a:lnTo>
                  <a:lnTo>
                    <a:pt x="605" y="322"/>
                  </a:lnTo>
                  <a:lnTo>
                    <a:pt x="595" y="332"/>
                  </a:lnTo>
                  <a:lnTo>
                    <a:pt x="595" y="351"/>
                  </a:lnTo>
                  <a:lnTo>
                    <a:pt x="586" y="361"/>
                  </a:lnTo>
                  <a:lnTo>
                    <a:pt x="576" y="371"/>
                  </a:lnTo>
                  <a:lnTo>
                    <a:pt x="566" y="400"/>
                  </a:lnTo>
                  <a:lnTo>
                    <a:pt x="566" y="410"/>
                  </a:lnTo>
                  <a:lnTo>
                    <a:pt x="566" y="429"/>
                  </a:lnTo>
                  <a:lnTo>
                    <a:pt x="566" y="449"/>
                  </a:lnTo>
                  <a:lnTo>
                    <a:pt x="556" y="449"/>
                  </a:lnTo>
                  <a:lnTo>
                    <a:pt x="566" y="458"/>
                  </a:lnTo>
                  <a:lnTo>
                    <a:pt x="566" y="478"/>
                  </a:lnTo>
                  <a:lnTo>
                    <a:pt x="566" y="488"/>
                  </a:lnTo>
                  <a:lnTo>
                    <a:pt x="576" y="488"/>
                  </a:lnTo>
                  <a:lnTo>
                    <a:pt x="576" y="507"/>
                  </a:lnTo>
                  <a:lnTo>
                    <a:pt x="586" y="507"/>
                  </a:lnTo>
                  <a:lnTo>
                    <a:pt x="586" y="517"/>
                  </a:lnTo>
                  <a:lnTo>
                    <a:pt x="576" y="527"/>
                  </a:lnTo>
                  <a:lnTo>
                    <a:pt x="566" y="517"/>
                  </a:lnTo>
                  <a:lnTo>
                    <a:pt x="556" y="507"/>
                  </a:lnTo>
                  <a:lnTo>
                    <a:pt x="537" y="497"/>
                  </a:lnTo>
                  <a:lnTo>
                    <a:pt x="527" y="488"/>
                  </a:lnTo>
                  <a:lnTo>
                    <a:pt x="527" y="478"/>
                  </a:lnTo>
                  <a:lnTo>
                    <a:pt x="517" y="478"/>
                  </a:lnTo>
                  <a:lnTo>
                    <a:pt x="517" y="536"/>
                  </a:lnTo>
                  <a:lnTo>
                    <a:pt x="527" y="546"/>
                  </a:lnTo>
                  <a:lnTo>
                    <a:pt x="517" y="556"/>
                  </a:lnTo>
                  <a:lnTo>
                    <a:pt x="527" y="556"/>
                  </a:lnTo>
                  <a:lnTo>
                    <a:pt x="537" y="566"/>
                  </a:lnTo>
                  <a:lnTo>
                    <a:pt x="547" y="576"/>
                  </a:lnTo>
                  <a:lnTo>
                    <a:pt x="547" y="585"/>
                  </a:lnTo>
                  <a:lnTo>
                    <a:pt x="537" y="595"/>
                  </a:lnTo>
                  <a:lnTo>
                    <a:pt x="527" y="585"/>
                  </a:lnTo>
                  <a:lnTo>
                    <a:pt x="508" y="585"/>
                  </a:lnTo>
                  <a:lnTo>
                    <a:pt x="498" y="595"/>
                  </a:lnTo>
                  <a:lnTo>
                    <a:pt x="508" y="605"/>
                  </a:lnTo>
                  <a:lnTo>
                    <a:pt x="498" y="615"/>
                  </a:lnTo>
                  <a:lnTo>
                    <a:pt x="478" y="615"/>
                  </a:lnTo>
                  <a:lnTo>
                    <a:pt x="478" y="624"/>
                  </a:lnTo>
                  <a:lnTo>
                    <a:pt x="498" y="624"/>
                  </a:lnTo>
                  <a:lnTo>
                    <a:pt x="488" y="634"/>
                  </a:lnTo>
                  <a:lnTo>
                    <a:pt x="488" y="644"/>
                  </a:lnTo>
                  <a:lnTo>
                    <a:pt x="488" y="654"/>
                  </a:lnTo>
                  <a:lnTo>
                    <a:pt x="498" y="663"/>
                  </a:lnTo>
                  <a:lnTo>
                    <a:pt x="508" y="663"/>
                  </a:lnTo>
                  <a:lnTo>
                    <a:pt x="508" y="673"/>
                  </a:lnTo>
                  <a:lnTo>
                    <a:pt x="508" y="683"/>
                  </a:lnTo>
                  <a:lnTo>
                    <a:pt x="527" y="683"/>
                  </a:lnTo>
                  <a:lnTo>
                    <a:pt x="537" y="693"/>
                  </a:lnTo>
                  <a:lnTo>
                    <a:pt x="527" y="693"/>
                  </a:lnTo>
                  <a:lnTo>
                    <a:pt x="527" y="702"/>
                  </a:lnTo>
                  <a:lnTo>
                    <a:pt x="547" y="702"/>
                  </a:lnTo>
                  <a:lnTo>
                    <a:pt x="556" y="712"/>
                  </a:lnTo>
                  <a:lnTo>
                    <a:pt x="537" y="712"/>
                  </a:lnTo>
                  <a:lnTo>
                    <a:pt x="537" y="722"/>
                  </a:lnTo>
                  <a:lnTo>
                    <a:pt x="556" y="722"/>
                  </a:lnTo>
                  <a:lnTo>
                    <a:pt x="556" y="732"/>
                  </a:lnTo>
                  <a:lnTo>
                    <a:pt x="556" y="741"/>
                  </a:lnTo>
                  <a:lnTo>
                    <a:pt x="566" y="751"/>
                  </a:lnTo>
                  <a:lnTo>
                    <a:pt x="566" y="761"/>
                  </a:lnTo>
                  <a:lnTo>
                    <a:pt x="566" y="790"/>
                  </a:lnTo>
                  <a:lnTo>
                    <a:pt x="586" y="819"/>
                  </a:lnTo>
                  <a:lnTo>
                    <a:pt x="595" y="829"/>
                  </a:lnTo>
                  <a:lnTo>
                    <a:pt x="605" y="849"/>
                  </a:lnTo>
                  <a:lnTo>
                    <a:pt x="625" y="849"/>
                  </a:lnTo>
                  <a:lnTo>
                    <a:pt x="634" y="849"/>
                  </a:lnTo>
                  <a:lnTo>
                    <a:pt x="644" y="839"/>
                  </a:lnTo>
                  <a:lnTo>
                    <a:pt x="654" y="849"/>
                  </a:lnTo>
                  <a:lnTo>
                    <a:pt x="654" y="839"/>
                  </a:lnTo>
                  <a:lnTo>
                    <a:pt x="654" y="829"/>
                  </a:lnTo>
                  <a:lnTo>
                    <a:pt x="644" y="829"/>
                  </a:lnTo>
                  <a:lnTo>
                    <a:pt x="634" y="810"/>
                  </a:lnTo>
                  <a:lnTo>
                    <a:pt x="644" y="810"/>
                  </a:lnTo>
                  <a:lnTo>
                    <a:pt x="654" y="810"/>
                  </a:lnTo>
                  <a:lnTo>
                    <a:pt x="673" y="790"/>
                  </a:lnTo>
                  <a:lnTo>
                    <a:pt x="683" y="790"/>
                  </a:lnTo>
                  <a:lnTo>
                    <a:pt x="683" y="800"/>
                  </a:lnTo>
                  <a:lnTo>
                    <a:pt x="703" y="810"/>
                  </a:lnTo>
                  <a:lnTo>
                    <a:pt x="703" y="819"/>
                  </a:lnTo>
                  <a:lnTo>
                    <a:pt x="703" y="829"/>
                  </a:lnTo>
                  <a:lnTo>
                    <a:pt x="703" y="849"/>
                  </a:lnTo>
                  <a:lnTo>
                    <a:pt x="683" y="868"/>
                  </a:lnTo>
                  <a:lnTo>
                    <a:pt x="673" y="878"/>
                  </a:lnTo>
                  <a:lnTo>
                    <a:pt x="664" y="888"/>
                  </a:lnTo>
                  <a:lnTo>
                    <a:pt x="664" y="907"/>
                  </a:lnTo>
                  <a:lnTo>
                    <a:pt x="654" y="907"/>
                  </a:lnTo>
                  <a:lnTo>
                    <a:pt x="625" y="917"/>
                  </a:lnTo>
                  <a:lnTo>
                    <a:pt x="605" y="937"/>
                  </a:lnTo>
                  <a:lnTo>
                    <a:pt x="605" y="946"/>
                  </a:lnTo>
                  <a:lnTo>
                    <a:pt x="605" y="956"/>
                  </a:lnTo>
                  <a:lnTo>
                    <a:pt x="615" y="976"/>
                  </a:lnTo>
                  <a:lnTo>
                    <a:pt x="615" y="995"/>
                  </a:lnTo>
                  <a:lnTo>
                    <a:pt x="625" y="1005"/>
                  </a:lnTo>
                  <a:lnTo>
                    <a:pt x="644" y="1015"/>
                  </a:lnTo>
                  <a:lnTo>
                    <a:pt x="644" y="1034"/>
                  </a:lnTo>
                  <a:lnTo>
                    <a:pt x="625" y="1063"/>
                  </a:lnTo>
                  <a:lnTo>
                    <a:pt x="615" y="1093"/>
                  </a:lnTo>
                  <a:lnTo>
                    <a:pt x="605" y="1093"/>
                  </a:lnTo>
                  <a:lnTo>
                    <a:pt x="586" y="1093"/>
                  </a:lnTo>
                  <a:lnTo>
                    <a:pt x="576" y="1102"/>
                  </a:lnTo>
                  <a:lnTo>
                    <a:pt x="576" y="1122"/>
                  </a:lnTo>
                  <a:lnTo>
                    <a:pt x="576" y="1141"/>
                  </a:lnTo>
                  <a:lnTo>
                    <a:pt x="576" y="1151"/>
                  </a:lnTo>
                  <a:lnTo>
                    <a:pt x="586" y="1161"/>
                  </a:lnTo>
                  <a:lnTo>
                    <a:pt x="595" y="1161"/>
                  </a:lnTo>
                  <a:lnTo>
                    <a:pt x="615" y="1151"/>
                  </a:lnTo>
                  <a:lnTo>
                    <a:pt x="634" y="1141"/>
                  </a:lnTo>
                  <a:lnTo>
                    <a:pt x="644" y="1141"/>
                  </a:lnTo>
                  <a:lnTo>
                    <a:pt x="644" y="1210"/>
                  </a:lnTo>
                  <a:lnTo>
                    <a:pt x="625" y="1219"/>
                  </a:lnTo>
                  <a:lnTo>
                    <a:pt x="615" y="1229"/>
                  </a:lnTo>
                  <a:lnTo>
                    <a:pt x="605" y="1239"/>
                  </a:lnTo>
                  <a:lnTo>
                    <a:pt x="595" y="1249"/>
                  </a:lnTo>
                  <a:lnTo>
                    <a:pt x="595" y="1278"/>
                  </a:lnTo>
                  <a:lnTo>
                    <a:pt x="586" y="1288"/>
                  </a:lnTo>
                  <a:lnTo>
                    <a:pt x="566" y="1288"/>
                  </a:lnTo>
                  <a:lnTo>
                    <a:pt x="556" y="1298"/>
                  </a:lnTo>
                  <a:lnTo>
                    <a:pt x="547" y="1307"/>
                  </a:lnTo>
                  <a:lnTo>
                    <a:pt x="527" y="1288"/>
                  </a:lnTo>
                  <a:lnTo>
                    <a:pt x="527" y="1278"/>
                  </a:lnTo>
                  <a:lnTo>
                    <a:pt x="517" y="1258"/>
                  </a:lnTo>
                  <a:lnTo>
                    <a:pt x="508" y="1249"/>
                  </a:lnTo>
                  <a:lnTo>
                    <a:pt x="498" y="1229"/>
                  </a:lnTo>
                  <a:lnTo>
                    <a:pt x="488" y="1210"/>
                  </a:lnTo>
                  <a:lnTo>
                    <a:pt x="488" y="1200"/>
                  </a:lnTo>
                  <a:lnTo>
                    <a:pt x="488" y="1190"/>
                  </a:lnTo>
                  <a:lnTo>
                    <a:pt x="478" y="1171"/>
                  </a:lnTo>
                  <a:lnTo>
                    <a:pt x="468" y="1161"/>
                  </a:lnTo>
                  <a:lnTo>
                    <a:pt x="488" y="1151"/>
                  </a:lnTo>
                  <a:lnTo>
                    <a:pt x="468" y="1141"/>
                  </a:lnTo>
                  <a:lnTo>
                    <a:pt x="468" y="1122"/>
                  </a:lnTo>
                  <a:lnTo>
                    <a:pt x="459" y="1112"/>
                  </a:lnTo>
                  <a:lnTo>
                    <a:pt x="439" y="1102"/>
                  </a:lnTo>
                  <a:lnTo>
                    <a:pt x="429" y="1093"/>
                  </a:lnTo>
                  <a:lnTo>
                    <a:pt x="420" y="1083"/>
                  </a:lnTo>
                  <a:lnTo>
                    <a:pt x="429" y="1083"/>
                  </a:lnTo>
                  <a:lnTo>
                    <a:pt x="439" y="1073"/>
                  </a:lnTo>
                  <a:lnTo>
                    <a:pt x="449" y="1073"/>
                  </a:lnTo>
                  <a:lnTo>
                    <a:pt x="449" y="1054"/>
                  </a:lnTo>
                  <a:lnTo>
                    <a:pt x="439" y="1044"/>
                  </a:lnTo>
                  <a:lnTo>
                    <a:pt x="439" y="1034"/>
                  </a:lnTo>
                  <a:lnTo>
                    <a:pt x="449" y="1024"/>
                  </a:lnTo>
                  <a:lnTo>
                    <a:pt x="459" y="1015"/>
                  </a:lnTo>
                  <a:lnTo>
                    <a:pt x="449" y="995"/>
                  </a:lnTo>
                  <a:lnTo>
                    <a:pt x="449" y="985"/>
                  </a:lnTo>
                  <a:lnTo>
                    <a:pt x="449" y="946"/>
                  </a:lnTo>
                  <a:lnTo>
                    <a:pt x="459" y="937"/>
                  </a:lnTo>
                  <a:lnTo>
                    <a:pt x="449" y="927"/>
                  </a:lnTo>
                  <a:lnTo>
                    <a:pt x="449" y="907"/>
                  </a:lnTo>
                  <a:lnTo>
                    <a:pt x="449" y="897"/>
                  </a:lnTo>
                  <a:lnTo>
                    <a:pt x="449" y="888"/>
                  </a:lnTo>
                  <a:lnTo>
                    <a:pt x="429" y="878"/>
                  </a:lnTo>
                  <a:lnTo>
                    <a:pt x="429" y="868"/>
                  </a:lnTo>
                  <a:lnTo>
                    <a:pt x="420" y="849"/>
                  </a:lnTo>
                  <a:lnTo>
                    <a:pt x="420" y="839"/>
                  </a:lnTo>
                  <a:lnTo>
                    <a:pt x="420" y="819"/>
                  </a:lnTo>
                  <a:lnTo>
                    <a:pt x="420" y="810"/>
                  </a:lnTo>
                  <a:lnTo>
                    <a:pt x="420" y="800"/>
                  </a:lnTo>
                  <a:lnTo>
                    <a:pt x="410" y="780"/>
                  </a:lnTo>
                  <a:lnTo>
                    <a:pt x="410" y="761"/>
                  </a:lnTo>
                  <a:lnTo>
                    <a:pt x="410" y="751"/>
                  </a:lnTo>
                  <a:lnTo>
                    <a:pt x="400" y="741"/>
                  </a:lnTo>
                  <a:lnTo>
                    <a:pt x="400" y="712"/>
                  </a:lnTo>
                  <a:lnTo>
                    <a:pt x="400" y="693"/>
                  </a:lnTo>
                  <a:lnTo>
                    <a:pt x="381" y="673"/>
                  </a:lnTo>
                  <a:lnTo>
                    <a:pt x="371" y="654"/>
                  </a:lnTo>
                  <a:lnTo>
                    <a:pt x="381" y="634"/>
                  </a:lnTo>
                  <a:lnTo>
                    <a:pt x="381" y="624"/>
                  </a:lnTo>
                  <a:lnTo>
                    <a:pt x="381" y="615"/>
                  </a:lnTo>
                  <a:lnTo>
                    <a:pt x="381" y="605"/>
                  </a:lnTo>
                  <a:lnTo>
                    <a:pt x="381" y="595"/>
                  </a:lnTo>
                  <a:lnTo>
                    <a:pt x="390" y="595"/>
                  </a:lnTo>
                  <a:lnTo>
                    <a:pt x="390" y="585"/>
                  </a:lnTo>
                  <a:lnTo>
                    <a:pt x="390" y="566"/>
                  </a:lnTo>
                  <a:lnTo>
                    <a:pt x="371" y="566"/>
                  </a:lnTo>
                  <a:lnTo>
                    <a:pt x="371" y="556"/>
                  </a:lnTo>
                  <a:lnTo>
                    <a:pt x="371" y="546"/>
                  </a:lnTo>
                  <a:lnTo>
                    <a:pt x="371" y="536"/>
                  </a:lnTo>
                  <a:lnTo>
                    <a:pt x="361" y="527"/>
                  </a:lnTo>
                  <a:lnTo>
                    <a:pt x="351" y="527"/>
                  </a:lnTo>
                  <a:lnTo>
                    <a:pt x="342" y="527"/>
                  </a:lnTo>
                  <a:lnTo>
                    <a:pt x="332" y="517"/>
                  </a:lnTo>
                  <a:lnTo>
                    <a:pt x="322" y="517"/>
                  </a:lnTo>
                  <a:lnTo>
                    <a:pt x="322" y="497"/>
                  </a:lnTo>
                  <a:lnTo>
                    <a:pt x="312" y="497"/>
                  </a:lnTo>
                  <a:lnTo>
                    <a:pt x="303" y="488"/>
                  </a:lnTo>
                  <a:lnTo>
                    <a:pt x="293" y="478"/>
                  </a:lnTo>
                  <a:lnTo>
                    <a:pt x="273" y="458"/>
                  </a:lnTo>
                  <a:lnTo>
                    <a:pt x="273" y="449"/>
                  </a:lnTo>
                  <a:lnTo>
                    <a:pt x="273" y="429"/>
                  </a:lnTo>
                  <a:lnTo>
                    <a:pt x="283" y="410"/>
                  </a:lnTo>
                  <a:lnTo>
                    <a:pt x="293" y="410"/>
                  </a:lnTo>
                  <a:lnTo>
                    <a:pt x="293" y="400"/>
                  </a:lnTo>
                  <a:lnTo>
                    <a:pt x="293" y="390"/>
                  </a:lnTo>
                  <a:lnTo>
                    <a:pt x="283" y="400"/>
                  </a:lnTo>
                  <a:lnTo>
                    <a:pt x="273" y="410"/>
                  </a:lnTo>
                  <a:lnTo>
                    <a:pt x="264" y="410"/>
                  </a:lnTo>
                  <a:lnTo>
                    <a:pt x="254" y="410"/>
                  </a:lnTo>
                  <a:lnTo>
                    <a:pt x="244" y="429"/>
                  </a:lnTo>
                  <a:lnTo>
                    <a:pt x="244" y="449"/>
                  </a:lnTo>
                  <a:lnTo>
                    <a:pt x="234" y="458"/>
                  </a:lnTo>
                  <a:lnTo>
                    <a:pt x="225" y="458"/>
                  </a:lnTo>
                  <a:lnTo>
                    <a:pt x="225" y="478"/>
                  </a:lnTo>
                  <a:lnTo>
                    <a:pt x="234" y="488"/>
                  </a:lnTo>
                  <a:lnTo>
                    <a:pt x="244" y="488"/>
                  </a:lnTo>
                  <a:lnTo>
                    <a:pt x="244" y="497"/>
                  </a:lnTo>
                  <a:lnTo>
                    <a:pt x="254" y="507"/>
                  </a:lnTo>
                  <a:lnTo>
                    <a:pt x="264" y="507"/>
                  </a:lnTo>
                  <a:lnTo>
                    <a:pt x="273" y="517"/>
                  </a:lnTo>
                  <a:lnTo>
                    <a:pt x="273" y="527"/>
                  </a:lnTo>
                  <a:lnTo>
                    <a:pt x="283" y="536"/>
                  </a:lnTo>
                  <a:lnTo>
                    <a:pt x="303" y="536"/>
                  </a:lnTo>
                  <a:lnTo>
                    <a:pt x="312" y="536"/>
                  </a:lnTo>
                  <a:lnTo>
                    <a:pt x="312" y="556"/>
                  </a:lnTo>
                  <a:lnTo>
                    <a:pt x="303" y="556"/>
                  </a:lnTo>
                  <a:lnTo>
                    <a:pt x="293" y="556"/>
                  </a:lnTo>
                  <a:lnTo>
                    <a:pt x="283" y="566"/>
                  </a:lnTo>
                  <a:lnTo>
                    <a:pt x="283" y="576"/>
                  </a:lnTo>
                  <a:lnTo>
                    <a:pt x="254" y="556"/>
                  </a:lnTo>
                  <a:lnTo>
                    <a:pt x="264" y="536"/>
                  </a:lnTo>
                  <a:lnTo>
                    <a:pt x="254" y="536"/>
                  </a:lnTo>
                  <a:lnTo>
                    <a:pt x="234" y="536"/>
                  </a:lnTo>
                  <a:lnTo>
                    <a:pt x="234" y="527"/>
                  </a:lnTo>
                  <a:lnTo>
                    <a:pt x="225" y="517"/>
                  </a:lnTo>
                  <a:lnTo>
                    <a:pt x="215" y="497"/>
                  </a:lnTo>
                  <a:lnTo>
                    <a:pt x="195" y="488"/>
                  </a:lnTo>
                  <a:lnTo>
                    <a:pt x="156" y="478"/>
                  </a:lnTo>
                  <a:lnTo>
                    <a:pt x="156" y="449"/>
                  </a:lnTo>
                  <a:lnTo>
                    <a:pt x="127" y="449"/>
                  </a:lnTo>
                  <a:lnTo>
                    <a:pt x="127" y="439"/>
                  </a:lnTo>
                  <a:lnTo>
                    <a:pt x="127" y="429"/>
                  </a:lnTo>
                  <a:lnTo>
                    <a:pt x="117" y="410"/>
                  </a:lnTo>
                  <a:lnTo>
                    <a:pt x="108" y="410"/>
                  </a:lnTo>
                  <a:lnTo>
                    <a:pt x="98" y="410"/>
                  </a:lnTo>
                  <a:lnTo>
                    <a:pt x="78" y="410"/>
                  </a:lnTo>
                  <a:lnTo>
                    <a:pt x="78" y="400"/>
                  </a:lnTo>
                  <a:lnTo>
                    <a:pt x="78" y="390"/>
                  </a:lnTo>
                  <a:lnTo>
                    <a:pt x="59" y="380"/>
                  </a:lnTo>
                  <a:lnTo>
                    <a:pt x="49" y="380"/>
                  </a:lnTo>
                  <a:lnTo>
                    <a:pt x="59" y="371"/>
                  </a:lnTo>
                  <a:lnTo>
                    <a:pt x="49" y="351"/>
                  </a:lnTo>
                  <a:lnTo>
                    <a:pt x="30" y="351"/>
                  </a:lnTo>
                  <a:lnTo>
                    <a:pt x="20" y="332"/>
                  </a:lnTo>
                  <a:lnTo>
                    <a:pt x="10" y="322"/>
                  </a:lnTo>
                  <a:lnTo>
                    <a:pt x="0" y="312"/>
                  </a:lnTo>
                  <a:lnTo>
                    <a:pt x="20" y="293"/>
                  </a:lnTo>
                  <a:lnTo>
                    <a:pt x="30" y="273"/>
                  </a:lnTo>
                  <a:lnTo>
                    <a:pt x="39" y="263"/>
                  </a:lnTo>
                  <a:lnTo>
                    <a:pt x="59" y="263"/>
                  </a:lnTo>
                  <a:lnTo>
                    <a:pt x="49" y="244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52" name="Group 53"/>
            <p:cNvGrpSpPr>
              <a:grpSpLocks/>
            </p:cNvGrpSpPr>
            <p:nvPr/>
          </p:nvGrpSpPr>
          <p:grpSpPr bwMode="auto">
            <a:xfrm>
              <a:off x="8085" y="888"/>
              <a:ext cx="703" cy="1307"/>
              <a:chOff x="8086" y="888"/>
              <a:chExt cx="703" cy="1307"/>
            </a:xfrm>
          </p:grpSpPr>
          <p:sp>
            <p:nvSpPr>
              <p:cNvPr id="290" name="Freeform 55"/>
              <p:cNvSpPr>
                <a:spLocks/>
              </p:cNvSpPr>
              <p:nvPr/>
            </p:nvSpPr>
            <p:spPr bwMode="auto">
              <a:xfrm>
                <a:off x="8087" y="889"/>
                <a:ext cx="704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  <a:lnTo>
                      <a:pt x="49" y="244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1" name="Freeform 54"/>
              <p:cNvSpPr>
                <a:spLocks/>
              </p:cNvSpPr>
              <p:nvPr/>
            </p:nvSpPr>
            <p:spPr bwMode="auto">
              <a:xfrm>
                <a:off x="8087" y="889"/>
                <a:ext cx="704" cy="1307"/>
              </a:xfrm>
              <a:custGeom>
                <a:avLst/>
                <a:gdLst>
                  <a:gd name="T0" fmla="*/ 88 w 703"/>
                  <a:gd name="T1" fmla="*/ 244 h 1307"/>
                  <a:gd name="T2" fmla="*/ 176 w 703"/>
                  <a:gd name="T3" fmla="*/ 166 h 1307"/>
                  <a:gd name="T4" fmla="*/ 273 w 703"/>
                  <a:gd name="T5" fmla="*/ 127 h 1307"/>
                  <a:gd name="T6" fmla="*/ 342 w 703"/>
                  <a:gd name="T7" fmla="*/ 215 h 1307"/>
                  <a:gd name="T8" fmla="*/ 449 w 703"/>
                  <a:gd name="T9" fmla="*/ 185 h 1307"/>
                  <a:gd name="T10" fmla="*/ 488 w 703"/>
                  <a:gd name="T11" fmla="*/ 88 h 1307"/>
                  <a:gd name="T12" fmla="*/ 537 w 703"/>
                  <a:gd name="T13" fmla="*/ 10 h 1307"/>
                  <a:gd name="T14" fmla="*/ 605 w 703"/>
                  <a:gd name="T15" fmla="*/ 10 h 1307"/>
                  <a:gd name="T16" fmla="*/ 615 w 703"/>
                  <a:gd name="T17" fmla="*/ 58 h 1307"/>
                  <a:gd name="T18" fmla="*/ 625 w 703"/>
                  <a:gd name="T19" fmla="*/ 88 h 1307"/>
                  <a:gd name="T20" fmla="*/ 625 w 703"/>
                  <a:gd name="T21" fmla="*/ 117 h 1307"/>
                  <a:gd name="T22" fmla="*/ 634 w 703"/>
                  <a:gd name="T23" fmla="*/ 156 h 1307"/>
                  <a:gd name="T24" fmla="*/ 644 w 703"/>
                  <a:gd name="T25" fmla="*/ 175 h 1307"/>
                  <a:gd name="T26" fmla="*/ 654 w 703"/>
                  <a:gd name="T27" fmla="*/ 215 h 1307"/>
                  <a:gd name="T28" fmla="*/ 654 w 703"/>
                  <a:gd name="T29" fmla="*/ 273 h 1307"/>
                  <a:gd name="T30" fmla="*/ 703 w 703"/>
                  <a:gd name="T31" fmla="*/ 312 h 1307"/>
                  <a:gd name="T32" fmla="*/ 625 w 703"/>
                  <a:gd name="T33" fmla="*/ 332 h 1307"/>
                  <a:gd name="T34" fmla="*/ 576 w 703"/>
                  <a:gd name="T35" fmla="*/ 371 h 1307"/>
                  <a:gd name="T36" fmla="*/ 556 w 703"/>
                  <a:gd name="T37" fmla="*/ 449 h 1307"/>
                  <a:gd name="T38" fmla="*/ 576 w 703"/>
                  <a:gd name="T39" fmla="*/ 488 h 1307"/>
                  <a:gd name="T40" fmla="*/ 556 w 703"/>
                  <a:gd name="T41" fmla="*/ 507 h 1307"/>
                  <a:gd name="T42" fmla="*/ 527 w 703"/>
                  <a:gd name="T43" fmla="*/ 546 h 1307"/>
                  <a:gd name="T44" fmla="*/ 537 w 703"/>
                  <a:gd name="T45" fmla="*/ 595 h 1307"/>
                  <a:gd name="T46" fmla="*/ 508 w 703"/>
                  <a:gd name="T47" fmla="*/ 605 h 1307"/>
                  <a:gd name="T48" fmla="*/ 488 w 703"/>
                  <a:gd name="T49" fmla="*/ 634 h 1307"/>
                  <a:gd name="T50" fmla="*/ 508 w 703"/>
                  <a:gd name="T51" fmla="*/ 683 h 1307"/>
                  <a:gd name="T52" fmla="*/ 556 w 703"/>
                  <a:gd name="T53" fmla="*/ 712 h 1307"/>
                  <a:gd name="T54" fmla="*/ 556 w 703"/>
                  <a:gd name="T55" fmla="*/ 741 h 1307"/>
                  <a:gd name="T56" fmla="*/ 605 w 703"/>
                  <a:gd name="T57" fmla="*/ 849 h 1307"/>
                  <a:gd name="T58" fmla="*/ 654 w 703"/>
                  <a:gd name="T59" fmla="*/ 829 h 1307"/>
                  <a:gd name="T60" fmla="*/ 683 w 703"/>
                  <a:gd name="T61" fmla="*/ 790 h 1307"/>
                  <a:gd name="T62" fmla="*/ 683 w 703"/>
                  <a:gd name="T63" fmla="*/ 868 h 1307"/>
                  <a:gd name="T64" fmla="*/ 605 w 703"/>
                  <a:gd name="T65" fmla="*/ 937 h 1307"/>
                  <a:gd name="T66" fmla="*/ 644 w 703"/>
                  <a:gd name="T67" fmla="*/ 1024 h 1307"/>
                  <a:gd name="T68" fmla="*/ 576 w 703"/>
                  <a:gd name="T69" fmla="*/ 1102 h 1307"/>
                  <a:gd name="T70" fmla="*/ 615 w 703"/>
                  <a:gd name="T71" fmla="*/ 1151 h 1307"/>
                  <a:gd name="T72" fmla="*/ 605 w 703"/>
                  <a:gd name="T73" fmla="*/ 1239 h 1307"/>
                  <a:gd name="T74" fmla="*/ 547 w 703"/>
                  <a:gd name="T75" fmla="*/ 1307 h 1307"/>
                  <a:gd name="T76" fmla="*/ 488 w 703"/>
                  <a:gd name="T77" fmla="*/ 1210 h 1307"/>
                  <a:gd name="T78" fmla="*/ 488 w 703"/>
                  <a:gd name="T79" fmla="*/ 1151 h 1307"/>
                  <a:gd name="T80" fmla="*/ 420 w 703"/>
                  <a:gd name="T81" fmla="*/ 1083 h 1307"/>
                  <a:gd name="T82" fmla="*/ 439 w 703"/>
                  <a:gd name="T83" fmla="*/ 1034 h 1307"/>
                  <a:gd name="T84" fmla="*/ 459 w 703"/>
                  <a:gd name="T85" fmla="*/ 937 h 1307"/>
                  <a:gd name="T86" fmla="*/ 429 w 703"/>
                  <a:gd name="T87" fmla="*/ 868 h 1307"/>
                  <a:gd name="T88" fmla="*/ 410 w 703"/>
                  <a:gd name="T89" fmla="*/ 780 h 1307"/>
                  <a:gd name="T90" fmla="*/ 381 w 703"/>
                  <a:gd name="T91" fmla="*/ 683 h 1307"/>
                  <a:gd name="T92" fmla="*/ 381 w 703"/>
                  <a:gd name="T93" fmla="*/ 595 h 1307"/>
                  <a:gd name="T94" fmla="*/ 371 w 703"/>
                  <a:gd name="T95" fmla="*/ 546 h 1307"/>
                  <a:gd name="T96" fmla="*/ 322 w 703"/>
                  <a:gd name="T97" fmla="*/ 517 h 1307"/>
                  <a:gd name="T98" fmla="*/ 273 w 703"/>
                  <a:gd name="T99" fmla="*/ 449 h 1307"/>
                  <a:gd name="T100" fmla="*/ 283 w 703"/>
                  <a:gd name="T101" fmla="*/ 400 h 1307"/>
                  <a:gd name="T102" fmla="*/ 244 w 703"/>
                  <a:gd name="T103" fmla="*/ 449 h 1307"/>
                  <a:gd name="T104" fmla="*/ 244 w 703"/>
                  <a:gd name="T105" fmla="*/ 497 h 1307"/>
                  <a:gd name="T106" fmla="*/ 303 w 703"/>
                  <a:gd name="T107" fmla="*/ 536 h 1307"/>
                  <a:gd name="T108" fmla="*/ 283 w 703"/>
                  <a:gd name="T109" fmla="*/ 566 h 1307"/>
                  <a:gd name="T110" fmla="*/ 234 w 703"/>
                  <a:gd name="T111" fmla="*/ 536 h 1307"/>
                  <a:gd name="T112" fmla="*/ 156 w 703"/>
                  <a:gd name="T113" fmla="*/ 478 h 1307"/>
                  <a:gd name="T114" fmla="*/ 108 w 703"/>
                  <a:gd name="T115" fmla="*/ 410 h 1307"/>
                  <a:gd name="T116" fmla="*/ 49 w 703"/>
                  <a:gd name="T117" fmla="*/ 380 h 1307"/>
                  <a:gd name="T118" fmla="*/ 0 w 703"/>
                  <a:gd name="T119" fmla="*/ 312 h 130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03"/>
                  <a:gd name="T181" fmla="*/ 0 h 1307"/>
                  <a:gd name="T182" fmla="*/ 703 w 703"/>
                  <a:gd name="T183" fmla="*/ 1307 h 130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03" h="1307">
                    <a:moveTo>
                      <a:pt x="49" y="244"/>
                    </a:moveTo>
                    <a:lnTo>
                      <a:pt x="59" y="234"/>
                    </a:lnTo>
                    <a:lnTo>
                      <a:pt x="69" y="234"/>
                    </a:lnTo>
                    <a:lnTo>
                      <a:pt x="78" y="224"/>
                    </a:lnTo>
                    <a:lnTo>
                      <a:pt x="88" y="224"/>
                    </a:lnTo>
                    <a:lnTo>
                      <a:pt x="88" y="244"/>
                    </a:lnTo>
                    <a:lnTo>
                      <a:pt x="108" y="244"/>
                    </a:lnTo>
                    <a:lnTo>
                      <a:pt x="108" y="215"/>
                    </a:lnTo>
                    <a:lnTo>
                      <a:pt x="127" y="205"/>
                    </a:lnTo>
                    <a:lnTo>
                      <a:pt x="137" y="175"/>
                    </a:lnTo>
                    <a:lnTo>
                      <a:pt x="156" y="175"/>
                    </a:lnTo>
                    <a:lnTo>
                      <a:pt x="176" y="166"/>
                    </a:lnTo>
                    <a:lnTo>
                      <a:pt x="176" y="146"/>
                    </a:lnTo>
                    <a:lnTo>
                      <a:pt x="195" y="136"/>
                    </a:lnTo>
                    <a:lnTo>
                      <a:pt x="215" y="136"/>
                    </a:lnTo>
                    <a:lnTo>
                      <a:pt x="244" y="146"/>
                    </a:lnTo>
                    <a:lnTo>
                      <a:pt x="264" y="146"/>
                    </a:lnTo>
                    <a:lnTo>
                      <a:pt x="273" y="127"/>
                    </a:lnTo>
                    <a:lnTo>
                      <a:pt x="303" y="127"/>
                    </a:lnTo>
                    <a:lnTo>
                      <a:pt x="312" y="136"/>
                    </a:lnTo>
                    <a:lnTo>
                      <a:pt x="312" y="156"/>
                    </a:lnTo>
                    <a:lnTo>
                      <a:pt x="322" y="195"/>
                    </a:lnTo>
                    <a:lnTo>
                      <a:pt x="322" y="215"/>
                    </a:lnTo>
                    <a:lnTo>
                      <a:pt x="342" y="215"/>
                    </a:lnTo>
                    <a:lnTo>
                      <a:pt x="342" y="205"/>
                    </a:lnTo>
                    <a:lnTo>
                      <a:pt x="371" y="195"/>
                    </a:lnTo>
                    <a:lnTo>
                      <a:pt x="400" y="175"/>
                    </a:lnTo>
                    <a:lnTo>
                      <a:pt x="410" y="166"/>
                    </a:lnTo>
                    <a:lnTo>
                      <a:pt x="429" y="175"/>
                    </a:lnTo>
                    <a:lnTo>
                      <a:pt x="449" y="185"/>
                    </a:lnTo>
                    <a:lnTo>
                      <a:pt x="459" y="185"/>
                    </a:lnTo>
                    <a:lnTo>
                      <a:pt x="468" y="175"/>
                    </a:lnTo>
                    <a:lnTo>
                      <a:pt x="468" y="146"/>
                    </a:lnTo>
                    <a:lnTo>
                      <a:pt x="468" y="127"/>
                    </a:lnTo>
                    <a:lnTo>
                      <a:pt x="488" y="107"/>
                    </a:lnTo>
                    <a:lnTo>
                      <a:pt x="488" y="88"/>
                    </a:lnTo>
                    <a:lnTo>
                      <a:pt x="498" y="68"/>
                    </a:lnTo>
                    <a:lnTo>
                      <a:pt x="508" y="68"/>
                    </a:lnTo>
                    <a:lnTo>
                      <a:pt x="517" y="49"/>
                    </a:lnTo>
                    <a:lnTo>
                      <a:pt x="517" y="19"/>
                    </a:lnTo>
                    <a:lnTo>
                      <a:pt x="527" y="10"/>
                    </a:lnTo>
                    <a:lnTo>
                      <a:pt x="537" y="10"/>
                    </a:lnTo>
                    <a:lnTo>
                      <a:pt x="547" y="0"/>
                    </a:lnTo>
                    <a:lnTo>
                      <a:pt x="547" y="19"/>
                    </a:lnTo>
                    <a:lnTo>
                      <a:pt x="556" y="19"/>
                    </a:lnTo>
                    <a:lnTo>
                      <a:pt x="576" y="10"/>
                    </a:lnTo>
                    <a:lnTo>
                      <a:pt x="595" y="10"/>
                    </a:lnTo>
                    <a:lnTo>
                      <a:pt x="605" y="10"/>
                    </a:lnTo>
                    <a:lnTo>
                      <a:pt x="615" y="10"/>
                    </a:lnTo>
                    <a:lnTo>
                      <a:pt x="615" y="29"/>
                    </a:lnTo>
                    <a:lnTo>
                      <a:pt x="605" y="29"/>
                    </a:lnTo>
                    <a:lnTo>
                      <a:pt x="605" y="39"/>
                    </a:lnTo>
                    <a:lnTo>
                      <a:pt x="615" y="49"/>
                    </a:lnTo>
                    <a:lnTo>
                      <a:pt x="615" y="58"/>
                    </a:lnTo>
                    <a:lnTo>
                      <a:pt x="605" y="58"/>
                    </a:lnTo>
                    <a:lnTo>
                      <a:pt x="605" y="68"/>
                    </a:lnTo>
                    <a:lnTo>
                      <a:pt x="605" y="78"/>
                    </a:lnTo>
                    <a:lnTo>
                      <a:pt x="615" y="78"/>
                    </a:lnTo>
                    <a:lnTo>
                      <a:pt x="615" y="88"/>
                    </a:lnTo>
                    <a:lnTo>
                      <a:pt x="625" y="88"/>
                    </a:lnTo>
                    <a:lnTo>
                      <a:pt x="625" y="97"/>
                    </a:lnTo>
                    <a:lnTo>
                      <a:pt x="625" y="107"/>
                    </a:lnTo>
                    <a:lnTo>
                      <a:pt x="615" y="107"/>
                    </a:lnTo>
                    <a:lnTo>
                      <a:pt x="605" y="117"/>
                    </a:lnTo>
                    <a:lnTo>
                      <a:pt x="625" y="117"/>
                    </a:lnTo>
                    <a:lnTo>
                      <a:pt x="634" y="127"/>
                    </a:lnTo>
                    <a:lnTo>
                      <a:pt x="634" y="136"/>
                    </a:lnTo>
                    <a:lnTo>
                      <a:pt x="634" y="146"/>
                    </a:lnTo>
                    <a:lnTo>
                      <a:pt x="625" y="156"/>
                    </a:lnTo>
                    <a:lnTo>
                      <a:pt x="634" y="156"/>
                    </a:lnTo>
                    <a:lnTo>
                      <a:pt x="644" y="156"/>
                    </a:lnTo>
                    <a:lnTo>
                      <a:pt x="644" y="166"/>
                    </a:lnTo>
                    <a:lnTo>
                      <a:pt x="634" y="166"/>
                    </a:lnTo>
                    <a:lnTo>
                      <a:pt x="644" y="175"/>
                    </a:lnTo>
                    <a:lnTo>
                      <a:pt x="654" y="175"/>
                    </a:lnTo>
                    <a:lnTo>
                      <a:pt x="644" y="175"/>
                    </a:lnTo>
                    <a:lnTo>
                      <a:pt x="644" y="185"/>
                    </a:lnTo>
                    <a:lnTo>
                      <a:pt x="654" y="195"/>
                    </a:lnTo>
                    <a:lnTo>
                      <a:pt x="644" y="195"/>
                    </a:lnTo>
                    <a:lnTo>
                      <a:pt x="644" y="205"/>
                    </a:lnTo>
                    <a:lnTo>
                      <a:pt x="654" y="205"/>
                    </a:lnTo>
                    <a:lnTo>
                      <a:pt x="654" y="215"/>
                    </a:lnTo>
                    <a:lnTo>
                      <a:pt x="654" y="224"/>
                    </a:lnTo>
                    <a:lnTo>
                      <a:pt x="654" y="234"/>
                    </a:lnTo>
                    <a:lnTo>
                      <a:pt x="654" y="244"/>
                    </a:lnTo>
                    <a:lnTo>
                      <a:pt x="654" y="263"/>
                    </a:lnTo>
                    <a:lnTo>
                      <a:pt x="664" y="273"/>
                    </a:lnTo>
                    <a:lnTo>
                      <a:pt x="654" y="273"/>
                    </a:lnTo>
                    <a:lnTo>
                      <a:pt x="664" y="273"/>
                    </a:lnTo>
                    <a:lnTo>
                      <a:pt x="673" y="283"/>
                    </a:lnTo>
                    <a:lnTo>
                      <a:pt x="673" y="293"/>
                    </a:lnTo>
                    <a:lnTo>
                      <a:pt x="683" y="302"/>
                    </a:lnTo>
                    <a:lnTo>
                      <a:pt x="693" y="302"/>
                    </a:lnTo>
                    <a:lnTo>
                      <a:pt x="703" y="312"/>
                    </a:lnTo>
                    <a:lnTo>
                      <a:pt x="703" y="322"/>
                    </a:lnTo>
                    <a:lnTo>
                      <a:pt x="683" y="322"/>
                    </a:lnTo>
                    <a:lnTo>
                      <a:pt x="673" y="332"/>
                    </a:lnTo>
                    <a:lnTo>
                      <a:pt x="654" y="332"/>
                    </a:lnTo>
                    <a:lnTo>
                      <a:pt x="644" y="322"/>
                    </a:lnTo>
                    <a:lnTo>
                      <a:pt x="625" y="332"/>
                    </a:lnTo>
                    <a:lnTo>
                      <a:pt x="615" y="332"/>
                    </a:lnTo>
                    <a:lnTo>
                      <a:pt x="605" y="332"/>
                    </a:lnTo>
                    <a:lnTo>
                      <a:pt x="595" y="332"/>
                    </a:lnTo>
                    <a:lnTo>
                      <a:pt x="595" y="351"/>
                    </a:lnTo>
                    <a:lnTo>
                      <a:pt x="586" y="361"/>
                    </a:lnTo>
                    <a:lnTo>
                      <a:pt x="576" y="371"/>
                    </a:lnTo>
                    <a:lnTo>
                      <a:pt x="566" y="400"/>
                    </a:lnTo>
                    <a:lnTo>
                      <a:pt x="566" y="410"/>
                    </a:lnTo>
                    <a:lnTo>
                      <a:pt x="566" y="429"/>
                    </a:lnTo>
                    <a:lnTo>
                      <a:pt x="566" y="449"/>
                    </a:lnTo>
                    <a:lnTo>
                      <a:pt x="556" y="449"/>
                    </a:lnTo>
                    <a:lnTo>
                      <a:pt x="556" y="458"/>
                    </a:lnTo>
                    <a:lnTo>
                      <a:pt x="556" y="468"/>
                    </a:lnTo>
                    <a:lnTo>
                      <a:pt x="566" y="478"/>
                    </a:lnTo>
                    <a:lnTo>
                      <a:pt x="566" y="488"/>
                    </a:lnTo>
                    <a:lnTo>
                      <a:pt x="576" y="488"/>
                    </a:lnTo>
                    <a:lnTo>
                      <a:pt x="576" y="507"/>
                    </a:lnTo>
                    <a:lnTo>
                      <a:pt x="586" y="507"/>
                    </a:lnTo>
                    <a:lnTo>
                      <a:pt x="586" y="527"/>
                    </a:lnTo>
                    <a:lnTo>
                      <a:pt x="576" y="527"/>
                    </a:lnTo>
                    <a:lnTo>
                      <a:pt x="566" y="517"/>
                    </a:lnTo>
                    <a:lnTo>
                      <a:pt x="556" y="507"/>
                    </a:lnTo>
                    <a:lnTo>
                      <a:pt x="537" y="497"/>
                    </a:lnTo>
                    <a:lnTo>
                      <a:pt x="527" y="488"/>
                    </a:lnTo>
                    <a:lnTo>
                      <a:pt x="527" y="478"/>
                    </a:lnTo>
                    <a:lnTo>
                      <a:pt x="517" y="478"/>
                    </a:lnTo>
                    <a:lnTo>
                      <a:pt x="517" y="536"/>
                    </a:lnTo>
                    <a:lnTo>
                      <a:pt x="527" y="546"/>
                    </a:lnTo>
                    <a:lnTo>
                      <a:pt x="517" y="556"/>
                    </a:lnTo>
                    <a:lnTo>
                      <a:pt x="527" y="556"/>
                    </a:lnTo>
                    <a:lnTo>
                      <a:pt x="537" y="566"/>
                    </a:lnTo>
                    <a:lnTo>
                      <a:pt x="547" y="576"/>
                    </a:lnTo>
                    <a:lnTo>
                      <a:pt x="547" y="585"/>
                    </a:lnTo>
                    <a:lnTo>
                      <a:pt x="537" y="595"/>
                    </a:lnTo>
                    <a:lnTo>
                      <a:pt x="527" y="585"/>
                    </a:lnTo>
                    <a:lnTo>
                      <a:pt x="508" y="585"/>
                    </a:lnTo>
                    <a:lnTo>
                      <a:pt x="498" y="595"/>
                    </a:lnTo>
                    <a:lnTo>
                      <a:pt x="498" y="605"/>
                    </a:lnTo>
                    <a:lnTo>
                      <a:pt x="508" y="605"/>
                    </a:lnTo>
                    <a:lnTo>
                      <a:pt x="498" y="615"/>
                    </a:lnTo>
                    <a:lnTo>
                      <a:pt x="478" y="624"/>
                    </a:lnTo>
                    <a:lnTo>
                      <a:pt x="498" y="624"/>
                    </a:lnTo>
                    <a:lnTo>
                      <a:pt x="488" y="634"/>
                    </a:lnTo>
                    <a:lnTo>
                      <a:pt x="488" y="644"/>
                    </a:lnTo>
                    <a:lnTo>
                      <a:pt x="488" y="654"/>
                    </a:lnTo>
                    <a:lnTo>
                      <a:pt x="498" y="663"/>
                    </a:lnTo>
                    <a:lnTo>
                      <a:pt x="508" y="663"/>
                    </a:lnTo>
                    <a:lnTo>
                      <a:pt x="508" y="673"/>
                    </a:lnTo>
                    <a:lnTo>
                      <a:pt x="508" y="683"/>
                    </a:lnTo>
                    <a:lnTo>
                      <a:pt x="527" y="683"/>
                    </a:lnTo>
                    <a:lnTo>
                      <a:pt x="537" y="693"/>
                    </a:lnTo>
                    <a:lnTo>
                      <a:pt x="527" y="693"/>
                    </a:lnTo>
                    <a:lnTo>
                      <a:pt x="527" y="702"/>
                    </a:lnTo>
                    <a:lnTo>
                      <a:pt x="547" y="702"/>
                    </a:lnTo>
                    <a:lnTo>
                      <a:pt x="556" y="712"/>
                    </a:lnTo>
                    <a:lnTo>
                      <a:pt x="537" y="712"/>
                    </a:lnTo>
                    <a:lnTo>
                      <a:pt x="537" y="722"/>
                    </a:lnTo>
                    <a:lnTo>
                      <a:pt x="556" y="722"/>
                    </a:lnTo>
                    <a:lnTo>
                      <a:pt x="556" y="732"/>
                    </a:lnTo>
                    <a:lnTo>
                      <a:pt x="556" y="741"/>
                    </a:lnTo>
                    <a:lnTo>
                      <a:pt x="556" y="751"/>
                    </a:lnTo>
                    <a:lnTo>
                      <a:pt x="556" y="761"/>
                    </a:lnTo>
                    <a:lnTo>
                      <a:pt x="566" y="790"/>
                    </a:lnTo>
                    <a:lnTo>
                      <a:pt x="586" y="819"/>
                    </a:lnTo>
                    <a:lnTo>
                      <a:pt x="595" y="829"/>
                    </a:lnTo>
                    <a:lnTo>
                      <a:pt x="605" y="849"/>
                    </a:lnTo>
                    <a:lnTo>
                      <a:pt x="625" y="849"/>
                    </a:lnTo>
                    <a:lnTo>
                      <a:pt x="634" y="849"/>
                    </a:lnTo>
                    <a:lnTo>
                      <a:pt x="644" y="839"/>
                    </a:lnTo>
                    <a:lnTo>
                      <a:pt x="654" y="849"/>
                    </a:lnTo>
                    <a:lnTo>
                      <a:pt x="654" y="839"/>
                    </a:lnTo>
                    <a:lnTo>
                      <a:pt x="654" y="829"/>
                    </a:lnTo>
                    <a:lnTo>
                      <a:pt x="644" y="829"/>
                    </a:lnTo>
                    <a:lnTo>
                      <a:pt x="634" y="810"/>
                    </a:lnTo>
                    <a:lnTo>
                      <a:pt x="644" y="810"/>
                    </a:lnTo>
                    <a:lnTo>
                      <a:pt x="654" y="810"/>
                    </a:lnTo>
                    <a:lnTo>
                      <a:pt x="673" y="790"/>
                    </a:lnTo>
                    <a:lnTo>
                      <a:pt x="683" y="790"/>
                    </a:lnTo>
                    <a:lnTo>
                      <a:pt x="683" y="800"/>
                    </a:lnTo>
                    <a:lnTo>
                      <a:pt x="703" y="810"/>
                    </a:lnTo>
                    <a:lnTo>
                      <a:pt x="703" y="819"/>
                    </a:lnTo>
                    <a:lnTo>
                      <a:pt x="703" y="829"/>
                    </a:lnTo>
                    <a:lnTo>
                      <a:pt x="703" y="849"/>
                    </a:lnTo>
                    <a:lnTo>
                      <a:pt x="683" y="868"/>
                    </a:lnTo>
                    <a:lnTo>
                      <a:pt x="673" y="878"/>
                    </a:lnTo>
                    <a:lnTo>
                      <a:pt x="664" y="888"/>
                    </a:lnTo>
                    <a:lnTo>
                      <a:pt x="664" y="907"/>
                    </a:lnTo>
                    <a:lnTo>
                      <a:pt x="654" y="907"/>
                    </a:lnTo>
                    <a:lnTo>
                      <a:pt x="625" y="917"/>
                    </a:lnTo>
                    <a:lnTo>
                      <a:pt x="605" y="937"/>
                    </a:lnTo>
                    <a:lnTo>
                      <a:pt x="605" y="946"/>
                    </a:lnTo>
                    <a:lnTo>
                      <a:pt x="605" y="956"/>
                    </a:lnTo>
                    <a:lnTo>
                      <a:pt x="615" y="976"/>
                    </a:lnTo>
                    <a:lnTo>
                      <a:pt x="615" y="995"/>
                    </a:lnTo>
                    <a:lnTo>
                      <a:pt x="625" y="1005"/>
                    </a:lnTo>
                    <a:lnTo>
                      <a:pt x="644" y="1024"/>
                    </a:lnTo>
                    <a:lnTo>
                      <a:pt x="644" y="1034"/>
                    </a:lnTo>
                    <a:lnTo>
                      <a:pt x="625" y="1063"/>
                    </a:lnTo>
                    <a:lnTo>
                      <a:pt x="615" y="1093"/>
                    </a:lnTo>
                    <a:lnTo>
                      <a:pt x="605" y="1093"/>
                    </a:lnTo>
                    <a:lnTo>
                      <a:pt x="586" y="1102"/>
                    </a:lnTo>
                    <a:lnTo>
                      <a:pt x="576" y="1102"/>
                    </a:lnTo>
                    <a:lnTo>
                      <a:pt x="576" y="1122"/>
                    </a:lnTo>
                    <a:lnTo>
                      <a:pt x="576" y="1141"/>
                    </a:lnTo>
                    <a:lnTo>
                      <a:pt x="576" y="1151"/>
                    </a:lnTo>
                    <a:lnTo>
                      <a:pt x="586" y="1161"/>
                    </a:lnTo>
                    <a:lnTo>
                      <a:pt x="595" y="1161"/>
                    </a:lnTo>
                    <a:lnTo>
                      <a:pt x="615" y="1151"/>
                    </a:lnTo>
                    <a:lnTo>
                      <a:pt x="634" y="1141"/>
                    </a:lnTo>
                    <a:lnTo>
                      <a:pt x="644" y="1141"/>
                    </a:lnTo>
                    <a:lnTo>
                      <a:pt x="644" y="1219"/>
                    </a:lnTo>
                    <a:lnTo>
                      <a:pt x="625" y="1219"/>
                    </a:lnTo>
                    <a:lnTo>
                      <a:pt x="615" y="1229"/>
                    </a:lnTo>
                    <a:lnTo>
                      <a:pt x="605" y="1239"/>
                    </a:lnTo>
                    <a:lnTo>
                      <a:pt x="595" y="1249"/>
                    </a:lnTo>
                    <a:lnTo>
                      <a:pt x="595" y="1278"/>
                    </a:lnTo>
                    <a:lnTo>
                      <a:pt x="586" y="1288"/>
                    </a:lnTo>
                    <a:lnTo>
                      <a:pt x="566" y="1288"/>
                    </a:lnTo>
                    <a:lnTo>
                      <a:pt x="556" y="1298"/>
                    </a:lnTo>
                    <a:lnTo>
                      <a:pt x="547" y="1307"/>
                    </a:lnTo>
                    <a:lnTo>
                      <a:pt x="527" y="1288"/>
                    </a:lnTo>
                    <a:lnTo>
                      <a:pt x="527" y="1278"/>
                    </a:lnTo>
                    <a:lnTo>
                      <a:pt x="517" y="1258"/>
                    </a:lnTo>
                    <a:lnTo>
                      <a:pt x="508" y="1249"/>
                    </a:lnTo>
                    <a:lnTo>
                      <a:pt x="498" y="1229"/>
                    </a:lnTo>
                    <a:lnTo>
                      <a:pt x="488" y="1210"/>
                    </a:lnTo>
                    <a:lnTo>
                      <a:pt x="488" y="1200"/>
                    </a:lnTo>
                    <a:lnTo>
                      <a:pt x="488" y="1190"/>
                    </a:lnTo>
                    <a:lnTo>
                      <a:pt x="478" y="1180"/>
                    </a:lnTo>
                    <a:lnTo>
                      <a:pt x="468" y="1161"/>
                    </a:lnTo>
                    <a:lnTo>
                      <a:pt x="488" y="1161"/>
                    </a:lnTo>
                    <a:lnTo>
                      <a:pt x="488" y="1151"/>
                    </a:lnTo>
                    <a:lnTo>
                      <a:pt x="468" y="1141"/>
                    </a:lnTo>
                    <a:lnTo>
                      <a:pt x="468" y="1122"/>
                    </a:lnTo>
                    <a:lnTo>
                      <a:pt x="459" y="1112"/>
                    </a:lnTo>
                    <a:lnTo>
                      <a:pt x="439" y="1102"/>
                    </a:lnTo>
                    <a:lnTo>
                      <a:pt x="429" y="1102"/>
                    </a:lnTo>
                    <a:lnTo>
                      <a:pt x="420" y="1083"/>
                    </a:lnTo>
                    <a:lnTo>
                      <a:pt x="429" y="1083"/>
                    </a:lnTo>
                    <a:lnTo>
                      <a:pt x="439" y="1073"/>
                    </a:lnTo>
                    <a:lnTo>
                      <a:pt x="449" y="1073"/>
                    </a:lnTo>
                    <a:lnTo>
                      <a:pt x="449" y="1054"/>
                    </a:lnTo>
                    <a:lnTo>
                      <a:pt x="439" y="1044"/>
                    </a:lnTo>
                    <a:lnTo>
                      <a:pt x="439" y="1034"/>
                    </a:lnTo>
                    <a:lnTo>
                      <a:pt x="459" y="1024"/>
                    </a:lnTo>
                    <a:lnTo>
                      <a:pt x="459" y="1015"/>
                    </a:lnTo>
                    <a:lnTo>
                      <a:pt x="459" y="995"/>
                    </a:lnTo>
                    <a:lnTo>
                      <a:pt x="459" y="985"/>
                    </a:lnTo>
                    <a:lnTo>
                      <a:pt x="459" y="946"/>
                    </a:lnTo>
                    <a:lnTo>
                      <a:pt x="459" y="937"/>
                    </a:lnTo>
                    <a:lnTo>
                      <a:pt x="459" y="927"/>
                    </a:lnTo>
                    <a:lnTo>
                      <a:pt x="459" y="907"/>
                    </a:lnTo>
                    <a:lnTo>
                      <a:pt x="449" y="897"/>
                    </a:lnTo>
                    <a:lnTo>
                      <a:pt x="449" y="888"/>
                    </a:lnTo>
                    <a:lnTo>
                      <a:pt x="429" y="878"/>
                    </a:lnTo>
                    <a:lnTo>
                      <a:pt x="429" y="868"/>
                    </a:lnTo>
                    <a:lnTo>
                      <a:pt x="420" y="849"/>
                    </a:lnTo>
                    <a:lnTo>
                      <a:pt x="420" y="839"/>
                    </a:lnTo>
                    <a:lnTo>
                      <a:pt x="420" y="819"/>
                    </a:lnTo>
                    <a:lnTo>
                      <a:pt x="410" y="810"/>
                    </a:lnTo>
                    <a:lnTo>
                      <a:pt x="410" y="800"/>
                    </a:lnTo>
                    <a:lnTo>
                      <a:pt x="410" y="780"/>
                    </a:lnTo>
                    <a:lnTo>
                      <a:pt x="410" y="761"/>
                    </a:lnTo>
                    <a:lnTo>
                      <a:pt x="410" y="751"/>
                    </a:lnTo>
                    <a:lnTo>
                      <a:pt x="400" y="741"/>
                    </a:lnTo>
                    <a:lnTo>
                      <a:pt x="400" y="712"/>
                    </a:lnTo>
                    <a:lnTo>
                      <a:pt x="400" y="693"/>
                    </a:lnTo>
                    <a:lnTo>
                      <a:pt x="381" y="683"/>
                    </a:lnTo>
                    <a:lnTo>
                      <a:pt x="371" y="663"/>
                    </a:lnTo>
                    <a:lnTo>
                      <a:pt x="381" y="634"/>
                    </a:lnTo>
                    <a:lnTo>
                      <a:pt x="381" y="624"/>
                    </a:lnTo>
                    <a:lnTo>
                      <a:pt x="381" y="615"/>
                    </a:lnTo>
                    <a:lnTo>
                      <a:pt x="381" y="605"/>
                    </a:lnTo>
                    <a:lnTo>
                      <a:pt x="381" y="595"/>
                    </a:lnTo>
                    <a:lnTo>
                      <a:pt x="390" y="595"/>
                    </a:lnTo>
                    <a:lnTo>
                      <a:pt x="390" y="585"/>
                    </a:lnTo>
                    <a:lnTo>
                      <a:pt x="390" y="566"/>
                    </a:lnTo>
                    <a:lnTo>
                      <a:pt x="371" y="566"/>
                    </a:lnTo>
                    <a:lnTo>
                      <a:pt x="371" y="556"/>
                    </a:lnTo>
                    <a:lnTo>
                      <a:pt x="371" y="546"/>
                    </a:lnTo>
                    <a:lnTo>
                      <a:pt x="371" y="536"/>
                    </a:lnTo>
                    <a:lnTo>
                      <a:pt x="361" y="527"/>
                    </a:lnTo>
                    <a:lnTo>
                      <a:pt x="351" y="527"/>
                    </a:lnTo>
                    <a:lnTo>
                      <a:pt x="342" y="527"/>
                    </a:lnTo>
                    <a:lnTo>
                      <a:pt x="332" y="517"/>
                    </a:lnTo>
                    <a:lnTo>
                      <a:pt x="322" y="517"/>
                    </a:lnTo>
                    <a:lnTo>
                      <a:pt x="322" y="497"/>
                    </a:lnTo>
                    <a:lnTo>
                      <a:pt x="312" y="497"/>
                    </a:lnTo>
                    <a:lnTo>
                      <a:pt x="303" y="488"/>
                    </a:lnTo>
                    <a:lnTo>
                      <a:pt x="293" y="478"/>
                    </a:lnTo>
                    <a:lnTo>
                      <a:pt x="273" y="468"/>
                    </a:lnTo>
                    <a:lnTo>
                      <a:pt x="273" y="449"/>
                    </a:lnTo>
                    <a:lnTo>
                      <a:pt x="273" y="429"/>
                    </a:lnTo>
                    <a:lnTo>
                      <a:pt x="283" y="410"/>
                    </a:lnTo>
                    <a:lnTo>
                      <a:pt x="293" y="410"/>
                    </a:lnTo>
                    <a:lnTo>
                      <a:pt x="293" y="400"/>
                    </a:lnTo>
                    <a:lnTo>
                      <a:pt x="293" y="390"/>
                    </a:lnTo>
                    <a:lnTo>
                      <a:pt x="283" y="400"/>
                    </a:lnTo>
                    <a:lnTo>
                      <a:pt x="273" y="410"/>
                    </a:lnTo>
                    <a:lnTo>
                      <a:pt x="264" y="410"/>
                    </a:lnTo>
                    <a:lnTo>
                      <a:pt x="254" y="410"/>
                    </a:lnTo>
                    <a:lnTo>
                      <a:pt x="244" y="429"/>
                    </a:lnTo>
                    <a:lnTo>
                      <a:pt x="244" y="449"/>
                    </a:lnTo>
                    <a:lnTo>
                      <a:pt x="234" y="458"/>
                    </a:lnTo>
                    <a:lnTo>
                      <a:pt x="225" y="468"/>
                    </a:lnTo>
                    <a:lnTo>
                      <a:pt x="225" y="478"/>
                    </a:lnTo>
                    <a:lnTo>
                      <a:pt x="234" y="488"/>
                    </a:lnTo>
                    <a:lnTo>
                      <a:pt x="244" y="488"/>
                    </a:lnTo>
                    <a:lnTo>
                      <a:pt x="244" y="497"/>
                    </a:lnTo>
                    <a:lnTo>
                      <a:pt x="254" y="507"/>
                    </a:lnTo>
                    <a:lnTo>
                      <a:pt x="264" y="507"/>
                    </a:lnTo>
                    <a:lnTo>
                      <a:pt x="273" y="517"/>
                    </a:lnTo>
                    <a:lnTo>
                      <a:pt x="273" y="527"/>
                    </a:lnTo>
                    <a:lnTo>
                      <a:pt x="283" y="536"/>
                    </a:lnTo>
                    <a:lnTo>
                      <a:pt x="303" y="536"/>
                    </a:lnTo>
                    <a:lnTo>
                      <a:pt x="312" y="536"/>
                    </a:lnTo>
                    <a:lnTo>
                      <a:pt x="312" y="556"/>
                    </a:lnTo>
                    <a:lnTo>
                      <a:pt x="303" y="556"/>
                    </a:lnTo>
                    <a:lnTo>
                      <a:pt x="293" y="556"/>
                    </a:lnTo>
                    <a:lnTo>
                      <a:pt x="283" y="566"/>
                    </a:lnTo>
                    <a:lnTo>
                      <a:pt x="283" y="576"/>
                    </a:lnTo>
                    <a:lnTo>
                      <a:pt x="254" y="556"/>
                    </a:lnTo>
                    <a:lnTo>
                      <a:pt x="264" y="546"/>
                    </a:lnTo>
                    <a:lnTo>
                      <a:pt x="254" y="536"/>
                    </a:lnTo>
                    <a:lnTo>
                      <a:pt x="234" y="546"/>
                    </a:lnTo>
                    <a:lnTo>
                      <a:pt x="234" y="536"/>
                    </a:lnTo>
                    <a:lnTo>
                      <a:pt x="234" y="527"/>
                    </a:lnTo>
                    <a:lnTo>
                      <a:pt x="225" y="517"/>
                    </a:lnTo>
                    <a:lnTo>
                      <a:pt x="215" y="497"/>
                    </a:lnTo>
                    <a:lnTo>
                      <a:pt x="195" y="488"/>
                    </a:lnTo>
                    <a:lnTo>
                      <a:pt x="166" y="478"/>
                    </a:lnTo>
                    <a:lnTo>
                      <a:pt x="156" y="478"/>
                    </a:lnTo>
                    <a:lnTo>
                      <a:pt x="156" y="449"/>
                    </a:lnTo>
                    <a:lnTo>
                      <a:pt x="127" y="449"/>
                    </a:lnTo>
                    <a:lnTo>
                      <a:pt x="127" y="439"/>
                    </a:lnTo>
                    <a:lnTo>
                      <a:pt x="127" y="429"/>
                    </a:lnTo>
                    <a:lnTo>
                      <a:pt x="117" y="410"/>
                    </a:lnTo>
                    <a:lnTo>
                      <a:pt x="108" y="410"/>
                    </a:lnTo>
                    <a:lnTo>
                      <a:pt x="98" y="410"/>
                    </a:lnTo>
                    <a:lnTo>
                      <a:pt x="78" y="410"/>
                    </a:lnTo>
                    <a:lnTo>
                      <a:pt x="78" y="400"/>
                    </a:lnTo>
                    <a:lnTo>
                      <a:pt x="78" y="390"/>
                    </a:lnTo>
                    <a:lnTo>
                      <a:pt x="69" y="380"/>
                    </a:lnTo>
                    <a:lnTo>
                      <a:pt x="49" y="380"/>
                    </a:lnTo>
                    <a:lnTo>
                      <a:pt x="59" y="371"/>
                    </a:lnTo>
                    <a:lnTo>
                      <a:pt x="49" y="351"/>
                    </a:lnTo>
                    <a:lnTo>
                      <a:pt x="30" y="351"/>
                    </a:lnTo>
                    <a:lnTo>
                      <a:pt x="20" y="332"/>
                    </a:lnTo>
                    <a:lnTo>
                      <a:pt x="10" y="322"/>
                    </a:lnTo>
                    <a:lnTo>
                      <a:pt x="0" y="312"/>
                    </a:lnTo>
                    <a:lnTo>
                      <a:pt x="20" y="293"/>
                    </a:lnTo>
                    <a:lnTo>
                      <a:pt x="30" y="273"/>
                    </a:lnTo>
                    <a:lnTo>
                      <a:pt x="39" y="263"/>
                    </a:lnTo>
                    <a:lnTo>
                      <a:pt x="59" y="263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53" name="Freeform 52"/>
            <p:cNvSpPr>
              <a:spLocks/>
            </p:cNvSpPr>
            <p:nvPr/>
          </p:nvSpPr>
          <p:spPr bwMode="auto">
            <a:xfrm>
              <a:off x="7607" y="0"/>
              <a:ext cx="1151" cy="1297"/>
            </a:xfrm>
            <a:custGeom>
              <a:avLst/>
              <a:gdLst>
                <a:gd name="T0" fmla="*/ 59 w 1151"/>
                <a:gd name="T1" fmla="*/ 849 h 1298"/>
                <a:gd name="T2" fmla="*/ 117 w 1151"/>
                <a:gd name="T3" fmla="*/ 732 h 1298"/>
                <a:gd name="T4" fmla="*/ 215 w 1151"/>
                <a:gd name="T5" fmla="*/ 722 h 1298"/>
                <a:gd name="T6" fmla="*/ 264 w 1151"/>
                <a:gd name="T7" fmla="*/ 683 h 1298"/>
                <a:gd name="T8" fmla="*/ 195 w 1151"/>
                <a:gd name="T9" fmla="*/ 644 h 1298"/>
                <a:gd name="T10" fmla="*/ 137 w 1151"/>
                <a:gd name="T11" fmla="*/ 624 h 1298"/>
                <a:gd name="T12" fmla="*/ 186 w 1151"/>
                <a:gd name="T13" fmla="*/ 566 h 1298"/>
                <a:gd name="T14" fmla="*/ 234 w 1151"/>
                <a:gd name="T15" fmla="*/ 527 h 1298"/>
                <a:gd name="T16" fmla="*/ 273 w 1151"/>
                <a:gd name="T17" fmla="*/ 439 h 1298"/>
                <a:gd name="T18" fmla="*/ 351 w 1151"/>
                <a:gd name="T19" fmla="*/ 390 h 1298"/>
                <a:gd name="T20" fmla="*/ 400 w 1151"/>
                <a:gd name="T21" fmla="*/ 351 h 1298"/>
                <a:gd name="T22" fmla="*/ 508 w 1151"/>
                <a:gd name="T23" fmla="*/ 293 h 1298"/>
                <a:gd name="T24" fmla="*/ 576 w 1151"/>
                <a:gd name="T25" fmla="*/ 244 h 1298"/>
                <a:gd name="T26" fmla="*/ 644 w 1151"/>
                <a:gd name="T27" fmla="*/ 224 h 1298"/>
                <a:gd name="T28" fmla="*/ 683 w 1151"/>
                <a:gd name="T29" fmla="*/ 205 h 1298"/>
                <a:gd name="T30" fmla="*/ 761 w 1151"/>
                <a:gd name="T31" fmla="*/ 205 h 1298"/>
                <a:gd name="T32" fmla="*/ 810 w 1151"/>
                <a:gd name="T33" fmla="*/ 185 h 1298"/>
                <a:gd name="T34" fmla="*/ 751 w 1151"/>
                <a:gd name="T35" fmla="*/ 176 h 1298"/>
                <a:gd name="T36" fmla="*/ 761 w 1151"/>
                <a:gd name="T37" fmla="*/ 137 h 1298"/>
                <a:gd name="T38" fmla="*/ 771 w 1151"/>
                <a:gd name="T39" fmla="*/ 68 h 1298"/>
                <a:gd name="T40" fmla="*/ 868 w 1151"/>
                <a:gd name="T41" fmla="*/ 29 h 1298"/>
                <a:gd name="T42" fmla="*/ 917 w 1151"/>
                <a:gd name="T43" fmla="*/ 49 h 1298"/>
                <a:gd name="T44" fmla="*/ 927 w 1151"/>
                <a:gd name="T45" fmla="*/ 88 h 1298"/>
                <a:gd name="T46" fmla="*/ 917 w 1151"/>
                <a:gd name="T47" fmla="*/ 146 h 1298"/>
                <a:gd name="T48" fmla="*/ 966 w 1151"/>
                <a:gd name="T49" fmla="*/ 146 h 1298"/>
                <a:gd name="T50" fmla="*/ 1005 w 1151"/>
                <a:gd name="T51" fmla="*/ 185 h 1298"/>
                <a:gd name="T52" fmla="*/ 1064 w 1151"/>
                <a:gd name="T53" fmla="*/ 195 h 1298"/>
                <a:gd name="T54" fmla="*/ 1054 w 1151"/>
                <a:gd name="T55" fmla="*/ 244 h 1298"/>
                <a:gd name="T56" fmla="*/ 976 w 1151"/>
                <a:gd name="T57" fmla="*/ 293 h 1298"/>
                <a:gd name="T58" fmla="*/ 907 w 1151"/>
                <a:gd name="T59" fmla="*/ 312 h 1298"/>
                <a:gd name="T60" fmla="*/ 859 w 1151"/>
                <a:gd name="T61" fmla="*/ 381 h 1298"/>
                <a:gd name="T62" fmla="*/ 781 w 1151"/>
                <a:gd name="T63" fmla="*/ 400 h 1298"/>
                <a:gd name="T64" fmla="*/ 742 w 1151"/>
                <a:gd name="T65" fmla="*/ 420 h 1298"/>
                <a:gd name="T66" fmla="*/ 771 w 1151"/>
                <a:gd name="T67" fmla="*/ 449 h 1298"/>
                <a:gd name="T68" fmla="*/ 820 w 1151"/>
                <a:gd name="T69" fmla="*/ 488 h 1298"/>
                <a:gd name="T70" fmla="*/ 868 w 1151"/>
                <a:gd name="T71" fmla="*/ 517 h 1298"/>
                <a:gd name="T72" fmla="*/ 859 w 1151"/>
                <a:gd name="T73" fmla="*/ 615 h 1298"/>
                <a:gd name="T74" fmla="*/ 800 w 1151"/>
                <a:gd name="T75" fmla="*/ 654 h 1298"/>
                <a:gd name="T76" fmla="*/ 829 w 1151"/>
                <a:gd name="T77" fmla="*/ 644 h 1298"/>
                <a:gd name="T78" fmla="*/ 820 w 1151"/>
                <a:gd name="T79" fmla="*/ 673 h 1298"/>
                <a:gd name="T80" fmla="*/ 849 w 1151"/>
                <a:gd name="T81" fmla="*/ 644 h 1298"/>
                <a:gd name="T82" fmla="*/ 917 w 1151"/>
                <a:gd name="T83" fmla="*/ 605 h 1298"/>
                <a:gd name="T84" fmla="*/ 995 w 1151"/>
                <a:gd name="T85" fmla="*/ 644 h 1298"/>
                <a:gd name="T86" fmla="*/ 1044 w 1151"/>
                <a:gd name="T87" fmla="*/ 615 h 1298"/>
                <a:gd name="T88" fmla="*/ 1112 w 1151"/>
                <a:gd name="T89" fmla="*/ 624 h 1298"/>
                <a:gd name="T90" fmla="*/ 1151 w 1151"/>
                <a:gd name="T91" fmla="*/ 654 h 1298"/>
                <a:gd name="T92" fmla="*/ 1083 w 1151"/>
                <a:gd name="T93" fmla="*/ 722 h 1298"/>
                <a:gd name="T94" fmla="*/ 1064 w 1151"/>
                <a:gd name="T95" fmla="*/ 732 h 1298"/>
                <a:gd name="T96" fmla="*/ 1083 w 1151"/>
                <a:gd name="T97" fmla="*/ 771 h 1298"/>
                <a:gd name="T98" fmla="*/ 1093 w 1151"/>
                <a:gd name="T99" fmla="*/ 868 h 1298"/>
                <a:gd name="T100" fmla="*/ 1025 w 1151"/>
                <a:gd name="T101" fmla="*/ 907 h 1298"/>
                <a:gd name="T102" fmla="*/ 966 w 1151"/>
                <a:gd name="T103" fmla="*/ 976 h 1298"/>
                <a:gd name="T104" fmla="*/ 898 w 1151"/>
                <a:gd name="T105" fmla="*/ 1054 h 1298"/>
                <a:gd name="T106" fmla="*/ 790 w 1151"/>
                <a:gd name="T107" fmla="*/ 1024 h 1298"/>
                <a:gd name="T108" fmla="*/ 654 w 1151"/>
                <a:gd name="T109" fmla="*/ 1044 h 1298"/>
                <a:gd name="T110" fmla="*/ 556 w 1151"/>
                <a:gd name="T111" fmla="*/ 1112 h 1298"/>
                <a:gd name="T112" fmla="*/ 478 w 1151"/>
                <a:gd name="T113" fmla="*/ 1200 h 1298"/>
                <a:gd name="T114" fmla="*/ 381 w 1151"/>
                <a:gd name="T115" fmla="*/ 1268 h 1298"/>
                <a:gd name="T116" fmla="*/ 264 w 1151"/>
                <a:gd name="T117" fmla="*/ 1298 h 1298"/>
                <a:gd name="T118" fmla="*/ 127 w 1151"/>
                <a:gd name="T119" fmla="*/ 1220 h 1298"/>
                <a:gd name="T120" fmla="*/ 49 w 1151"/>
                <a:gd name="T121" fmla="*/ 1112 h 1298"/>
                <a:gd name="T122" fmla="*/ 108 w 1151"/>
                <a:gd name="T123" fmla="*/ 976 h 12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1"/>
                <a:gd name="T187" fmla="*/ 0 h 1298"/>
                <a:gd name="T188" fmla="*/ 1151 w 1151"/>
                <a:gd name="T189" fmla="*/ 1298 h 12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1" h="1298">
                  <a:moveTo>
                    <a:pt x="10" y="937"/>
                  </a:moveTo>
                  <a:lnTo>
                    <a:pt x="10" y="917"/>
                  </a:lnTo>
                  <a:lnTo>
                    <a:pt x="0" y="907"/>
                  </a:lnTo>
                  <a:lnTo>
                    <a:pt x="20" y="878"/>
                  </a:lnTo>
                  <a:lnTo>
                    <a:pt x="30" y="868"/>
                  </a:lnTo>
                  <a:lnTo>
                    <a:pt x="30" y="849"/>
                  </a:lnTo>
                  <a:lnTo>
                    <a:pt x="39" y="849"/>
                  </a:lnTo>
                  <a:lnTo>
                    <a:pt x="59" y="849"/>
                  </a:lnTo>
                  <a:lnTo>
                    <a:pt x="69" y="839"/>
                  </a:lnTo>
                  <a:lnTo>
                    <a:pt x="78" y="820"/>
                  </a:lnTo>
                  <a:lnTo>
                    <a:pt x="88" y="810"/>
                  </a:lnTo>
                  <a:lnTo>
                    <a:pt x="108" y="800"/>
                  </a:lnTo>
                  <a:lnTo>
                    <a:pt x="108" y="790"/>
                  </a:lnTo>
                  <a:lnTo>
                    <a:pt x="117" y="781"/>
                  </a:lnTo>
                  <a:lnTo>
                    <a:pt x="117" y="761"/>
                  </a:lnTo>
                  <a:lnTo>
                    <a:pt x="117" y="732"/>
                  </a:lnTo>
                  <a:lnTo>
                    <a:pt x="117" y="722"/>
                  </a:lnTo>
                  <a:lnTo>
                    <a:pt x="127" y="732"/>
                  </a:lnTo>
                  <a:lnTo>
                    <a:pt x="156" y="732"/>
                  </a:lnTo>
                  <a:lnTo>
                    <a:pt x="166" y="742"/>
                  </a:lnTo>
                  <a:lnTo>
                    <a:pt x="186" y="742"/>
                  </a:lnTo>
                  <a:lnTo>
                    <a:pt x="186" y="732"/>
                  </a:lnTo>
                  <a:lnTo>
                    <a:pt x="195" y="722"/>
                  </a:lnTo>
                  <a:lnTo>
                    <a:pt x="215" y="722"/>
                  </a:lnTo>
                  <a:lnTo>
                    <a:pt x="234" y="722"/>
                  </a:lnTo>
                  <a:lnTo>
                    <a:pt x="244" y="732"/>
                  </a:lnTo>
                  <a:lnTo>
                    <a:pt x="254" y="722"/>
                  </a:lnTo>
                  <a:lnTo>
                    <a:pt x="264" y="722"/>
                  </a:lnTo>
                  <a:lnTo>
                    <a:pt x="264" y="702"/>
                  </a:lnTo>
                  <a:lnTo>
                    <a:pt x="273" y="693"/>
                  </a:lnTo>
                  <a:lnTo>
                    <a:pt x="264" y="683"/>
                  </a:lnTo>
                  <a:lnTo>
                    <a:pt x="254" y="673"/>
                  </a:lnTo>
                  <a:lnTo>
                    <a:pt x="254" y="663"/>
                  </a:lnTo>
                  <a:lnTo>
                    <a:pt x="244" y="663"/>
                  </a:lnTo>
                  <a:lnTo>
                    <a:pt x="244" y="654"/>
                  </a:lnTo>
                  <a:lnTo>
                    <a:pt x="225" y="654"/>
                  </a:lnTo>
                  <a:lnTo>
                    <a:pt x="205" y="644"/>
                  </a:lnTo>
                  <a:lnTo>
                    <a:pt x="195" y="644"/>
                  </a:lnTo>
                  <a:lnTo>
                    <a:pt x="195" y="654"/>
                  </a:lnTo>
                  <a:lnTo>
                    <a:pt x="176" y="654"/>
                  </a:lnTo>
                  <a:lnTo>
                    <a:pt x="176" y="644"/>
                  </a:lnTo>
                  <a:lnTo>
                    <a:pt x="176" y="634"/>
                  </a:lnTo>
                  <a:lnTo>
                    <a:pt x="156" y="624"/>
                  </a:lnTo>
                  <a:lnTo>
                    <a:pt x="137" y="624"/>
                  </a:lnTo>
                  <a:lnTo>
                    <a:pt x="137" y="615"/>
                  </a:lnTo>
                  <a:lnTo>
                    <a:pt x="147" y="605"/>
                  </a:lnTo>
                  <a:lnTo>
                    <a:pt x="156" y="595"/>
                  </a:lnTo>
                  <a:lnTo>
                    <a:pt x="166" y="585"/>
                  </a:lnTo>
                  <a:lnTo>
                    <a:pt x="176" y="585"/>
                  </a:lnTo>
                  <a:lnTo>
                    <a:pt x="176" y="576"/>
                  </a:lnTo>
                  <a:lnTo>
                    <a:pt x="186" y="566"/>
                  </a:lnTo>
                  <a:lnTo>
                    <a:pt x="195" y="546"/>
                  </a:lnTo>
                  <a:lnTo>
                    <a:pt x="205" y="546"/>
                  </a:lnTo>
                  <a:lnTo>
                    <a:pt x="215" y="546"/>
                  </a:lnTo>
                  <a:lnTo>
                    <a:pt x="234" y="546"/>
                  </a:lnTo>
                  <a:lnTo>
                    <a:pt x="234" y="527"/>
                  </a:lnTo>
                  <a:lnTo>
                    <a:pt x="215" y="527"/>
                  </a:lnTo>
                  <a:lnTo>
                    <a:pt x="234" y="527"/>
                  </a:lnTo>
                  <a:lnTo>
                    <a:pt x="234" y="507"/>
                  </a:lnTo>
                  <a:lnTo>
                    <a:pt x="234" y="498"/>
                  </a:lnTo>
                  <a:lnTo>
                    <a:pt x="244" y="478"/>
                  </a:lnTo>
                  <a:lnTo>
                    <a:pt x="254" y="468"/>
                  </a:lnTo>
                  <a:lnTo>
                    <a:pt x="264" y="459"/>
                  </a:lnTo>
                  <a:lnTo>
                    <a:pt x="273" y="449"/>
                  </a:lnTo>
                  <a:lnTo>
                    <a:pt x="273" y="439"/>
                  </a:lnTo>
                  <a:lnTo>
                    <a:pt x="254" y="449"/>
                  </a:lnTo>
                  <a:lnTo>
                    <a:pt x="254" y="439"/>
                  </a:lnTo>
                  <a:lnTo>
                    <a:pt x="264" y="439"/>
                  </a:lnTo>
                  <a:lnTo>
                    <a:pt x="283" y="429"/>
                  </a:lnTo>
                  <a:lnTo>
                    <a:pt x="303" y="420"/>
                  </a:lnTo>
                  <a:lnTo>
                    <a:pt x="312" y="410"/>
                  </a:lnTo>
                  <a:lnTo>
                    <a:pt x="332" y="390"/>
                  </a:lnTo>
                  <a:lnTo>
                    <a:pt x="351" y="390"/>
                  </a:lnTo>
                  <a:lnTo>
                    <a:pt x="351" y="371"/>
                  </a:lnTo>
                  <a:lnTo>
                    <a:pt x="351" y="361"/>
                  </a:lnTo>
                  <a:lnTo>
                    <a:pt x="361" y="361"/>
                  </a:lnTo>
                  <a:lnTo>
                    <a:pt x="381" y="351"/>
                  </a:lnTo>
                  <a:lnTo>
                    <a:pt x="371" y="361"/>
                  </a:lnTo>
                  <a:lnTo>
                    <a:pt x="371" y="371"/>
                  </a:lnTo>
                  <a:lnTo>
                    <a:pt x="381" y="371"/>
                  </a:lnTo>
                  <a:lnTo>
                    <a:pt x="400" y="351"/>
                  </a:lnTo>
                  <a:lnTo>
                    <a:pt x="410" y="341"/>
                  </a:lnTo>
                  <a:lnTo>
                    <a:pt x="430" y="341"/>
                  </a:lnTo>
                  <a:lnTo>
                    <a:pt x="449" y="322"/>
                  </a:lnTo>
                  <a:lnTo>
                    <a:pt x="459" y="312"/>
                  </a:lnTo>
                  <a:lnTo>
                    <a:pt x="469" y="312"/>
                  </a:lnTo>
                  <a:lnTo>
                    <a:pt x="478" y="302"/>
                  </a:lnTo>
                  <a:lnTo>
                    <a:pt x="498" y="302"/>
                  </a:lnTo>
                  <a:lnTo>
                    <a:pt x="508" y="293"/>
                  </a:lnTo>
                  <a:lnTo>
                    <a:pt x="517" y="293"/>
                  </a:lnTo>
                  <a:lnTo>
                    <a:pt x="527" y="283"/>
                  </a:lnTo>
                  <a:lnTo>
                    <a:pt x="537" y="283"/>
                  </a:lnTo>
                  <a:lnTo>
                    <a:pt x="547" y="273"/>
                  </a:lnTo>
                  <a:lnTo>
                    <a:pt x="556" y="273"/>
                  </a:lnTo>
                  <a:lnTo>
                    <a:pt x="556" y="254"/>
                  </a:lnTo>
                  <a:lnTo>
                    <a:pt x="566" y="254"/>
                  </a:lnTo>
                  <a:lnTo>
                    <a:pt x="576" y="244"/>
                  </a:lnTo>
                  <a:lnTo>
                    <a:pt x="586" y="244"/>
                  </a:lnTo>
                  <a:lnTo>
                    <a:pt x="595" y="254"/>
                  </a:lnTo>
                  <a:lnTo>
                    <a:pt x="605" y="244"/>
                  </a:lnTo>
                  <a:lnTo>
                    <a:pt x="615" y="234"/>
                  </a:lnTo>
                  <a:lnTo>
                    <a:pt x="615" y="224"/>
                  </a:lnTo>
                  <a:lnTo>
                    <a:pt x="625" y="224"/>
                  </a:lnTo>
                  <a:lnTo>
                    <a:pt x="634" y="234"/>
                  </a:lnTo>
                  <a:lnTo>
                    <a:pt x="644" y="224"/>
                  </a:lnTo>
                  <a:lnTo>
                    <a:pt x="654" y="224"/>
                  </a:lnTo>
                  <a:lnTo>
                    <a:pt x="644" y="224"/>
                  </a:lnTo>
                  <a:lnTo>
                    <a:pt x="634" y="224"/>
                  </a:lnTo>
                  <a:lnTo>
                    <a:pt x="625" y="215"/>
                  </a:lnTo>
                  <a:lnTo>
                    <a:pt x="634" y="215"/>
                  </a:lnTo>
                  <a:lnTo>
                    <a:pt x="644" y="195"/>
                  </a:lnTo>
                  <a:lnTo>
                    <a:pt x="664" y="195"/>
                  </a:lnTo>
                  <a:lnTo>
                    <a:pt x="683" y="205"/>
                  </a:lnTo>
                  <a:lnTo>
                    <a:pt x="673" y="195"/>
                  </a:lnTo>
                  <a:lnTo>
                    <a:pt x="683" y="185"/>
                  </a:lnTo>
                  <a:lnTo>
                    <a:pt x="703" y="185"/>
                  </a:lnTo>
                  <a:lnTo>
                    <a:pt x="703" y="195"/>
                  </a:lnTo>
                  <a:lnTo>
                    <a:pt x="712" y="205"/>
                  </a:lnTo>
                  <a:lnTo>
                    <a:pt x="732" y="205"/>
                  </a:lnTo>
                  <a:lnTo>
                    <a:pt x="751" y="195"/>
                  </a:lnTo>
                  <a:lnTo>
                    <a:pt x="761" y="205"/>
                  </a:lnTo>
                  <a:lnTo>
                    <a:pt x="761" y="215"/>
                  </a:lnTo>
                  <a:lnTo>
                    <a:pt x="781" y="215"/>
                  </a:lnTo>
                  <a:lnTo>
                    <a:pt x="781" y="205"/>
                  </a:lnTo>
                  <a:lnTo>
                    <a:pt x="800" y="205"/>
                  </a:lnTo>
                  <a:lnTo>
                    <a:pt x="810" y="205"/>
                  </a:lnTo>
                  <a:lnTo>
                    <a:pt x="800" y="205"/>
                  </a:lnTo>
                  <a:lnTo>
                    <a:pt x="800" y="195"/>
                  </a:lnTo>
                  <a:lnTo>
                    <a:pt x="810" y="185"/>
                  </a:lnTo>
                  <a:lnTo>
                    <a:pt x="820" y="195"/>
                  </a:lnTo>
                  <a:lnTo>
                    <a:pt x="820" y="176"/>
                  </a:lnTo>
                  <a:lnTo>
                    <a:pt x="810" y="176"/>
                  </a:lnTo>
                  <a:lnTo>
                    <a:pt x="800" y="185"/>
                  </a:lnTo>
                  <a:lnTo>
                    <a:pt x="790" y="185"/>
                  </a:lnTo>
                  <a:lnTo>
                    <a:pt x="781" y="176"/>
                  </a:lnTo>
                  <a:lnTo>
                    <a:pt x="761" y="176"/>
                  </a:lnTo>
                  <a:lnTo>
                    <a:pt x="751" y="176"/>
                  </a:lnTo>
                  <a:lnTo>
                    <a:pt x="742" y="176"/>
                  </a:lnTo>
                  <a:lnTo>
                    <a:pt x="722" y="185"/>
                  </a:lnTo>
                  <a:lnTo>
                    <a:pt x="722" y="176"/>
                  </a:lnTo>
                  <a:lnTo>
                    <a:pt x="732" y="156"/>
                  </a:lnTo>
                  <a:lnTo>
                    <a:pt x="732" y="146"/>
                  </a:lnTo>
                  <a:lnTo>
                    <a:pt x="742" y="137"/>
                  </a:lnTo>
                  <a:lnTo>
                    <a:pt x="751" y="137"/>
                  </a:lnTo>
                  <a:lnTo>
                    <a:pt x="761" y="137"/>
                  </a:lnTo>
                  <a:lnTo>
                    <a:pt x="761" y="127"/>
                  </a:lnTo>
                  <a:lnTo>
                    <a:pt x="771" y="117"/>
                  </a:lnTo>
                  <a:lnTo>
                    <a:pt x="771" y="107"/>
                  </a:lnTo>
                  <a:lnTo>
                    <a:pt x="761" y="117"/>
                  </a:lnTo>
                  <a:lnTo>
                    <a:pt x="751" y="117"/>
                  </a:lnTo>
                  <a:lnTo>
                    <a:pt x="761" y="98"/>
                  </a:lnTo>
                  <a:lnTo>
                    <a:pt x="771" y="68"/>
                  </a:lnTo>
                  <a:lnTo>
                    <a:pt x="781" y="68"/>
                  </a:lnTo>
                  <a:lnTo>
                    <a:pt x="800" y="68"/>
                  </a:lnTo>
                  <a:lnTo>
                    <a:pt x="810" y="59"/>
                  </a:lnTo>
                  <a:lnTo>
                    <a:pt x="829" y="59"/>
                  </a:lnTo>
                  <a:lnTo>
                    <a:pt x="849" y="49"/>
                  </a:lnTo>
                  <a:lnTo>
                    <a:pt x="859" y="39"/>
                  </a:lnTo>
                  <a:lnTo>
                    <a:pt x="868" y="39"/>
                  </a:lnTo>
                  <a:lnTo>
                    <a:pt x="868" y="29"/>
                  </a:lnTo>
                  <a:lnTo>
                    <a:pt x="878" y="29"/>
                  </a:lnTo>
                  <a:lnTo>
                    <a:pt x="888" y="29"/>
                  </a:lnTo>
                  <a:lnTo>
                    <a:pt x="888" y="20"/>
                  </a:lnTo>
                  <a:lnTo>
                    <a:pt x="888" y="0"/>
                  </a:lnTo>
                  <a:lnTo>
                    <a:pt x="907" y="10"/>
                  </a:lnTo>
                  <a:lnTo>
                    <a:pt x="907" y="29"/>
                  </a:lnTo>
                  <a:lnTo>
                    <a:pt x="907" y="39"/>
                  </a:lnTo>
                  <a:lnTo>
                    <a:pt x="917" y="49"/>
                  </a:lnTo>
                  <a:lnTo>
                    <a:pt x="937" y="59"/>
                  </a:lnTo>
                  <a:lnTo>
                    <a:pt x="946" y="59"/>
                  </a:lnTo>
                  <a:lnTo>
                    <a:pt x="937" y="78"/>
                  </a:lnTo>
                  <a:lnTo>
                    <a:pt x="917" y="88"/>
                  </a:lnTo>
                  <a:lnTo>
                    <a:pt x="927" y="88"/>
                  </a:lnTo>
                  <a:lnTo>
                    <a:pt x="946" y="78"/>
                  </a:lnTo>
                  <a:lnTo>
                    <a:pt x="956" y="88"/>
                  </a:lnTo>
                  <a:lnTo>
                    <a:pt x="946" y="88"/>
                  </a:lnTo>
                  <a:lnTo>
                    <a:pt x="946" y="117"/>
                  </a:lnTo>
                  <a:lnTo>
                    <a:pt x="937" y="127"/>
                  </a:lnTo>
                  <a:lnTo>
                    <a:pt x="927" y="137"/>
                  </a:lnTo>
                  <a:lnTo>
                    <a:pt x="917" y="137"/>
                  </a:lnTo>
                  <a:lnTo>
                    <a:pt x="917" y="146"/>
                  </a:lnTo>
                  <a:lnTo>
                    <a:pt x="917" y="137"/>
                  </a:lnTo>
                  <a:lnTo>
                    <a:pt x="937" y="137"/>
                  </a:lnTo>
                  <a:lnTo>
                    <a:pt x="946" y="146"/>
                  </a:lnTo>
                  <a:lnTo>
                    <a:pt x="946" y="137"/>
                  </a:lnTo>
                  <a:lnTo>
                    <a:pt x="956" y="137"/>
                  </a:lnTo>
                  <a:lnTo>
                    <a:pt x="956" y="156"/>
                  </a:lnTo>
                  <a:lnTo>
                    <a:pt x="966" y="156"/>
                  </a:lnTo>
                  <a:lnTo>
                    <a:pt x="966" y="146"/>
                  </a:lnTo>
                  <a:lnTo>
                    <a:pt x="986" y="146"/>
                  </a:lnTo>
                  <a:lnTo>
                    <a:pt x="1005" y="156"/>
                  </a:lnTo>
                  <a:lnTo>
                    <a:pt x="1005" y="176"/>
                  </a:lnTo>
                  <a:lnTo>
                    <a:pt x="1005" y="185"/>
                  </a:lnTo>
                  <a:lnTo>
                    <a:pt x="995" y="195"/>
                  </a:lnTo>
                  <a:lnTo>
                    <a:pt x="1005" y="205"/>
                  </a:lnTo>
                  <a:lnTo>
                    <a:pt x="1005" y="195"/>
                  </a:lnTo>
                  <a:lnTo>
                    <a:pt x="1005" y="185"/>
                  </a:lnTo>
                  <a:lnTo>
                    <a:pt x="1025" y="195"/>
                  </a:lnTo>
                  <a:lnTo>
                    <a:pt x="1044" y="185"/>
                  </a:lnTo>
                  <a:lnTo>
                    <a:pt x="1044" y="176"/>
                  </a:lnTo>
                  <a:lnTo>
                    <a:pt x="1064" y="176"/>
                  </a:lnTo>
                  <a:lnTo>
                    <a:pt x="1064" y="185"/>
                  </a:lnTo>
                  <a:lnTo>
                    <a:pt x="1044" y="195"/>
                  </a:lnTo>
                  <a:lnTo>
                    <a:pt x="1044" y="205"/>
                  </a:lnTo>
                  <a:lnTo>
                    <a:pt x="1064" y="195"/>
                  </a:lnTo>
                  <a:lnTo>
                    <a:pt x="1064" y="215"/>
                  </a:lnTo>
                  <a:lnTo>
                    <a:pt x="1064" y="224"/>
                  </a:lnTo>
                  <a:lnTo>
                    <a:pt x="1054" y="224"/>
                  </a:lnTo>
                  <a:lnTo>
                    <a:pt x="1044" y="215"/>
                  </a:lnTo>
                  <a:lnTo>
                    <a:pt x="1025" y="224"/>
                  </a:lnTo>
                  <a:lnTo>
                    <a:pt x="1034" y="224"/>
                  </a:lnTo>
                  <a:lnTo>
                    <a:pt x="1044" y="234"/>
                  </a:lnTo>
                  <a:lnTo>
                    <a:pt x="1054" y="244"/>
                  </a:lnTo>
                  <a:lnTo>
                    <a:pt x="1044" y="244"/>
                  </a:lnTo>
                  <a:lnTo>
                    <a:pt x="1034" y="254"/>
                  </a:lnTo>
                  <a:lnTo>
                    <a:pt x="1015" y="254"/>
                  </a:lnTo>
                  <a:lnTo>
                    <a:pt x="1005" y="263"/>
                  </a:lnTo>
                  <a:lnTo>
                    <a:pt x="995" y="273"/>
                  </a:lnTo>
                  <a:lnTo>
                    <a:pt x="976" y="283"/>
                  </a:lnTo>
                  <a:lnTo>
                    <a:pt x="976" y="293"/>
                  </a:lnTo>
                  <a:lnTo>
                    <a:pt x="976" y="302"/>
                  </a:lnTo>
                  <a:lnTo>
                    <a:pt x="966" y="302"/>
                  </a:lnTo>
                  <a:lnTo>
                    <a:pt x="956" y="312"/>
                  </a:lnTo>
                  <a:lnTo>
                    <a:pt x="937" y="322"/>
                  </a:lnTo>
                  <a:lnTo>
                    <a:pt x="927" y="312"/>
                  </a:lnTo>
                  <a:lnTo>
                    <a:pt x="917" y="312"/>
                  </a:lnTo>
                  <a:lnTo>
                    <a:pt x="907" y="312"/>
                  </a:lnTo>
                  <a:lnTo>
                    <a:pt x="898" y="302"/>
                  </a:lnTo>
                  <a:lnTo>
                    <a:pt x="888" y="302"/>
                  </a:lnTo>
                  <a:lnTo>
                    <a:pt x="878" y="312"/>
                  </a:lnTo>
                  <a:lnTo>
                    <a:pt x="868" y="332"/>
                  </a:lnTo>
                  <a:lnTo>
                    <a:pt x="859" y="341"/>
                  </a:lnTo>
                  <a:lnTo>
                    <a:pt x="859" y="351"/>
                  </a:lnTo>
                  <a:lnTo>
                    <a:pt x="859" y="361"/>
                  </a:lnTo>
                  <a:lnTo>
                    <a:pt x="859" y="381"/>
                  </a:lnTo>
                  <a:lnTo>
                    <a:pt x="849" y="400"/>
                  </a:lnTo>
                  <a:lnTo>
                    <a:pt x="839" y="410"/>
                  </a:lnTo>
                  <a:lnTo>
                    <a:pt x="829" y="410"/>
                  </a:lnTo>
                  <a:lnTo>
                    <a:pt x="820" y="410"/>
                  </a:lnTo>
                  <a:lnTo>
                    <a:pt x="810" y="410"/>
                  </a:lnTo>
                  <a:lnTo>
                    <a:pt x="771" y="410"/>
                  </a:lnTo>
                  <a:lnTo>
                    <a:pt x="781" y="400"/>
                  </a:lnTo>
                  <a:lnTo>
                    <a:pt x="771" y="400"/>
                  </a:lnTo>
                  <a:lnTo>
                    <a:pt x="761" y="390"/>
                  </a:lnTo>
                  <a:lnTo>
                    <a:pt x="751" y="381"/>
                  </a:lnTo>
                  <a:lnTo>
                    <a:pt x="751" y="390"/>
                  </a:lnTo>
                  <a:lnTo>
                    <a:pt x="761" y="400"/>
                  </a:lnTo>
                  <a:lnTo>
                    <a:pt x="761" y="410"/>
                  </a:lnTo>
                  <a:lnTo>
                    <a:pt x="751" y="410"/>
                  </a:lnTo>
                  <a:lnTo>
                    <a:pt x="742" y="420"/>
                  </a:lnTo>
                  <a:lnTo>
                    <a:pt x="732" y="429"/>
                  </a:lnTo>
                  <a:lnTo>
                    <a:pt x="742" y="429"/>
                  </a:lnTo>
                  <a:lnTo>
                    <a:pt x="751" y="420"/>
                  </a:lnTo>
                  <a:lnTo>
                    <a:pt x="761" y="429"/>
                  </a:lnTo>
                  <a:lnTo>
                    <a:pt x="761" y="439"/>
                  </a:lnTo>
                  <a:lnTo>
                    <a:pt x="751" y="439"/>
                  </a:lnTo>
                  <a:lnTo>
                    <a:pt x="761" y="449"/>
                  </a:lnTo>
                  <a:lnTo>
                    <a:pt x="771" y="449"/>
                  </a:lnTo>
                  <a:lnTo>
                    <a:pt x="781" y="459"/>
                  </a:lnTo>
                  <a:lnTo>
                    <a:pt x="790" y="459"/>
                  </a:lnTo>
                  <a:lnTo>
                    <a:pt x="810" y="449"/>
                  </a:lnTo>
                  <a:lnTo>
                    <a:pt x="820" y="449"/>
                  </a:lnTo>
                  <a:lnTo>
                    <a:pt x="829" y="459"/>
                  </a:lnTo>
                  <a:lnTo>
                    <a:pt x="829" y="468"/>
                  </a:lnTo>
                  <a:lnTo>
                    <a:pt x="820" y="468"/>
                  </a:lnTo>
                  <a:lnTo>
                    <a:pt x="820" y="488"/>
                  </a:lnTo>
                  <a:lnTo>
                    <a:pt x="829" y="488"/>
                  </a:lnTo>
                  <a:lnTo>
                    <a:pt x="829" y="478"/>
                  </a:lnTo>
                  <a:lnTo>
                    <a:pt x="839" y="468"/>
                  </a:lnTo>
                  <a:lnTo>
                    <a:pt x="849" y="468"/>
                  </a:lnTo>
                  <a:lnTo>
                    <a:pt x="849" y="478"/>
                  </a:lnTo>
                  <a:lnTo>
                    <a:pt x="859" y="488"/>
                  </a:lnTo>
                  <a:lnTo>
                    <a:pt x="859" y="507"/>
                  </a:lnTo>
                  <a:lnTo>
                    <a:pt x="868" y="517"/>
                  </a:lnTo>
                  <a:lnTo>
                    <a:pt x="878" y="527"/>
                  </a:lnTo>
                  <a:lnTo>
                    <a:pt x="878" y="546"/>
                  </a:lnTo>
                  <a:lnTo>
                    <a:pt x="878" y="556"/>
                  </a:lnTo>
                  <a:lnTo>
                    <a:pt x="888" y="585"/>
                  </a:lnTo>
                  <a:lnTo>
                    <a:pt x="878" y="585"/>
                  </a:lnTo>
                  <a:lnTo>
                    <a:pt x="868" y="595"/>
                  </a:lnTo>
                  <a:lnTo>
                    <a:pt x="868" y="605"/>
                  </a:lnTo>
                  <a:lnTo>
                    <a:pt x="859" y="615"/>
                  </a:lnTo>
                  <a:lnTo>
                    <a:pt x="839" y="624"/>
                  </a:lnTo>
                  <a:lnTo>
                    <a:pt x="829" y="624"/>
                  </a:lnTo>
                  <a:lnTo>
                    <a:pt x="810" y="624"/>
                  </a:lnTo>
                  <a:lnTo>
                    <a:pt x="800" y="624"/>
                  </a:lnTo>
                  <a:lnTo>
                    <a:pt x="800" y="644"/>
                  </a:lnTo>
                  <a:lnTo>
                    <a:pt x="800" y="654"/>
                  </a:lnTo>
                  <a:lnTo>
                    <a:pt x="790" y="654"/>
                  </a:lnTo>
                  <a:lnTo>
                    <a:pt x="790" y="663"/>
                  </a:lnTo>
                  <a:lnTo>
                    <a:pt x="800" y="654"/>
                  </a:lnTo>
                  <a:lnTo>
                    <a:pt x="800" y="644"/>
                  </a:lnTo>
                  <a:lnTo>
                    <a:pt x="810" y="634"/>
                  </a:lnTo>
                  <a:lnTo>
                    <a:pt x="820" y="634"/>
                  </a:lnTo>
                  <a:lnTo>
                    <a:pt x="829" y="634"/>
                  </a:lnTo>
                  <a:lnTo>
                    <a:pt x="829" y="644"/>
                  </a:lnTo>
                  <a:lnTo>
                    <a:pt x="829" y="654"/>
                  </a:lnTo>
                  <a:lnTo>
                    <a:pt x="820" y="654"/>
                  </a:lnTo>
                  <a:lnTo>
                    <a:pt x="820" y="663"/>
                  </a:lnTo>
                  <a:lnTo>
                    <a:pt x="810" y="663"/>
                  </a:lnTo>
                  <a:lnTo>
                    <a:pt x="800" y="673"/>
                  </a:lnTo>
                  <a:lnTo>
                    <a:pt x="800" y="683"/>
                  </a:lnTo>
                  <a:lnTo>
                    <a:pt x="820" y="673"/>
                  </a:lnTo>
                  <a:lnTo>
                    <a:pt x="829" y="683"/>
                  </a:lnTo>
                  <a:lnTo>
                    <a:pt x="839" y="683"/>
                  </a:lnTo>
                  <a:lnTo>
                    <a:pt x="839" y="663"/>
                  </a:lnTo>
                  <a:lnTo>
                    <a:pt x="849" y="673"/>
                  </a:lnTo>
                  <a:lnTo>
                    <a:pt x="849" y="663"/>
                  </a:lnTo>
                  <a:lnTo>
                    <a:pt x="849" y="654"/>
                  </a:lnTo>
                  <a:lnTo>
                    <a:pt x="849" y="644"/>
                  </a:lnTo>
                  <a:lnTo>
                    <a:pt x="859" y="634"/>
                  </a:lnTo>
                  <a:lnTo>
                    <a:pt x="868" y="644"/>
                  </a:lnTo>
                  <a:lnTo>
                    <a:pt x="888" y="644"/>
                  </a:lnTo>
                  <a:lnTo>
                    <a:pt x="907" y="634"/>
                  </a:lnTo>
                  <a:lnTo>
                    <a:pt x="917" y="634"/>
                  </a:lnTo>
                  <a:lnTo>
                    <a:pt x="917" y="624"/>
                  </a:lnTo>
                  <a:lnTo>
                    <a:pt x="917" y="615"/>
                  </a:lnTo>
                  <a:lnTo>
                    <a:pt x="917" y="605"/>
                  </a:lnTo>
                  <a:lnTo>
                    <a:pt x="946" y="605"/>
                  </a:lnTo>
                  <a:lnTo>
                    <a:pt x="946" y="624"/>
                  </a:lnTo>
                  <a:lnTo>
                    <a:pt x="956" y="615"/>
                  </a:lnTo>
                  <a:lnTo>
                    <a:pt x="966" y="605"/>
                  </a:lnTo>
                  <a:lnTo>
                    <a:pt x="986" y="615"/>
                  </a:lnTo>
                  <a:lnTo>
                    <a:pt x="995" y="624"/>
                  </a:lnTo>
                  <a:lnTo>
                    <a:pt x="995" y="644"/>
                  </a:lnTo>
                  <a:lnTo>
                    <a:pt x="1005" y="644"/>
                  </a:lnTo>
                  <a:lnTo>
                    <a:pt x="1005" y="634"/>
                  </a:lnTo>
                  <a:lnTo>
                    <a:pt x="1005" y="624"/>
                  </a:lnTo>
                  <a:lnTo>
                    <a:pt x="1005" y="634"/>
                  </a:lnTo>
                  <a:lnTo>
                    <a:pt x="1015" y="634"/>
                  </a:lnTo>
                  <a:lnTo>
                    <a:pt x="1025" y="624"/>
                  </a:lnTo>
                  <a:lnTo>
                    <a:pt x="1034" y="624"/>
                  </a:lnTo>
                  <a:lnTo>
                    <a:pt x="1044" y="615"/>
                  </a:lnTo>
                  <a:lnTo>
                    <a:pt x="1064" y="605"/>
                  </a:lnTo>
                  <a:lnTo>
                    <a:pt x="1073" y="615"/>
                  </a:lnTo>
                  <a:lnTo>
                    <a:pt x="1064" y="634"/>
                  </a:lnTo>
                  <a:lnTo>
                    <a:pt x="1083" y="634"/>
                  </a:lnTo>
                  <a:lnTo>
                    <a:pt x="1083" y="624"/>
                  </a:lnTo>
                  <a:lnTo>
                    <a:pt x="1093" y="624"/>
                  </a:lnTo>
                  <a:lnTo>
                    <a:pt x="1103" y="615"/>
                  </a:lnTo>
                  <a:lnTo>
                    <a:pt x="1112" y="624"/>
                  </a:lnTo>
                  <a:lnTo>
                    <a:pt x="1122" y="624"/>
                  </a:lnTo>
                  <a:lnTo>
                    <a:pt x="1122" y="634"/>
                  </a:lnTo>
                  <a:lnTo>
                    <a:pt x="1132" y="634"/>
                  </a:lnTo>
                  <a:lnTo>
                    <a:pt x="1132" y="644"/>
                  </a:lnTo>
                  <a:lnTo>
                    <a:pt x="1122" y="654"/>
                  </a:lnTo>
                  <a:lnTo>
                    <a:pt x="1142" y="654"/>
                  </a:lnTo>
                  <a:lnTo>
                    <a:pt x="1151" y="654"/>
                  </a:lnTo>
                  <a:lnTo>
                    <a:pt x="1151" y="663"/>
                  </a:lnTo>
                  <a:lnTo>
                    <a:pt x="1142" y="663"/>
                  </a:lnTo>
                  <a:lnTo>
                    <a:pt x="1132" y="683"/>
                  </a:lnTo>
                  <a:lnTo>
                    <a:pt x="1103" y="693"/>
                  </a:lnTo>
                  <a:lnTo>
                    <a:pt x="1103" y="702"/>
                  </a:lnTo>
                  <a:lnTo>
                    <a:pt x="1093" y="712"/>
                  </a:lnTo>
                  <a:lnTo>
                    <a:pt x="1083" y="712"/>
                  </a:lnTo>
                  <a:lnTo>
                    <a:pt x="1083" y="722"/>
                  </a:lnTo>
                  <a:lnTo>
                    <a:pt x="1083" y="732"/>
                  </a:lnTo>
                  <a:lnTo>
                    <a:pt x="1073" y="732"/>
                  </a:lnTo>
                  <a:lnTo>
                    <a:pt x="1064" y="722"/>
                  </a:lnTo>
                  <a:lnTo>
                    <a:pt x="1054" y="722"/>
                  </a:lnTo>
                  <a:lnTo>
                    <a:pt x="1064" y="722"/>
                  </a:lnTo>
                  <a:lnTo>
                    <a:pt x="1064" y="732"/>
                  </a:lnTo>
                  <a:lnTo>
                    <a:pt x="1044" y="732"/>
                  </a:lnTo>
                  <a:lnTo>
                    <a:pt x="1044" y="742"/>
                  </a:lnTo>
                  <a:lnTo>
                    <a:pt x="1064" y="742"/>
                  </a:lnTo>
                  <a:lnTo>
                    <a:pt x="1073" y="742"/>
                  </a:lnTo>
                  <a:lnTo>
                    <a:pt x="1073" y="761"/>
                  </a:lnTo>
                  <a:lnTo>
                    <a:pt x="1073" y="771"/>
                  </a:lnTo>
                  <a:lnTo>
                    <a:pt x="1083" y="771"/>
                  </a:lnTo>
                  <a:lnTo>
                    <a:pt x="1083" y="790"/>
                  </a:lnTo>
                  <a:lnTo>
                    <a:pt x="1083" y="820"/>
                  </a:lnTo>
                  <a:lnTo>
                    <a:pt x="1083" y="839"/>
                  </a:lnTo>
                  <a:lnTo>
                    <a:pt x="1093" y="849"/>
                  </a:lnTo>
                  <a:lnTo>
                    <a:pt x="1083" y="849"/>
                  </a:lnTo>
                  <a:lnTo>
                    <a:pt x="1093" y="859"/>
                  </a:lnTo>
                  <a:lnTo>
                    <a:pt x="1093" y="868"/>
                  </a:lnTo>
                  <a:lnTo>
                    <a:pt x="1093" y="888"/>
                  </a:lnTo>
                  <a:lnTo>
                    <a:pt x="1083" y="888"/>
                  </a:lnTo>
                  <a:lnTo>
                    <a:pt x="1103" y="898"/>
                  </a:lnTo>
                  <a:lnTo>
                    <a:pt x="1083" y="898"/>
                  </a:lnTo>
                  <a:lnTo>
                    <a:pt x="1073" y="898"/>
                  </a:lnTo>
                  <a:lnTo>
                    <a:pt x="1064" y="898"/>
                  </a:lnTo>
                  <a:lnTo>
                    <a:pt x="1034" y="907"/>
                  </a:lnTo>
                  <a:lnTo>
                    <a:pt x="1025" y="907"/>
                  </a:lnTo>
                  <a:lnTo>
                    <a:pt x="1025" y="888"/>
                  </a:lnTo>
                  <a:lnTo>
                    <a:pt x="1015" y="898"/>
                  </a:lnTo>
                  <a:lnTo>
                    <a:pt x="1005" y="898"/>
                  </a:lnTo>
                  <a:lnTo>
                    <a:pt x="1005" y="907"/>
                  </a:lnTo>
                  <a:lnTo>
                    <a:pt x="995" y="937"/>
                  </a:lnTo>
                  <a:lnTo>
                    <a:pt x="995" y="956"/>
                  </a:lnTo>
                  <a:lnTo>
                    <a:pt x="976" y="956"/>
                  </a:lnTo>
                  <a:lnTo>
                    <a:pt x="966" y="976"/>
                  </a:lnTo>
                  <a:lnTo>
                    <a:pt x="966" y="995"/>
                  </a:lnTo>
                  <a:lnTo>
                    <a:pt x="956" y="1015"/>
                  </a:lnTo>
                  <a:lnTo>
                    <a:pt x="956" y="1034"/>
                  </a:lnTo>
                  <a:lnTo>
                    <a:pt x="946" y="1063"/>
                  </a:lnTo>
                  <a:lnTo>
                    <a:pt x="946" y="1073"/>
                  </a:lnTo>
                  <a:lnTo>
                    <a:pt x="927" y="1073"/>
                  </a:lnTo>
                  <a:lnTo>
                    <a:pt x="917" y="1063"/>
                  </a:lnTo>
                  <a:lnTo>
                    <a:pt x="898" y="1054"/>
                  </a:lnTo>
                  <a:lnTo>
                    <a:pt x="878" y="1063"/>
                  </a:lnTo>
                  <a:lnTo>
                    <a:pt x="849" y="1083"/>
                  </a:lnTo>
                  <a:lnTo>
                    <a:pt x="820" y="1093"/>
                  </a:lnTo>
                  <a:lnTo>
                    <a:pt x="820" y="1112"/>
                  </a:lnTo>
                  <a:lnTo>
                    <a:pt x="800" y="1112"/>
                  </a:lnTo>
                  <a:lnTo>
                    <a:pt x="800" y="1083"/>
                  </a:lnTo>
                  <a:lnTo>
                    <a:pt x="790" y="1044"/>
                  </a:lnTo>
                  <a:lnTo>
                    <a:pt x="790" y="1024"/>
                  </a:lnTo>
                  <a:lnTo>
                    <a:pt x="781" y="1015"/>
                  </a:lnTo>
                  <a:lnTo>
                    <a:pt x="751" y="1015"/>
                  </a:lnTo>
                  <a:lnTo>
                    <a:pt x="742" y="1034"/>
                  </a:lnTo>
                  <a:lnTo>
                    <a:pt x="722" y="1034"/>
                  </a:lnTo>
                  <a:lnTo>
                    <a:pt x="693" y="1024"/>
                  </a:lnTo>
                  <a:lnTo>
                    <a:pt x="673" y="1024"/>
                  </a:lnTo>
                  <a:lnTo>
                    <a:pt x="654" y="1034"/>
                  </a:lnTo>
                  <a:lnTo>
                    <a:pt x="654" y="1044"/>
                  </a:lnTo>
                  <a:lnTo>
                    <a:pt x="634" y="1063"/>
                  </a:lnTo>
                  <a:lnTo>
                    <a:pt x="615" y="1063"/>
                  </a:lnTo>
                  <a:lnTo>
                    <a:pt x="615" y="1093"/>
                  </a:lnTo>
                  <a:lnTo>
                    <a:pt x="586" y="1112"/>
                  </a:lnTo>
                  <a:lnTo>
                    <a:pt x="586" y="1132"/>
                  </a:lnTo>
                  <a:lnTo>
                    <a:pt x="566" y="1132"/>
                  </a:lnTo>
                  <a:lnTo>
                    <a:pt x="566" y="1112"/>
                  </a:lnTo>
                  <a:lnTo>
                    <a:pt x="556" y="1112"/>
                  </a:lnTo>
                  <a:lnTo>
                    <a:pt x="556" y="1122"/>
                  </a:lnTo>
                  <a:lnTo>
                    <a:pt x="537" y="1122"/>
                  </a:lnTo>
                  <a:lnTo>
                    <a:pt x="527" y="1132"/>
                  </a:lnTo>
                  <a:lnTo>
                    <a:pt x="537" y="1151"/>
                  </a:lnTo>
                  <a:lnTo>
                    <a:pt x="517" y="1151"/>
                  </a:lnTo>
                  <a:lnTo>
                    <a:pt x="508" y="1161"/>
                  </a:lnTo>
                  <a:lnTo>
                    <a:pt x="498" y="1181"/>
                  </a:lnTo>
                  <a:lnTo>
                    <a:pt x="478" y="1200"/>
                  </a:lnTo>
                  <a:lnTo>
                    <a:pt x="488" y="1210"/>
                  </a:lnTo>
                  <a:lnTo>
                    <a:pt x="498" y="1220"/>
                  </a:lnTo>
                  <a:lnTo>
                    <a:pt x="469" y="1220"/>
                  </a:lnTo>
                  <a:lnTo>
                    <a:pt x="459" y="1229"/>
                  </a:lnTo>
                  <a:lnTo>
                    <a:pt x="430" y="1249"/>
                  </a:lnTo>
                  <a:lnTo>
                    <a:pt x="410" y="1259"/>
                  </a:lnTo>
                  <a:lnTo>
                    <a:pt x="390" y="1259"/>
                  </a:lnTo>
                  <a:lnTo>
                    <a:pt x="381" y="1268"/>
                  </a:lnTo>
                  <a:lnTo>
                    <a:pt x="371" y="1288"/>
                  </a:lnTo>
                  <a:lnTo>
                    <a:pt x="351" y="1288"/>
                  </a:lnTo>
                  <a:lnTo>
                    <a:pt x="342" y="1288"/>
                  </a:lnTo>
                  <a:lnTo>
                    <a:pt x="332" y="1288"/>
                  </a:lnTo>
                  <a:lnTo>
                    <a:pt x="312" y="1298"/>
                  </a:lnTo>
                  <a:lnTo>
                    <a:pt x="303" y="1298"/>
                  </a:lnTo>
                  <a:lnTo>
                    <a:pt x="293" y="1298"/>
                  </a:lnTo>
                  <a:lnTo>
                    <a:pt x="264" y="1298"/>
                  </a:lnTo>
                  <a:lnTo>
                    <a:pt x="244" y="1288"/>
                  </a:lnTo>
                  <a:lnTo>
                    <a:pt x="244" y="1278"/>
                  </a:lnTo>
                  <a:lnTo>
                    <a:pt x="234" y="1268"/>
                  </a:lnTo>
                  <a:lnTo>
                    <a:pt x="186" y="1268"/>
                  </a:lnTo>
                  <a:lnTo>
                    <a:pt x="166" y="1259"/>
                  </a:lnTo>
                  <a:lnTo>
                    <a:pt x="166" y="1239"/>
                  </a:lnTo>
                  <a:lnTo>
                    <a:pt x="156" y="1220"/>
                  </a:lnTo>
                  <a:lnTo>
                    <a:pt x="127" y="1220"/>
                  </a:lnTo>
                  <a:lnTo>
                    <a:pt x="88" y="1220"/>
                  </a:lnTo>
                  <a:lnTo>
                    <a:pt x="59" y="1220"/>
                  </a:lnTo>
                  <a:lnTo>
                    <a:pt x="49" y="1200"/>
                  </a:lnTo>
                  <a:lnTo>
                    <a:pt x="49" y="1181"/>
                  </a:lnTo>
                  <a:lnTo>
                    <a:pt x="39" y="1171"/>
                  </a:lnTo>
                  <a:lnTo>
                    <a:pt x="39" y="1161"/>
                  </a:lnTo>
                  <a:lnTo>
                    <a:pt x="39" y="1142"/>
                  </a:lnTo>
                  <a:lnTo>
                    <a:pt x="49" y="1112"/>
                  </a:lnTo>
                  <a:lnTo>
                    <a:pt x="69" y="1103"/>
                  </a:lnTo>
                  <a:lnTo>
                    <a:pt x="69" y="1093"/>
                  </a:lnTo>
                  <a:lnTo>
                    <a:pt x="88" y="1073"/>
                  </a:lnTo>
                  <a:lnTo>
                    <a:pt x="88" y="1044"/>
                  </a:lnTo>
                  <a:lnTo>
                    <a:pt x="88" y="1034"/>
                  </a:lnTo>
                  <a:lnTo>
                    <a:pt x="108" y="1005"/>
                  </a:lnTo>
                  <a:lnTo>
                    <a:pt x="117" y="995"/>
                  </a:lnTo>
                  <a:lnTo>
                    <a:pt x="108" y="976"/>
                  </a:lnTo>
                  <a:lnTo>
                    <a:pt x="98" y="976"/>
                  </a:lnTo>
                  <a:lnTo>
                    <a:pt x="78" y="976"/>
                  </a:lnTo>
                  <a:lnTo>
                    <a:pt x="78" y="956"/>
                  </a:lnTo>
                  <a:lnTo>
                    <a:pt x="49" y="946"/>
                  </a:lnTo>
                  <a:lnTo>
                    <a:pt x="49" y="937"/>
                  </a:lnTo>
                  <a:lnTo>
                    <a:pt x="30" y="927"/>
                  </a:lnTo>
                  <a:lnTo>
                    <a:pt x="10" y="937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54" name="Group 49"/>
            <p:cNvGrpSpPr>
              <a:grpSpLocks/>
            </p:cNvGrpSpPr>
            <p:nvPr/>
          </p:nvGrpSpPr>
          <p:grpSpPr bwMode="auto">
            <a:xfrm>
              <a:off x="7607" y="0"/>
              <a:ext cx="1151" cy="1298"/>
              <a:chOff x="7608" y="0"/>
              <a:chExt cx="1151" cy="1298"/>
            </a:xfrm>
          </p:grpSpPr>
          <p:sp>
            <p:nvSpPr>
              <p:cNvPr id="288" name="Freeform 51"/>
              <p:cNvSpPr>
                <a:spLocks/>
              </p:cNvSpPr>
              <p:nvPr/>
            </p:nvSpPr>
            <p:spPr bwMode="auto">
              <a:xfrm>
                <a:off x="7608" y="0"/>
                <a:ext cx="1151" cy="1297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  <a:lnTo>
                      <a:pt x="10" y="937"/>
                    </a:lnTo>
                    <a:close/>
                  </a:path>
                </a:pathLst>
              </a:custGeom>
              <a:solidFill>
                <a:srgbClr val="1736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9" name="Freeform 50"/>
              <p:cNvSpPr>
                <a:spLocks/>
              </p:cNvSpPr>
              <p:nvPr/>
            </p:nvSpPr>
            <p:spPr bwMode="auto">
              <a:xfrm>
                <a:off x="7608" y="0"/>
                <a:ext cx="1151" cy="1297"/>
              </a:xfrm>
              <a:custGeom>
                <a:avLst/>
                <a:gdLst>
                  <a:gd name="T0" fmla="*/ 59 w 1151"/>
                  <a:gd name="T1" fmla="*/ 849 h 1298"/>
                  <a:gd name="T2" fmla="*/ 117 w 1151"/>
                  <a:gd name="T3" fmla="*/ 732 h 1298"/>
                  <a:gd name="T4" fmla="*/ 215 w 1151"/>
                  <a:gd name="T5" fmla="*/ 722 h 1298"/>
                  <a:gd name="T6" fmla="*/ 264 w 1151"/>
                  <a:gd name="T7" fmla="*/ 683 h 1298"/>
                  <a:gd name="T8" fmla="*/ 195 w 1151"/>
                  <a:gd name="T9" fmla="*/ 644 h 1298"/>
                  <a:gd name="T10" fmla="*/ 137 w 1151"/>
                  <a:gd name="T11" fmla="*/ 624 h 1298"/>
                  <a:gd name="T12" fmla="*/ 186 w 1151"/>
                  <a:gd name="T13" fmla="*/ 566 h 1298"/>
                  <a:gd name="T14" fmla="*/ 234 w 1151"/>
                  <a:gd name="T15" fmla="*/ 527 h 1298"/>
                  <a:gd name="T16" fmla="*/ 273 w 1151"/>
                  <a:gd name="T17" fmla="*/ 439 h 1298"/>
                  <a:gd name="T18" fmla="*/ 351 w 1151"/>
                  <a:gd name="T19" fmla="*/ 390 h 1298"/>
                  <a:gd name="T20" fmla="*/ 400 w 1151"/>
                  <a:gd name="T21" fmla="*/ 351 h 1298"/>
                  <a:gd name="T22" fmla="*/ 508 w 1151"/>
                  <a:gd name="T23" fmla="*/ 293 h 1298"/>
                  <a:gd name="T24" fmla="*/ 576 w 1151"/>
                  <a:gd name="T25" fmla="*/ 244 h 1298"/>
                  <a:gd name="T26" fmla="*/ 644 w 1151"/>
                  <a:gd name="T27" fmla="*/ 224 h 1298"/>
                  <a:gd name="T28" fmla="*/ 683 w 1151"/>
                  <a:gd name="T29" fmla="*/ 205 h 1298"/>
                  <a:gd name="T30" fmla="*/ 761 w 1151"/>
                  <a:gd name="T31" fmla="*/ 205 h 1298"/>
                  <a:gd name="T32" fmla="*/ 810 w 1151"/>
                  <a:gd name="T33" fmla="*/ 185 h 1298"/>
                  <a:gd name="T34" fmla="*/ 751 w 1151"/>
                  <a:gd name="T35" fmla="*/ 176 h 1298"/>
                  <a:gd name="T36" fmla="*/ 761 w 1151"/>
                  <a:gd name="T37" fmla="*/ 137 h 1298"/>
                  <a:gd name="T38" fmla="*/ 771 w 1151"/>
                  <a:gd name="T39" fmla="*/ 68 h 1298"/>
                  <a:gd name="T40" fmla="*/ 868 w 1151"/>
                  <a:gd name="T41" fmla="*/ 29 h 1298"/>
                  <a:gd name="T42" fmla="*/ 917 w 1151"/>
                  <a:gd name="T43" fmla="*/ 49 h 1298"/>
                  <a:gd name="T44" fmla="*/ 927 w 1151"/>
                  <a:gd name="T45" fmla="*/ 78 h 1298"/>
                  <a:gd name="T46" fmla="*/ 917 w 1151"/>
                  <a:gd name="T47" fmla="*/ 146 h 1298"/>
                  <a:gd name="T48" fmla="*/ 966 w 1151"/>
                  <a:gd name="T49" fmla="*/ 146 h 1298"/>
                  <a:gd name="T50" fmla="*/ 1015 w 1151"/>
                  <a:gd name="T51" fmla="*/ 185 h 1298"/>
                  <a:gd name="T52" fmla="*/ 1064 w 1151"/>
                  <a:gd name="T53" fmla="*/ 195 h 1298"/>
                  <a:gd name="T54" fmla="*/ 1054 w 1151"/>
                  <a:gd name="T55" fmla="*/ 244 h 1298"/>
                  <a:gd name="T56" fmla="*/ 976 w 1151"/>
                  <a:gd name="T57" fmla="*/ 293 h 1298"/>
                  <a:gd name="T58" fmla="*/ 907 w 1151"/>
                  <a:gd name="T59" fmla="*/ 312 h 1298"/>
                  <a:gd name="T60" fmla="*/ 859 w 1151"/>
                  <a:gd name="T61" fmla="*/ 381 h 1298"/>
                  <a:gd name="T62" fmla="*/ 781 w 1151"/>
                  <a:gd name="T63" fmla="*/ 400 h 1298"/>
                  <a:gd name="T64" fmla="*/ 742 w 1151"/>
                  <a:gd name="T65" fmla="*/ 420 h 1298"/>
                  <a:gd name="T66" fmla="*/ 771 w 1151"/>
                  <a:gd name="T67" fmla="*/ 449 h 1298"/>
                  <a:gd name="T68" fmla="*/ 820 w 1151"/>
                  <a:gd name="T69" fmla="*/ 488 h 1298"/>
                  <a:gd name="T70" fmla="*/ 868 w 1151"/>
                  <a:gd name="T71" fmla="*/ 517 h 1298"/>
                  <a:gd name="T72" fmla="*/ 859 w 1151"/>
                  <a:gd name="T73" fmla="*/ 615 h 1298"/>
                  <a:gd name="T74" fmla="*/ 800 w 1151"/>
                  <a:gd name="T75" fmla="*/ 654 h 1298"/>
                  <a:gd name="T76" fmla="*/ 829 w 1151"/>
                  <a:gd name="T77" fmla="*/ 644 h 1298"/>
                  <a:gd name="T78" fmla="*/ 820 w 1151"/>
                  <a:gd name="T79" fmla="*/ 673 h 1298"/>
                  <a:gd name="T80" fmla="*/ 849 w 1151"/>
                  <a:gd name="T81" fmla="*/ 644 h 1298"/>
                  <a:gd name="T82" fmla="*/ 917 w 1151"/>
                  <a:gd name="T83" fmla="*/ 605 h 1298"/>
                  <a:gd name="T84" fmla="*/ 995 w 1151"/>
                  <a:gd name="T85" fmla="*/ 644 h 1298"/>
                  <a:gd name="T86" fmla="*/ 1044 w 1151"/>
                  <a:gd name="T87" fmla="*/ 615 h 1298"/>
                  <a:gd name="T88" fmla="*/ 1122 w 1151"/>
                  <a:gd name="T89" fmla="*/ 624 h 1298"/>
                  <a:gd name="T90" fmla="*/ 1151 w 1151"/>
                  <a:gd name="T91" fmla="*/ 663 h 1298"/>
                  <a:gd name="T92" fmla="*/ 1083 w 1151"/>
                  <a:gd name="T93" fmla="*/ 722 h 1298"/>
                  <a:gd name="T94" fmla="*/ 1064 w 1151"/>
                  <a:gd name="T95" fmla="*/ 732 h 1298"/>
                  <a:gd name="T96" fmla="*/ 1083 w 1151"/>
                  <a:gd name="T97" fmla="*/ 771 h 1298"/>
                  <a:gd name="T98" fmla="*/ 1093 w 1151"/>
                  <a:gd name="T99" fmla="*/ 868 h 1298"/>
                  <a:gd name="T100" fmla="*/ 1025 w 1151"/>
                  <a:gd name="T101" fmla="*/ 907 h 1298"/>
                  <a:gd name="T102" fmla="*/ 966 w 1151"/>
                  <a:gd name="T103" fmla="*/ 976 h 1298"/>
                  <a:gd name="T104" fmla="*/ 898 w 1151"/>
                  <a:gd name="T105" fmla="*/ 1054 h 1298"/>
                  <a:gd name="T106" fmla="*/ 790 w 1151"/>
                  <a:gd name="T107" fmla="*/ 1024 h 1298"/>
                  <a:gd name="T108" fmla="*/ 654 w 1151"/>
                  <a:gd name="T109" fmla="*/ 1054 h 1298"/>
                  <a:gd name="T110" fmla="*/ 556 w 1151"/>
                  <a:gd name="T111" fmla="*/ 1112 h 1298"/>
                  <a:gd name="T112" fmla="*/ 478 w 1151"/>
                  <a:gd name="T113" fmla="*/ 1200 h 1298"/>
                  <a:gd name="T114" fmla="*/ 381 w 1151"/>
                  <a:gd name="T115" fmla="*/ 1268 h 1298"/>
                  <a:gd name="T116" fmla="*/ 264 w 1151"/>
                  <a:gd name="T117" fmla="*/ 1298 h 1298"/>
                  <a:gd name="T118" fmla="*/ 127 w 1151"/>
                  <a:gd name="T119" fmla="*/ 1220 h 1298"/>
                  <a:gd name="T120" fmla="*/ 49 w 1151"/>
                  <a:gd name="T121" fmla="*/ 1112 h 1298"/>
                  <a:gd name="T122" fmla="*/ 108 w 1151"/>
                  <a:gd name="T123" fmla="*/ 976 h 12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1"/>
                  <a:gd name="T187" fmla="*/ 0 h 1298"/>
                  <a:gd name="T188" fmla="*/ 1151 w 1151"/>
                  <a:gd name="T189" fmla="*/ 1298 h 12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1" h="1298">
                    <a:moveTo>
                      <a:pt x="10" y="937"/>
                    </a:moveTo>
                    <a:lnTo>
                      <a:pt x="10" y="917"/>
                    </a:lnTo>
                    <a:lnTo>
                      <a:pt x="0" y="907"/>
                    </a:lnTo>
                    <a:lnTo>
                      <a:pt x="20" y="878"/>
                    </a:lnTo>
                    <a:lnTo>
                      <a:pt x="30" y="878"/>
                    </a:lnTo>
                    <a:lnTo>
                      <a:pt x="30" y="859"/>
                    </a:lnTo>
                    <a:lnTo>
                      <a:pt x="39" y="849"/>
                    </a:lnTo>
                    <a:lnTo>
                      <a:pt x="59" y="849"/>
                    </a:lnTo>
                    <a:lnTo>
                      <a:pt x="69" y="839"/>
                    </a:lnTo>
                    <a:lnTo>
                      <a:pt x="78" y="820"/>
                    </a:lnTo>
                    <a:lnTo>
                      <a:pt x="88" y="810"/>
                    </a:lnTo>
                    <a:lnTo>
                      <a:pt x="98" y="800"/>
                    </a:lnTo>
                    <a:lnTo>
                      <a:pt x="108" y="790"/>
                    </a:lnTo>
                    <a:lnTo>
                      <a:pt x="117" y="781"/>
                    </a:lnTo>
                    <a:lnTo>
                      <a:pt x="117" y="761"/>
                    </a:lnTo>
                    <a:lnTo>
                      <a:pt x="117" y="732"/>
                    </a:lnTo>
                    <a:lnTo>
                      <a:pt x="117" y="722"/>
                    </a:lnTo>
                    <a:lnTo>
                      <a:pt x="127" y="732"/>
                    </a:lnTo>
                    <a:lnTo>
                      <a:pt x="156" y="732"/>
                    </a:lnTo>
                    <a:lnTo>
                      <a:pt x="166" y="742"/>
                    </a:lnTo>
                    <a:lnTo>
                      <a:pt x="186" y="742"/>
                    </a:lnTo>
                    <a:lnTo>
                      <a:pt x="186" y="732"/>
                    </a:lnTo>
                    <a:lnTo>
                      <a:pt x="195" y="722"/>
                    </a:lnTo>
                    <a:lnTo>
                      <a:pt x="215" y="722"/>
                    </a:lnTo>
                    <a:lnTo>
                      <a:pt x="234" y="722"/>
                    </a:lnTo>
                    <a:lnTo>
                      <a:pt x="244" y="732"/>
                    </a:lnTo>
                    <a:lnTo>
                      <a:pt x="254" y="722"/>
                    </a:lnTo>
                    <a:lnTo>
                      <a:pt x="264" y="722"/>
                    </a:lnTo>
                    <a:lnTo>
                      <a:pt x="264" y="702"/>
                    </a:lnTo>
                    <a:lnTo>
                      <a:pt x="273" y="693"/>
                    </a:lnTo>
                    <a:lnTo>
                      <a:pt x="264" y="683"/>
                    </a:lnTo>
                    <a:lnTo>
                      <a:pt x="254" y="673"/>
                    </a:lnTo>
                    <a:lnTo>
                      <a:pt x="254" y="663"/>
                    </a:lnTo>
                    <a:lnTo>
                      <a:pt x="244" y="663"/>
                    </a:lnTo>
                    <a:lnTo>
                      <a:pt x="244" y="654"/>
                    </a:lnTo>
                    <a:lnTo>
                      <a:pt x="225" y="654"/>
                    </a:lnTo>
                    <a:lnTo>
                      <a:pt x="205" y="644"/>
                    </a:lnTo>
                    <a:lnTo>
                      <a:pt x="195" y="644"/>
                    </a:lnTo>
                    <a:lnTo>
                      <a:pt x="195" y="654"/>
                    </a:lnTo>
                    <a:lnTo>
                      <a:pt x="195" y="663"/>
                    </a:lnTo>
                    <a:lnTo>
                      <a:pt x="176" y="663"/>
                    </a:lnTo>
                    <a:lnTo>
                      <a:pt x="176" y="644"/>
                    </a:lnTo>
                    <a:lnTo>
                      <a:pt x="176" y="634"/>
                    </a:lnTo>
                    <a:lnTo>
                      <a:pt x="156" y="624"/>
                    </a:lnTo>
                    <a:lnTo>
                      <a:pt x="137" y="624"/>
                    </a:lnTo>
                    <a:lnTo>
                      <a:pt x="137" y="615"/>
                    </a:lnTo>
                    <a:lnTo>
                      <a:pt x="147" y="605"/>
                    </a:lnTo>
                    <a:lnTo>
                      <a:pt x="156" y="595"/>
                    </a:lnTo>
                    <a:lnTo>
                      <a:pt x="166" y="585"/>
                    </a:lnTo>
                    <a:lnTo>
                      <a:pt x="176" y="585"/>
                    </a:lnTo>
                    <a:lnTo>
                      <a:pt x="176" y="576"/>
                    </a:lnTo>
                    <a:lnTo>
                      <a:pt x="186" y="566"/>
                    </a:lnTo>
                    <a:lnTo>
                      <a:pt x="205" y="546"/>
                    </a:lnTo>
                    <a:lnTo>
                      <a:pt x="215" y="546"/>
                    </a:lnTo>
                    <a:lnTo>
                      <a:pt x="234" y="546"/>
                    </a:lnTo>
                    <a:lnTo>
                      <a:pt x="234" y="527"/>
                    </a:lnTo>
                    <a:lnTo>
                      <a:pt x="215" y="527"/>
                    </a:lnTo>
                    <a:lnTo>
                      <a:pt x="234" y="527"/>
                    </a:lnTo>
                    <a:lnTo>
                      <a:pt x="234" y="507"/>
                    </a:lnTo>
                    <a:lnTo>
                      <a:pt x="234" y="498"/>
                    </a:lnTo>
                    <a:lnTo>
                      <a:pt x="244" y="478"/>
                    </a:lnTo>
                    <a:lnTo>
                      <a:pt x="254" y="468"/>
                    </a:lnTo>
                    <a:lnTo>
                      <a:pt x="264" y="459"/>
                    </a:lnTo>
                    <a:lnTo>
                      <a:pt x="273" y="449"/>
                    </a:lnTo>
                    <a:lnTo>
                      <a:pt x="273" y="439"/>
                    </a:lnTo>
                    <a:lnTo>
                      <a:pt x="254" y="449"/>
                    </a:lnTo>
                    <a:lnTo>
                      <a:pt x="254" y="439"/>
                    </a:lnTo>
                    <a:lnTo>
                      <a:pt x="264" y="439"/>
                    </a:lnTo>
                    <a:lnTo>
                      <a:pt x="283" y="429"/>
                    </a:lnTo>
                    <a:lnTo>
                      <a:pt x="303" y="420"/>
                    </a:lnTo>
                    <a:lnTo>
                      <a:pt x="312" y="410"/>
                    </a:lnTo>
                    <a:lnTo>
                      <a:pt x="332" y="390"/>
                    </a:lnTo>
                    <a:lnTo>
                      <a:pt x="351" y="390"/>
                    </a:lnTo>
                    <a:lnTo>
                      <a:pt x="351" y="371"/>
                    </a:lnTo>
                    <a:lnTo>
                      <a:pt x="351" y="361"/>
                    </a:lnTo>
                    <a:lnTo>
                      <a:pt x="361" y="351"/>
                    </a:lnTo>
                    <a:lnTo>
                      <a:pt x="381" y="351"/>
                    </a:lnTo>
                    <a:lnTo>
                      <a:pt x="371" y="361"/>
                    </a:lnTo>
                    <a:lnTo>
                      <a:pt x="371" y="371"/>
                    </a:lnTo>
                    <a:lnTo>
                      <a:pt x="381" y="371"/>
                    </a:lnTo>
                    <a:lnTo>
                      <a:pt x="400" y="351"/>
                    </a:lnTo>
                    <a:lnTo>
                      <a:pt x="410" y="341"/>
                    </a:lnTo>
                    <a:lnTo>
                      <a:pt x="430" y="341"/>
                    </a:lnTo>
                    <a:lnTo>
                      <a:pt x="449" y="322"/>
                    </a:lnTo>
                    <a:lnTo>
                      <a:pt x="459" y="312"/>
                    </a:lnTo>
                    <a:lnTo>
                      <a:pt x="469" y="312"/>
                    </a:lnTo>
                    <a:lnTo>
                      <a:pt x="478" y="302"/>
                    </a:lnTo>
                    <a:lnTo>
                      <a:pt x="498" y="302"/>
                    </a:lnTo>
                    <a:lnTo>
                      <a:pt x="508" y="293"/>
                    </a:lnTo>
                    <a:lnTo>
                      <a:pt x="517" y="293"/>
                    </a:lnTo>
                    <a:lnTo>
                      <a:pt x="527" y="283"/>
                    </a:lnTo>
                    <a:lnTo>
                      <a:pt x="537" y="283"/>
                    </a:lnTo>
                    <a:lnTo>
                      <a:pt x="547" y="273"/>
                    </a:lnTo>
                    <a:lnTo>
                      <a:pt x="556" y="273"/>
                    </a:lnTo>
                    <a:lnTo>
                      <a:pt x="556" y="254"/>
                    </a:lnTo>
                    <a:lnTo>
                      <a:pt x="566" y="254"/>
                    </a:lnTo>
                    <a:lnTo>
                      <a:pt x="576" y="244"/>
                    </a:lnTo>
                    <a:lnTo>
                      <a:pt x="586" y="244"/>
                    </a:lnTo>
                    <a:lnTo>
                      <a:pt x="595" y="254"/>
                    </a:lnTo>
                    <a:lnTo>
                      <a:pt x="605" y="244"/>
                    </a:lnTo>
                    <a:lnTo>
                      <a:pt x="615" y="234"/>
                    </a:lnTo>
                    <a:lnTo>
                      <a:pt x="615" y="224"/>
                    </a:lnTo>
                    <a:lnTo>
                      <a:pt x="625" y="224"/>
                    </a:lnTo>
                    <a:lnTo>
                      <a:pt x="634" y="234"/>
                    </a:lnTo>
                    <a:lnTo>
                      <a:pt x="644" y="224"/>
                    </a:lnTo>
                    <a:lnTo>
                      <a:pt x="664" y="215"/>
                    </a:lnTo>
                    <a:lnTo>
                      <a:pt x="644" y="215"/>
                    </a:lnTo>
                    <a:lnTo>
                      <a:pt x="634" y="224"/>
                    </a:lnTo>
                    <a:lnTo>
                      <a:pt x="625" y="215"/>
                    </a:lnTo>
                    <a:lnTo>
                      <a:pt x="634" y="215"/>
                    </a:lnTo>
                    <a:lnTo>
                      <a:pt x="644" y="195"/>
                    </a:lnTo>
                    <a:lnTo>
                      <a:pt x="664" y="195"/>
                    </a:lnTo>
                    <a:lnTo>
                      <a:pt x="683" y="205"/>
                    </a:lnTo>
                    <a:lnTo>
                      <a:pt x="673" y="195"/>
                    </a:lnTo>
                    <a:lnTo>
                      <a:pt x="683" y="185"/>
                    </a:lnTo>
                    <a:lnTo>
                      <a:pt x="703" y="185"/>
                    </a:lnTo>
                    <a:lnTo>
                      <a:pt x="703" y="195"/>
                    </a:lnTo>
                    <a:lnTo>
                      <a:pt x="712" y="205"/>
                    </a:lnTo>
                    <a:lnTo>
                      <a:pt x="732" y="205"/>
                    </a:lnTo>
                    <a:lnTo>
                      <a:pt x="751" y="195"/>
                    </a:lnTo>
                    <a:lnTo>
                      <a:pt x="761" y="205"/>
                    </a:lnTo>
                    <a:lnTo>
                      <a:pt x="761" y="215"/>
                    </a:lnTo>
                    <a:lnTo>
                      <a:pt x="781" y="215"/>
                    </a:lnTo>
                    <a:lnTo>
                      <a:pt x="781" y="205"/>
                    </a:lnTo>
                    <a:lnTo>
                      <a:pt x="800" y="205"/>
                    </a:lnTo>
                    <a:lnTo>
                      <a:pt x="810" y="205"/>
                    </a:lnTo>
                    <a:lnTo>
                      <a:pt x="810" y="195"/>
                    </a:lnTo>
                    <a:lnTo>
                      <a:pt x="810" y="185"/>
                    </a:lnTo>
                    <a:lnTo>
                      <a:pt x="820" y="195"/>
                    </a:lnTo>
                    <a:lnTo>
                      <a:pt x="820" y="176"/>
                    </a:lnTo>
                    <a:lnTo>
                      <a:pt x="810" y="176"/>
                    </a:lnTo>
                    <a:lnTo>
                      <a:pt x="800" y="185"/>
                    </a:lnTo>
                    <a:lnTo>
                      <a:pt x="790" y="185"/>
                    </a:lnTo>
                    <a:lnTo>
                      <a:pt x="781" y="176"/>
                    </a:lnTo>
                    <a:lnTo>
                      <a:pt x="761" y="176"/>
                    </a:lnTo>
                    <a:lnTo>
                      <a:pt x="751" y="176"/>
                    </a:lnTo>
                    <a:lnTo>
                      <a:pt x="742" y="176"/>
                    </a:lnTo>
                    <a:lnTo>
                      <a:pt x="722" y="185"/>
                    </a:lnTo>
                    <a:lnTo>
                      <a:pt x="722" y="176"/>
                    </a:lnTo>
                    <a:lnTo>
                      <a:pt x="732" y="156"/>
                    </a:lnTo>
                    <a:lnTo>
                      <a:pt x="732" y="146"/>
                    </a:lnTo>
                    <a:lnTo>
                      <a:pt x="742" y="137"/>
                    </a:lnTo>
                    <a:lnTo>
                      <a:pt x="751" y="137"/>
                    </a:lnTo>
                    <a:lnTo>
                      <a:pt x="761" y="137"/>
                    </a:lnTo>
                    <a:lnTo>
                      <a:pt x="761" y="127"/>
                    </a:lnTo>
                    <a:lnTo>
                      <a:pt x="771" y="117"/>
                    </a:lnTo>
                    <a:lnTo>
                      <a:pt x="771" y="107"/>
                    </a:lnTo>
                    <a:lnTo>
                      <a:pt x="761" y="117"/>
                    </a:lnTo>
                    <a:lnTo>
                      <a:pt x="751" y="117"/>
                    </a:lnTo>
                    <a:lnTo>
                      <a:pt x="761" y="98"/>
                    </a:lnTo>
                    <a:lnTo>
                      <a:pt x="771" y="68"/>
                    </a:lnTo>
                    <a:lnTo>
                      <a:pt x="781" y="68"/>
                    </a:lnTo>
                    <a:lnTo>
                      <a:pt x="800" y="68"/>
                    </a:lnTo>
                    <a:lnTo>
                      <a:pt x="810" y="59"/>
                    </a:lnTo>
                    <a:lnTo>
                      <a:pt x="829" y="59"/>
                    </a:lnTo>
                    <a:lnTo>
                      <a:pt x="849" y="49"/>
                    </a:lnTo>
                    <a:lnTo>
                      <a:pt x="859" y="39"/>
                    </a:lnTo>
                    <a:lnTo>
                      <a:pt x="868" y="39"/>
                    </a:lnTo>
                    <a:lnTo>
                      <a:pt x="868" y="29"/>
                    </a:lnTo>
                    <a:lnTo>
                      <a:pt x="878" y="20"/>
                    </a:lnTo>
                    <a:lnTo>
                      <a:pt x="888" y="29"/>
                    </a:lnTo>
                    <a:lnTo>
                      <a:pt x="888" y="20"/>
                    </a:lnTo>
                    <a:lnTo>
                      <a:pt x="888" y="0"/>
                    </a:lnTo>
                    <a:lnTo>
                      <a:pt x="907" y="10"/>
                    </a:lnTo>
                    <a:lnTo>
                      <a:pt x="907" y="20"/>
                    </a:lnTo>
                    <a:lnTo>
                      <a:pt x="907" y="39"/>
                    </a:lnTo>
                    <a:lnTo>
                      <a:pt x="917" y="49"/>
                    </a:lnTo>
                    <a:lnTo>
                      <a:pt x="937" y="59"/>
                    </a:lnTo>
                    <a:lnTo>
                      <a:pt x="946" y="59"/>
                    </a:lnTo>
                    <a:lnTo>
                      <a:pt x="937" y="78"/>
                    </a:lnTo>
                    <a:lnTo>
                      <a:pt x="917" y="78"/>
                    </a:lnTo>
                    <a:lnTo>
                      <a:pt x="917" y="88"/>
                    </a:lnTo>
                    <a:lnTo>
                      <a:pt x="927" y="78"/>
                    </a:lnTo>
                    <a:lnTo>
                      <a:pt x="946" y="78"/>
                    </a:lnTo>
                    <a:lnTo>
                      <a:pt x="956" y="88"/>
                    </a:lnTo>
                    <a:lnTo>
                      <a:pt x="946" y="88"/>
                    </a:lnTo>
                    <a:lnTo>
                      <a:pt x="946" y="117"/>
                    </a:lnTo>
                    <a:lnTo>
                      <a:pt x="937" y="127"/>
                    </a:lnTo>
                    <a:lnTo>
                      <a:pt x="927" y="137"/>
                    </a:lnTo>
                    <a:lnTo>
                      <a:pt x="917" y="137"/>
                    </a:lnTo>
                    <a:lnTo>
                      <a:pt x="917" y="146"/>
                    </a:lnTo>
                    <a:lnTo>
                      <a:pt x="917" y="137"/>
                    </a:lnTo>
                    <a:lnTo>
                      <a:pt x="937" y="137"/>
                    </a:lnTo>
                    <a:lnTo>
                      <a:pt x="946" y="146"/>
                    </a:lnTo>
                    <a:lnTo>
                      <a:pt x="946" y="137"/>
                    </a:lnTo>
                    <a:lnTo>
                      <a:pt x="956" y="137"/>
                    </a:lnTo>
                    <a:lnTo>
                      <a:pt x="966" y="156"/>
                    </a:lnTo>
                    <a:lnTo>
                      <a:pt x="966" y="146"/>
                    </a:lnTo>
                    <a:lnTo>
                      <a:pt x="986" y="146"/>
                    </a:lnTo>
                    <a:lnTo>
                      <a:pt x="1005" y="156"/>
                    </a:lnTo>
                    <a:lnTo>
                      <a:pt x="1005" y="176"/>
                    </a:lnTo>
                    <a:lnTo>
                      <a:pt x="1005" y="185"/>
                    </a:lnTo>
                    <a:lnTo>
                      <a:pt x="995" y="195"/>
                    </a:lnTo>
                    <a:lnTo>
                      <a:pt x="1005" y="205"/>
                    </a:lnTo>
                    <a:lnTo>
                      <a:pt x="1005" y="195"/>
                    </a:lnTo>
                    <a:lnTo>
                      <a:pt x="1015" y="185"/>
                    </a:lnTo>
                    <a:lnTo>
                      <a:pt x="1025" y="195"/>
                    </a:lnTo>
                    <a:lnTo>
                      <a:pt x="1044" y="185"/>
                    </a:lnTo>
                    <a:lnTo>
                      <a:pt x="1044" y="176"/>
                    </a:lnTo>
                    <a:lnTo>
                      <a:pt x="1064" y="176"/>
                    </a:lnTo>
                    <a:lnTo>
                      <a:pt x="1064" y="185"/>
                    </a:lnTo>
                    <a:lnTo>
                      <a:pt x="1044" y="195"/>
                    </a:lnTo>
                    <a:lnTo>
                      <a:pt x="1044" y="205"/>
                    </a:lnTo>
                    <a:lnTo>
                      <a:pt x="1064" y="195"/>
                    </a:lnTo>
                    <a:lnTo>
                      <a:pt x="1064" y="215"/>
                    </a:lnTo>
                    <a:lnTo>
                      <a:pt x="1064" y="224"/>
                    </a:lnTo>
                    <a:lnTo>
                      <a:pt x="1054" y="224"/>
                    </a:lnTo>
                    <a:lnTo>
                      <a:pt x="1044" y="215"/>
                    </a:lnTo>
                    <a:lnTo>
                      <a:pt x="1025" y="215"/>
                    </a:lnTo>
                    <a:lnTo>
                      <a:pt x="1034" y="224"/>
                    </a:lnTo>
                    <a:lnTo>
                      <a:pt x="1044" y="234"/>
                    </a:lnTo>
                    <a:lnTo>
                      <a:pt x="1054" y="244"/>
                    </a:lnTo>
                    <a:lnTo>
                      <a:pt x="1044" y="244"/>
                    </a:lnTo>
                    <a:lnTo>
                      <a:pt x="1034" y="254"/>
                    </a:lnTo>
                    <a:lnTo>
                      <a:pt x="1015" y="254"/>
                    </a:lnTo>
                    <a:lnTo>
                      <a:pt x="1015" y="263"/>
                    </a:lnTo>
                    <a:lnTo>
                      <a:pt x="1005" y="263"/>
                    </a:lnTo>
                    <a:lnTo>
                      <a:pt x="995" y="273"/>
                    </a:lnTo>
                    <a:lnTo>
                      <a:pt x="976" y="283"/>
                    </a:lnTo>
                    <a:lnTo>
                      <a:pt x="976" y="293"/>
                    </a:lnTo>
                    <a:lnTo>
                      <a:pt x="976" y="302"/>
                    </a:lnTo>
                    <a:lnTo>
                      <a:pt x="966" y="302"/>
                    </a:lnTo>
                    <a:lnTo>
                      <a:pt x="956" y="312"/>
                    </a:lnTo>
                    <a:lnTo>
                      <a:pt x="937" y="322"/>
                    </a:lnTo>
                    <a:lnTo>
                      <a:pt x="927" y="312"/>
                    </a:lnTo>
                    <a:lnTo>
                      <a:pt x="917" y="312"/>
                    </a:lnTo>
                    <a:lnTo>
                      <a:pt x="907" y="312"/>
                    </a:lnTo>
                    <a:lnTo>
                      <a:pt x="898" y="302"/>
                    </a:lnTo>
                    <a:lnTo>
                      <a:pt x="888" y="302"/>
                    </a:lnTo>
                    <a:lnTo>
                      <a:pt x="878" y="312"/>
                    </a:lnTo>
                    <a:lnTo>
                      <a:pt x="868" y="332"/>
                    </a:lnTo>
                    <a:lnTo>
                      <a:pt x="859" y="341"/>
                    </a:lnTo>
                    <a:lnTo>
                      <a:pt x="859" y="351"/>
                    </a:lnTo>
                    <a:lnTo>
                      <a:pt x="859" y="361"/>
                    </a:lnTo>
                    <a:lnTo>
                      <a:pt x="859" y="381"/>
                    </a:lnTo>
                    <a:lnTo>
                      <a:pt x="849" y="400"/>
                    </a:lnTo>
                    <a:lnTo>
                      <a:pt x="839" y="410"/>
                    </a:lnTo>
                    <a:lnTo>
                      <a:pt x="829" y="410"/>
                    </a:lnTo>
                    <a:lnTo>
                      <a:pt x="820" y="410"/>
                    </a:lnTo>
                    <a:lnTo>
                      <a:pt x="810" y="410"/>
                    </a:lnTo>
                    <a:lnTo>
                      <a:pt x="771" y="410"/>
                    </a:lnTo>
                    <a:lnTo>
                      <a:pt x="781" y="400"/>
                    </a:lnTo>
                    <a:lnTo>
                      <a:pt x="771" y="400"/>
                    </a:lnTo>
                    <a:lnTo>
                      <a:pt x="761" y="390"/>
                    </a:lnTo>
                    <a:lnTo>
                      <a:pt x="751" y="381"/>
                    </a:lnTo>
                    <a:lnTo>
                      <a:pt x="751" y="390"/>
                    </a:lnTo>
                    <a:lnTo>
                      <a:pt x="761" y="400"/>
                    </a:lnTo>
                    <a:lnTo>
                      <a:pt x="761" y="410"/>
                    </a:lnTo>
                    <a:lnTo>
                      <a:pt x="751" y="410"/>
                    </a:lnTo>
                    <a:lnTo>
                      <a:pt x="742" y="420"/>
                    </a:lnTo>
                    <a:lnTo>
                      <a:pt x="732" y="429"/>
                    </a:lnTo>
                    <a:lnTo>
                      <a:pt x="742" y="429"/>
                    </a:lnTo>
                    <a:lnTo>
                      <a:pt x="751" y="420"/>
                    </a:lnTo>
                    <a:lnTo>
                      <a:pt x="761" y="429"/>
                    </a:lnTo>
                    <a:lnTo>
                      <a:pt x="761" y="439"/>
                    </a:lnTo>
                    <a:lnTo>
                      <a:pt x="751" y="439"/>
                    </a:lnTo>
                    <a:lnTo>
                      <a:pt x="761" y="449"/>
                    </a:lnTo>
                    <a:lnTo>
                      <a:pt x="771" y="449"/>
                    </a:lnTo>
                    <a:lnTo>
                      <a:pt x="781" y="459"/>
                    </a:lnTo>
                    <a:lnTo>
                      <a:pt x="790" y="459"/>
                    </a:lnTo>
                    <a:lnTo>
                      <a:pt x="810" y="449"/>
                    </a:lnTo>
                    <a:lnTo>
                      <a:pt x="820" y="449"/>
                    </a:lnTo>
                    <a:lnTo>
                      <a:pt x="829" y="459"/>
                    </a:lnTo>
                    <a:lnTo>
                      <a:pt x="829" y="468"/>
                    </a:lnTo>
                    <a:lnTo>
                      <a:pt x="820" y="468"/>
                    </a:lnTo>
                    <a:lnTo>
                      <a:pt x="820" y="488"/>
                    </a:lnTo>
                    <a:lnTo>
                      <a:pt x="829" y="488"/>
                    </a:lnTo>
                    <a:lnTo>
                      <a:pt x="829" y="478"/>
                    </a:lnTo>
                    <a:lnTo>
                      <a:pt x="839" y="468"/>
                    </a:lnTo>
                    <a:lnTo>
                      <a:pt x="849" y="468"/>
                    </a:lnTo>
                    <a:lnTo>
                      <a:pt x="849" y="478"/>
                    </a:lnTo>
                    <a:lnTo>
                      <a:pt x="859" y="488"/>
                    </a:lnTo>
                    <a:lnTo>
                      <a:pt x="868" y="507"/>
                    </a:lnTo>
                    <a:lnTo>
                      <a:pt x="868" y="517"/>
                    </a:lnTo>
                    <a:lnTo>
                      <a:pt x="878" y="527"/>
                    </a:lnTo>
                    <a:lnTo>
                      <a:pt x="878" y="546"/>
                    </a:lnTo>
                    <a:lnTo>
                      <a:pt x="878" y="556"/>
                    </a:lnTo>
                    <a:lnTo>
                      <a:pt x="888" y="585"/>
                    </a:lnTo>
                    <a:lnTo>
                      <a:pt x="878" y="585"/>
                    </a:lnTo>
                    <a:lnTo>
                      <a:pt x="868" y="595"/>
                    </a:lnTo>
                    <a:lnTo>
                      <a:pt x="868" y="605"/>
                    </a:lnTo>
                    <a:lnTo>
                      <a:pt x="859" y="615"/>
                    </a:lnTo>
                    <a:lnTo>
                      <a:pt x="839" y="624"/>
                    </a:lnTo>
                    <a:lnTo>
                      <a:pt x="829" y="624"/>
                    </a:lnTo>
                    <a:lnTo>
                      <a:pt x="810" y="624"/>
                    </a:lnTo>
                    <a:lnTo>
                      <a:pt x="800" y="624"/>
                    </a:lnTo>
                    <a:lnTo>
                      <a:pt x="800" y="644"/>
                    </a:lnTo>
                    <a:lnTo>
                      <a:pt x="800" y="654"/>
                    </a:lnTo>
                    <a:lnTo>
                      <a:pt x="790" y="654"/>
                    </a:lnTo>
                    <a:lnTo>
                      <a:pt x="790" y="663"/>
                    </a:lnTo>
                    <a:lnTo>
                      <a:pt x="800" y="663"/>
                    </a:lnTo>
                    <a:lnTo>
                      <a:pt x="810" y="644"/>
                    </a:lnTo>
                    <a:lnTo>
                      <a:pt x="810" y="634"/>
                    </a:lnTo>
                    <a:lnTo>
                      <a:pt x="820" y="634"/>
                    </a:lnTo>
                    <a:lnTo>
                      <a:pt x="829" y="634"/>
                    </a:lnTo>
                    <a:lnTo>
                      <a:pt x="829" y="644"/>
                    </a:lnTo>
                    <a:lnTo>
                      <a:pt x="829" y="654"/>
                    </a:lnTo>
                    <a:lnTo>
                      <a:pt x="820" y="663"/>
                    </a:lnTo>
                    <a:lnTo>
                      <a:pt x="810" y="663"/>
                    </a:lnTo>
                    <a:lnTo>
                      <a:pt x="810" y="673"/>
                    </a:lnTo>
                    <a:lnTo>
                      <a:pt x="810" y="683"/>
                    </a:lnTo>
                    <a:lnTo>
                      <a:pt x="820" y="673"/>
                    </a:lnTo>
                    <a:lnTo>
                      <a:pt x="829" y="683"/>
                    </a:lnTo>
                    <a:lnTo>
                      <a:pt x="839" y="683"/>
                    </a:lnTo>
                    <a:lnTo>
                      <a:pt x="839" y="663"/>
                    </a:lnTo>
                    <a:lnTo>
                      <a:pt x="849" y="673"/>
                    </a:lnTo>
                    <a:lnTo>
                      <a:pt x="849" y="663"/>
                    </a:lnTo>
                    <a:lnTo>
                      <a:pt x="849" y="654"/>
                    </a:lnTo>
                    <a:lnTo>
                      <a:pt x="849" y="644"/>
                    </a:lnTo>
                    <a:lnTo>
                      <a:pt x="859" y="634"/>
                    </a:lnTo>
                    <a:lnTo>
                      <a:pt x="868" y="644"/>
                    </a:lnTo>
                    <a:lnTo>
                      <a:pt x="888" y="644"/>
                    </a:lnTo>
                    <a:lnTo>
                      <a:pt x="907" y="634"/>
                    </a:lnTo>
                    <a:lnTo>
                      <a:pt x="917" y="634"/>
                    </a:lnTo>
                    <a:lnTo>
                      <a:pt x="917" y="624"/>
                    </a:lnTo>
                    <a:lnTo>
                      <a:pt x="917" y="615"/>
                    </a:lnTo>
                    <a:lnTo>
                      <a:pt x="917" y="605"/>
                    </a:lnTo>
                    <a:lnTo>
                      <a:pt x="946" y="605"/>
                    </a:lnTo>
                    <a:lnTo>
                      <a:pt x="946" y="624"/>
                    </a:lnTo>
                    <a:lnTo>
                      <a:pt x="956" y="615"/>
                    </a:lnTo>
                    <a:lnTo>
                      <a:pt x="966" y="605"/>
                    </a:lnTo>
                    <a:lnTo>
                      <a:pt x="986" y="615"/>
                    </a:lnTo>
                    <a:lnTo>
                      <a:pt x="995" y="624"/>
                    </a:lnTo>
                    <a:lnTo>
                      <a:pt x="995" y="644"/>
                    </a:lnTo>
                    <a:lnTo>
                      <a:pt x="1005" y="644"/>
                    </a:lnTo>
                    <a:lnTo>
                      <a:pt x="1005" y="634"/>
                    </a:lnTo>
                    <a:lnTo>
                      <a:pt x="1005" y="624"/>
                    </a:lnTo>
                    <a:lnTo>
                      <a:pt x="1015" y="634"/>
                    </a:lnTo>
                    <a:lnTo>
                      <a:pt x="1025" y="624"/>
                    </a:lnTo>
                    <a:lnTo>
                      <a:pt x="1034" y="624"/>
                    </a:lnTo>
                    <a:lnTo>
                      <a:pt x="1044" y="615"/>
                    </a:lnTo>
                    <a:lnTo>
                      <a:pt x="1064" y="605"/>
                    </a:lnTo>
                    <a:lnTo>
                      <a:pt x="1073" y="615"/>
                    </a:lnTo>
                    <a:lnTo>
                      <a:pt x="1064" y="634"/>
                    </a:lnTo>
                    <a:lnTo>
                      <a:pt x="1083" y="634"/>
                    </a:lnTo>
                    <a:lnTo>
                      <a:pt x="1083" y="624"/>
                    </a:lnTo>
                    <a:lnTo>
                      <a:pt x="1093" y="624"/>
                    </a:lnTo>
                    <a:lnTo>
                      <a:pt x="1103" y="615"/>
                    </a:lnTo>
                    <a:lnTo>
                      <a:pt x="1122" y="624"/>
                    </a:lnTo>
                    <a:lnTo>
                      <a:pt x="1122" y="634"/>
                    </a:lnTo>
                    <a:lnTo>
                      <a:pt x="1132" y="634"/>
                    </a:lnTo>
                    <a:lnTo>
                      <a:pt x="1132" y="644"/>
                    </a:lnTo>
                    <a:lnTo>
                      <a:pt x="1122" y="654"/>
                    </a:lnTo>
                    <a:lnTo>
                      <a:pt x="1122" y="663"/>
                    </a:lnTo>
                    <a:lnTo>
                      <a:pt x="1142" y="654"/>
                    </a:lnTo>
                    <a:lnTo>
                      <a:pt x="1151" y="663"/>
                    </a:lnTo>
                    <a:lnTo>
                      <a:pt x="1142" y="663"/>
                    </a:lnTo>
                    <a:lnTo>
                      <a:pt x="1132" y="683"/>
                    </a:lnTo>
                    <a:lnTo>
                      <a:pt x="1112" y="693"/>
                    </a:lnTo>
                    <a:lnTo>
                      <a:pt x="1103" y="702"/>
                    </a:lnTo>
                    <a:lnTo>
                      <a:pt x="1093" y="712"/>
                    </a:lnTo>
                    <a:lnTo>
                      <a:pt x="1083" y="712"/>
                    </a:lnTo>
                    <a:lnTo>
                      <a:pt x="1083" y="722"/>
                    </a:lnTo>
                    <a:lnTo>
                      <a:pt x="1083" y="732"/>
                    </a:lnTo>
                    <a:lnTo>
                      <a:pt x="1073" y="732"/>
                    </a:lnTo>
                    <a:lnTo>
                      <a:pt x="1064" y="722"/>
                    </a:lnTo>
                    <a:lnTo>
                      <a:pt x="1054" y="722"/>
                    </a:lnTo>
                    <a:lnTo>
                      <a:pt x="1064" y="722"/>
                    </a:lnTo>
                    <a:lnTo>
                      <a:pt x="1064" y="732"/>
                    </a:lnTo>
                    <a:lnTo>
                      <a:pt x="1044" y="732"/>
                    </a:lnTo>
                    <a:lnTo>
                      <a:pt x="1044" y="742"/>
                    </a:lnTo>
                    <a:lnTo>
                      <a:pt x="1064" y="742"/>
                    </a:lnTo>
                    <a:lnTo>
                      <a:pt x="1073" y="742"/>
                    </a:lnTo>
                    <a:lnTo>
                      <a:pt x="1073" y="761"/>
                    </a:lnTo>
                    <a:lnTo>
                      <a:pt x="1073" y="771"/>
                    </a:lnTo>
                    <a:lnTo>
                      <a:pt x="1083" y="771"/>
                    </a:lnTo>
                    <a:lnTo>
                      <a:pt x="1083" y="790"/>
                    </a:lnTo>
                    <a:lnTo>
                      <a:pt x="1083" y="800"/>
                    </a:lnTo>
                    <a:lnTo>
                      <a:pt x="1083" y="820"/>
                    </a:lnTo>
                    <a:lnTo>
                      <a:pt x="1083" y="839"/>
                    </a:lnTo>
                    <a:lnTo>
                      <a:pt x="1093" y="849"/>
                    </a:lnTo>
                    <a:lnTo>
                      <a:pt x="1083" y="859"/>
                    </a:lnTo>
                    <a:lnTo>
                      <a:pt x="1093" y="859"/>
                    </a:lnTo>
                    <a:lnTo>
                      <a:pt x="1093" y="868"/>
                    </a:lnTo>
                    <a:lnTo>
                      <a:pt x="1093" y="888"/>
                    </a:lnTo>
                    <a:lnTo>
                      <a:pt x="1083" y="888"/>
                    </a:lnTo>
                    <a:lnTo>
                      <a:pt x="1103" y="898"/>
                    </a:lnTo>
                    <a:lnTo>
                      <a:pt x="1083" y="898"/>
                    </a:lnTo>
                    <a:lnTo>
                      <a:pt x="1073" y="898"/>
                    </a:lnTo>
                    <a:lnTo>
                      <a:pt x="1064" y="898"/>
                    </a:lnTo>
                    <a:lnTo>
                      <a:pt x="1034" y="907"/>
                    </a:lnTo>
                    <a:lnTo>
                      <a:pt x="1025" y="907"/>
                    </a:lnTo>
                    <a:lnTo>
                      <a:pt x="1025" y="888"/>
                    </a:lnTo>
                    <a:lnTo>
                      <a:pt x="1015" y="898"/>
                    </a:lnTo>
                    <a:lnTo>
                      <a:pt x="1005" y="898"/>
                    </a:lnTo>
                    <a:lnTo>
                      <a:pt x="1005" y="907"/>
                    </a:lnTo>
                    <a:lnTo>
                      <a:pt x="995" y="937"/>
                    </a:lnTo>
                    <a:lnTo>
                      <a:pt x="995" y="956"/>
                    </a:lnTo>
                    <a:lnTo>
                      <a:pt x="976" y="956"/>
                    </a:lnTo>
                    <a:lnTo>
                      <a:pt x="966" y="976"/>
                    </a:lnTo>
                    <a:lnTo>
                      <a:pt x="966" y="995"/>
                    </a:lnTo>
                    <a:lnTo>
                      <a:pt x="956" y="1015"/>
                    </a:lnTo>
                    <a:lnTo>
                      <a:pt x="956" y="1034"/>
                    </a:lnTo>
                    <a:lnTo>
                      <a:pt x="946" y="1063"/>
                    </a:lnTo>
                    <a:lnTo>
                      <a:pt x="946" y="1073"/>
                    </a:lnTo>
                    <a:lnTo>
                      <a:pt x="927" y="1073"/>
                    </a:lnTo>
                    <a:lnTo>
                      <a:pt x="917" y="1063"/>
                    </a:lnTo>
                    <a:lnTo>
                      <a:pt x="898" y="1054"/>
                    </a:lnTo>
                    <a:lnTo>
                      <a:pt x="878" y="1073"/>
                    </a:lnTo>
                    <a:lnTo>
                      <a:pt x="849" y="1083"/>
                    </a:lnTo>
                    <a:lnTo>
                      <a:pt x="820" y="1093"/>
                    </a:lnTo>
                    <a:lnTo>
                      <a:pt x="820" y="1112"/>
                    </a:lnTo>
                    <a:lnTo>
                      <a:pt x="810" y="1112"/>
                    </a:lnTo>
                    <a:lnTo>
                      <a:pt x="810" y="1083"/>
                    </a:lnTo>
                    <a:lnTo>
                      <a:pt x="790" y="1044"/>
                    </a:lnTo>
                    <a:lnTo>
                      <a:pt x="790" y="1024"/>
                    </a:lnTo>
                    <a:lnTo>
                      <a:pt x="781" y="1015"/>
                    </a:lnTo>
                    <a:lnTo>
                      <a:pt x="751" y="1015"/>
                    </a:lnTo>
                    <a:lnTo>
                      <a:pt x="742" y="1034"/>
                    </a:lnTo>
                    <a:lnTo>
                      <a:pt x="722" y="1034"/>
                    </a:lnTo>
                    <a:lnTo>
                      <a:pt x="693" y="1024"/>
                    </a:lnTo>
                    <a:lnTo>
                      <a:pt x="673" y="1024"/>
                    </a:lnTo>
                    <a:lnTo>
                      <a:pt x="664" y="1034"/>
                    </a:lnTo>
                    <a:lnTo>
                      <a:pt x="654" y="1054"/>
                    </a:lnTo>
                    <a:lnTo>
                      <a:pt x="634" y="1063"/>
                    </a:lnTo>
                    <a:lnTo>
                      <a:pt x="615" y="1073"/>
                    </a:lnTo>
                    <a:lnTo>
                      <a:pt x="615" y="1093"/>
                    </a:lnTo>
                    <a:lnTo>
                      <a:pt x="586" y="1112"/>
                    </a:lnTo>
                    <a:lnTo>
                      <a:pt x="586" y="1132"/>
                    </a:lnTo>
                    <a:lnTo>
                      <a:pt x="566" y="1132"/>
                    </a:lnTo>
                    <a:lnTo>
                      <a:pt x="566" y="1112"/>
                    </a:lnTo>
                    <a:lnTo>
                      <a:pt x="556" y="1112"/>
                    </a:lnTo>
                    <a:lnTo>
                      <a:pt x="556" y="1122"/>
                    </a:lnTo>
                    <a:lnTo>
                      <a:pt x="537" y="1122"/>
                    </a:lnTo>
                    <a:lnTo>
                      <a:pt x="527" y="1132"/>
                    </a:lnTo>
                    <a:lnTo>
                      <a:pt x="537" y="1151"/>
                    </a:lnTo>
                    <a:lnTo>
                      <a:pt x="517" y="1151"/>
                    </a:lnTo>
                    <a:lnTo>
                      <a:pt x="508" y="1161"/>
                    </a:lnTo>
                    <a:lnTo>
                      <a:pt x="498" y="1190"/>
                    </a:lnTo>
                    <a:lnTo>
                      <a:pt x="478" y="1200"/>
                    </a:lnTo>
                    <a:lnTo>
                      <a:pt x="488" y="1210"/>
                    </a:lnTo>
                    <a:lnTo>
                      <a:pt x="498" y="1229"/>
                    </a:lnTo>
                    <a:lnTo>
                      <a:pt x="469" y="1229"/>
                    </a:lnTo>
                    <a:lnTo>
                      <a:pt x="459" y="1229"/>
                    </a:lnTo>
                    <a:lnTo>
                      <a:pt x="430" y="1249"/>
                    </a:lnTo>
                    <a:lnTo>
                      <a:pt x="410" y="1259"/>
                    </a:lnTo>
                    <a:lnTo>
                      <a:pt x="390" y="1259"/>
                    </a:lnTo>
                    <a:lnTo>
                      <a:pt x="381" y="1268"/>
                    </a:lnTo>
                    <a:lnTo>
                      <a:pt x="371" y="1288"/>
                    </a:lnTo>
                    <a:lnTo>
                      <a:pt x="351" y="1288"/>
                    </a:lnTo>
                    <a:lnTo>
                      <a:pt x="342" y="1288"/>
                    </a:lnTo>
                    <a:lnTo>
                      <a:pt x="332" y="1288"/>
                    </a:lnTo>
                    <a:lnTo>
                      <a:pt x="312" y="1298"/>
                    </a:lnTo>
                    <a:lnTo>
                      <a:pt x="303" y="1298"/>
                    </a:lnTo>
                    <a:lnTo>
                      <a:pt x="293" y="1298"/>
                    </a:lnTo>
                    <a:lnTo>
                      <a:pt x="264" y="1298"/>
                    </a:lnTo>
                    <a:lnTo>
                      <a:pt x="244" y="1288"/>
                    </a:lnTo>
                    <a:lnTo>
                      <a:pt x="244" y="1278"/>
                    </a:lnTo>
                    <a:lnTo>
                      <a:pt x="234" y="1268"/>
                    </a:lnTo>
                    <a:lnTo>
                      <a:pt x="186" y="1268"/>
                    </a:lnTo>
                    <a:lnTo>
                      <a:pt x="166" y="1259"/>
                    </a:lnTo>
                    <a:lnTo>
                      <a:pt x="166" y="1239"/>
                    </a:lnTo>
                    <a:lnTo>
                      <a:pt x="156" y="1220"/>
                    </a:lnTo>
                    <a:lnTo>
                      <a:pt x="127" y="1220"/>
                    </a:lnTo>
                    <a:lnTo>
                      <a:pt x="88" y="1220"/>
                    </a:lnTo>
                    <a:lnTo>
                      <a:pt x="59" y="1220"/>
                    </a:lnTo>
                    <a:lnTo>
                      <a:pt x="49" y="1200"/>
                    </a:lnTo>
                    <a:lnTo>
                      <a:pt x="49" y="1181"/>
                    </a:lnTo>
                    <a:lnTo>
                      <a:pt x="39" y="1171"/>
                    </a:lnTo>
                    <a:lnTo>
                      <a:pt x="39" y="1161"/>
                    </a:lnTo>
                    <a:lnTo>
                      <a:pt x="39" y="1142"/>
                    </a:lnTo>
                    <a:lnTo>
                      <a:pt x="49" y="1112"/>
                    </a:lnTo>
                    <a:lnTo>
                      <a:pt x="69" y="1103"/>
                    </a:lnTo>
                    <a:lnTo>
                      <a:pt x="69" y="1093"/>
                    </a:lnTo>
                    <a:lnTo>
                      <a:pt x="88" y="1073"/>
                    </a:lnTo>
                    <a:lnTo>
                      <a:pt x="88" y="1054"/>
                    </a:lnTo>
                    <a:lnTo>
                      <a:pt x="88" y="1034"/>
                    </a:lnTo>
                    <a:lnTo>
                      <a:pt x="98" y="1005"/>
                    </a:lnTo>
                    <a:lnTo>
                      <a:pt x="117" y="995"/>
                    </a:lnTo>
                    <a:lnTo>
                      <a:pt x="108" y="976"/>
                    </a:lnTo>
                    <a:lnTo>
                      <a:pt x="98" y="976"/>
                    </a:lnTo>
                    <a:lnTo>
                      <a:pt x="78" y="976"/>
                    </a:lnTo>
                    <a:lnTo>
                      <a:pt x="78" y="956"/>
                    </a:lnTo>
                    <a:lnTo>
                      <a:pt x="49" y="956"/>
                    </a:lnTo>
                    <a:lnTo>
                      <a:pt x="49" y="937"/>
                    </a:lnTo>
                    <a:lnTo>
                      <a:pt x="30" y="937"/>
                    </a:lnTo>
                  </a:path>
                </a:pathLst>
              </a:custGeom>
              <a:solidFill>
                <a:srgbClr val="BFBFBF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55" name="Freeform 48"/>
            <p:cNvSpPr>
              <a:spLocks/>
            </p:cNvSpPr>
            <p:nvPr/>
          </p:nvSpPr>
          <p:spPr bwMode="auto">
            <a:xfrm>
              <a:off x="8613" y="158"/>
              <a:ext cx="19" cy="19"/>
            </a:xfrm>
            <a:custGeom>
              <a:avLst/>
              <a:gdLst>
                <a:gd name="T0" fmla="*/ 0 w 20"/>
                <a:gd name="T1" fmla="*/ 0 h 20"/>
                <a:gd name="T2" fmla="*/ 10 w 20"/>
                <a:gd name="T3" fmla="*/ 0 h 20"/>
                <a:gd name="T4" fmla="*/ 20 w 20"/>
                <a:gd name="T5" fmla="*/ 0 h 20"/>
                <a:gd name="T6" fmla="*/ 20 w 20"/>
                <a:gd name="T7" fmla="*/ 20 h 20"/>
                <a:gd name="T8" fmla="*/ 20 w 20"/>
                <a:gd name="T9" fmla="*/ 20 h 20"/>
                <a:gd name="T10" fmla="*/ 0 w 20"/>
                <a:gd name="T11" fmla="*/ 20 h 20"/>
                <a:gd name="T12" fmla="*/ 0 w 20"/>
                <a:gd name="T13" fmla="*/ 10 h 20"/>
                <a:gd name="T14" fmla="*/ 0 w 20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0"/>
                <a:gd name="T26" fmla="*/ 20 w 20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0">
                  <a:moveTo>
                    <a:pt x="0" y="0"/>
                  </a:moveTo>
                  <a:lnTo>
                    <a:pt x="10" y="0"/>
                  </a:lnTo>
                  <a:lnTo>
                    <a:pt x="20" y="0"/>
                  </a:lnTo>
                  <a:lnTo>
                    <a:pt x="20" y="20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56" name="Group 45"/>
            <p:cNvGrpSpPr>
              <a:grpSpLocks/>
            </p:cNvGrpSpPr>
            <p:nvPr/>
          </p:nvGrpSpPr>
          <p:grpSpPr bwMode="auto">
            <a:xfrm>
              <a:off x="8612" y="156"/>
              <a:ext cx="20" cy="20"/>
              <a:chOff x="8613" y="156"/>
              <a:chExt cx="20" cy="20"/>
            </a:xfrm>
          </p:grpSpPr>
          <p:sp>
            <p:nvSpPr>
              <p:cNvPr id="286" name="Freeform 47"/>
              <p:cNvSpPr>
                <a:spLocks/>
              </p:cNvSpPr>
              <p:nvPr/>
            </p:nvSpPr>
            <p:spPr bwMode="auto">
              <a:xfrm>
                <a:off x="8614" y="155"/>
                <a:ext cx="19" cy="21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7" name="Freeform 46"/>
              <p:cNvSpPr>
                <a:spLocks/>
              </p:cNvSpPr>
              <p:nvPr/>
            </p:nvSpPr>
            <p:spPr bwMode="auto">
              <a:xfrm>
                <a:off x="8614" y="155"/>
                <a:ext cx="19" cy="21"/>
              </a:xfrm>
              <a:custGeom>
                <a:avLst/>
                <a:gdLst>
                  <a:gd name="T0" fmla="*/ 0 w 20"/>
                  <a:gd name="T1" fmla="*/ 0 h 20"/>
                  <a:gd name="T2" fmla="*/ 10 w 20"/>
                  <a:gd name="T3" fmla="*/ 0 h 20"/>
                  <a:gd name="T4" fmla="*/ 20 w 20"/>
                  <a:gd name="T5" fmla="*/ 0 h 20"/>
                  <a:gd name="T6" fmla="*/ 20 w 20"/>
                  <a:gd name="T7" fmla="*/ 20 h 20"/>
                  <a:gd name="T8" fmla="*/ 20 w 20"/>
                  <a:gd name="T9" fmla="*/ 20 h 20"/>
                  <a:gd name="T10" fmla="*/ 0 w 20"/>
                  <a:gd name="T11" fmla="*/ 20 h 20"/>
                  <a:gd name="T12" fmla="*/ 0 w 20"/>
                  <a:gd name="T13" fmla="*/ 10 h 20"/>
                  <a:gd name="T14" fmla="*/ 0 w 20"/>
                  <a:gd name="T15" fmla="*/ 0 h 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20"/>
                  <a:gd name="T26" fmla="*/ 20 w 20"/>
                  <a:gd name="T27" fmla="*/ 20 h 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20">
                    <a:moveTo>
                      <a:pt x="0" y="0"/>
                    </a:moveTo>
                    <a:lnTo>
                      <a:pt x="10" y="0"/>
                    </a:lnTo>
                    <a:lnTo>
                      <a:pt x="20" y="0"/>
                    </a:lnTo>
                    <a:lnTo>
                      <a:pt x="20" y="20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57" name="Freeform 44"/>
            <p:cNvSpPr>
              <a:spLocks/>
            </p:cNvSpPr>
            <p:nvPr/>
          </p:nvSpPr>
          <p:spPr bwMode="auto">
            <a:xfrm>
              <a:off x="760" y="2654"/>
              <a:ext cx="138" cy="186"/>
            </a:xfrm>
            <a:custGeom>
              <a:avLst/>
              <a:gdLst>
                <a:gd name="T0" fmla="*/ 49 w 136"/>
                <a:gd name="T1" fmla="*/ 136 h 185"/>
                <a:gd name="T2" fmla="*/ 58 w 136"/>
                <a:gd name="T3" fmla="*/ 127 h 185"/>
                <a:gd name="T4" fmla="*/ 68 w 136"/>
                <a:gd name="T5" fmla="*/ 117 h 185"/>
                <a:gd name="T6" fmla="*/ 88 w 136"/>
                <a:gd name="T7" fmla="*/ 107 h 185"/>
                <a:gd name="T8" fmla="*/ 97 w 136"/>
                <a:gd name="T9" fmla="*/ 97 h 185"/>
                <a:gd name="T10" fmla="*/ 97 w 136"/>
                <a:gd name="T11" fmla="*/ 88 h 185"/>
                <a:gd name="T12" fmla="*/ 97 w 136"/>
                <a:gd name="T13" fmla="*/ 78 h 185"/>
                <a:gd name="T14" fmla="*/ 78 w 136"/>
                <a:gd name="T15" fmla="*/ 49 h 185"/>
                <a:gd name="T16" fmla="*/ 68 w 136"/>
                <a:gd name="T17" fmla="*/ 49 h 185"/>
                <a:gd name="T18" fmla="*/ 58 w 136"/>
                <a:gd name="T19" fmla="*/ 39 h 185"/>
                <a:gd name="T20" fmla="*/ 49 w 136"/>
                <a:gd name="T21" fmla="*/ 29 h 185"/>
                <a:gd name="T22" fmla="*/ 49 w 136"/>
                <a:gd name="T23" fmla="*/ 19 h 185"/>
                <a:gd name="T24" fmla="*/ 39 w 136"/>
                <a:gd name="T25" fmla="*/ 10 h 185"/>
                <a:gd name="T26" fmla="*/ 49 w 136"/>
                <a:gd name="T27" fmla="*/ 0 h 185"/>
                <a:gd name="T28" fmla="*/ 49 w 136"/>
                <a:gd name="T29" fmla="*/ 10 h 185"/>
                <a:gd name="T30" fmla="*/ 68 w 136"/>
                <a:gd name="T31" fmla="*/ 29 h 185"/>
                <a:gd name="T32" fmla="*/ 78 w 136"/>
                <a:gd name="T33" fmla="*/ 39 h 185"/>
                <a:gd name="T34" fmla="*/ 88 w 136"/>
                <a:gd name="T35" fmla="*/ 49 h 185"/>
                <a:gd name="T36" fmla="*/ 107 w 136"/>
                <a:gd name="T37" fmla="*/ 49 h 185"/>
                <a:gd name="T38" fmla="*/ 117 w 136"/>
                <a:gd name="T39" fmla="*/ 49 h 185"/>
                <a:gd name="T40" fmla="*/ 117 w 136"/>
                <a:gd name="T41" fmla="*/ 68 h 185"/>
                <a:gd name="T42" fmla="*/ 136 w 136"/>
                <a:gd name="T43" fmla="*/ 97 h 185"/>
                <a:gd name="T44" fmla="*/ 127 w 136"/>
                <a:gd name="T45" fmla="*/ 117 h 185"/>
                <a:gd name="T46" fmla="*/ 127 w 136"/>
                <a:gd name="T47" fmla="*/ 127 h 185"/>
                <a:gd name="T48" fmla="*/ 127 w 136"/>
                <a:gd name="T49" fmla="*/ 146 h 185"/>
                <a:gd name="T50" fmla="*/ 107 w 136"/>
                <a:gd name="T51" fmla="*/ 166 h 185"/>
                <a:gd name="T52" fmla="*/ 97 w 136"/>
                <a:gd name="T53" fmla="*/ 175 h 185"/>
                <a:gd name="T54" fmla="*/ 88 w 136"/>
                <a:gd name="T55" fmla="*/ 175 h 185"/>
                <a:gd name="T56" fmla="*/ 88 w 136"/>
                <a:gd name="T57" fmla="*/ 166 h 185"/>
                <a:gd name="T58" fmla="*/ 88 w 136"/>
                <a:gd name="T59" fmla="*/ 156 h 185"/>
                <a:gd name="T60" fmla="*/ 97 w 136"/>
                <a:gd name="T61" fmla="*/ 146 h 185"/>
                <a:gd name="T62" fmla="*/ 107 w 136"/>
                <a:gd name="T63" fmla="*/ 136 h 185"/>
                <a:gd name="T64" fmla="*/ 97 w 136"/>
                <a:gd name="T65" fmla="*/ 136 h 185"/>
                <a:gd name="T66" fmla="*/ 88 w 136"/>
                <a:gd name="T67" fmla="*/ 136 h 185"/>
                <a:gd name="T68" fmla="*/ 78 w 136"/>
                <a:gd name="T69" fmla="*/ 146 h 185"/>
                <a:gd name="T70" fmla="*/ 68 w 136"/>
                <a:gd name="T71" fmla="*/ 156 h 185"/>
                <a:gd name="T72" fmla="*/ 49 w 136"/>
                <a:gd name="T73" fmla="*/ 175 h 185"/>
                <a:gd name="T74" fmla="*/ 39 w 136"/>
                <a:gd name="T75" fmla="*/ 185 h 185"/>
                <a:gd name="T76" fmla="*/ 29 w 136"/>
                <a:gd name="T77" fmla="*/ 185 h 185"/>
                <a:gd name="T78" fmla="*/ 19 w 136"/>
                <a:gd name="T79" fmla="*/ 175 h 185"/>
                <a:gd name="T80" fmla="*/ 19 w 136"/>
                <a:gd name="T81" fmla="*/ 175 h 185"/>
                <a:gd name="T82" fmla="*/ 10 w 136"/>
                <a:gd name="T83" fmla="*/ 166 h 185"/>
                <a:gd name="T84" fmla="*/ 0 w 136"/>
                <a:gd name="T85" fmla="*/ 156 h 185"/>
                <a:gd name="T86" fmla="*/ 0 w 136"/>
                <a:gd name="T87" fmla="*/ 146 h 185"/>
                <a:gd name="T88" fmla="*/ 19 w 136"/>
                <a:gd name="T89" fmla="*/ 136 h 185"/>
                <a:gd name="T90" fmla="*/ 29 w 136"/>
                <a:gd name="T91" fmla="*/ 136 h 185"/>
                <a:gd name="T92" fmla="*/ 29 w 136"/>
                <a:gd name="T93" fmla="*/ 136 h 185"/>
                <a:gd name="T94" fmla="*/ 39 w 136"/>
                <a:gd name="T95" fmla="*/ 146 h 185"/>
                <a:gd name="T96" fmla="*/ 49 w 136"/>
                <a:gd name="T97" fmla="*/ 146 h 185"/>
                <a:gd name="T98" fmla="*/ 49 w 136"/>
                <a:gd name="T99" fmla="*/ 136 h 1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6"/>
                <a:gd name="T151" fmla="*/ 0 h 185"/>
                <a:gd name="T152" fmla="*/ 136 w 136"/>
                <a:gd name="T153" fmla="*/ 185 h 1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6" h="185">
                  <a:moveTo>
                    <a:pt x="49" y="136"/>
                  </a:moveTo>
                  <a:lnTo>
                    <a:pt x="58" y="127"/>
                  </a:lnTo>
                  <a:lnTo>
                    <a:pt x="68" y="117"/>
                  </a:lnTo>
                  <a:lnTo>
                    <a:pt x="88" y="107"/>
                  </a:lnTo>
                  <a:lnTo>
                    <a:pt x="97" y="97"/>
                  </a:lnTo>
                  <a:lnTo>
                    <a:pt x="97" y="88"/>
                  </a:lnTo>
                  <a:lnTo>
                    <a:pt x="97" y="78"/>
                  </a:lnTo>
                  <a:lnTo>
                    <a:pt x="78" y="49"/>
                  </a:lnTo>
                  <a:lnTo>
                    <a:pt x="68" y="49"/>
                  </a:lnTo>
                  <a:lnTo>
                    <a:pt x="58" y="39"/>
                  </a:lnTo>
                  <a:lnTo>
                    <a:pt x="49" y="29"/>
                  </a:lnTo>
                  <a:lnTo>
                    <a:pt x="49" y="19"/>
                  </a:lnTo>
                  <a:lnTo>
                    <a:pt x="39" y="10"/>
                  </a:lnTo>
                  <a:lnTo>
                    <a:pt x="49" y="0"/>
                  </a:lnTo>
                  <a:lnTo>
                    <a:pt x="49" y="10"/>
                  </a:lnTo>
                  <a:lnTo>
                    <a:pt x="68" y="29"/>
                  </a:lnTo>
                  <a:lnTo>
                    <a:pt x="78" y="39"/>
                  </a:lnTo>
                  <a:lnTo>
                    <a:pt x="88" y="49"/>
                  </a:lnTo>
                  <a:lnTo>
                    <a:pt x="107" y="49"/>
                  </a:lnTo>
                  <a:lnTo>
                    <a:pt x="117" y="49"/>
                  </a:lnTo>
                  <a:lnTo>
                    <a:pt x="117" y="68"/>
                  </a:lnTo>
                  <a:lnTo>
                    <a:pt x="136" y="97"/>
                  </a:lnTo>
                  <a:lnTo>
                    <a:pt x="127" y="117"/>
                  </a:lnTo>
                  <a:lnTo>
                    <a:pt x="127" y="127"/>
                  </a:lnTo>
                  <a:lnTo>
                    <a:pt x="127" y="146"/>
                  </a:lnTo>
                  <a:lnTo>
                    <a:pt x="107" y="166"/>
                  </a:lnTo>
                  <a:lnTo>
                    <a:pt x="97" y="175"/>
                  </a:lnTo>
                  <a:lnTo>
                    <a:pt x="88" y="175"/>
                  </a:lnTo>
                  <a:lnTo>
                    <a:pt x="88" y="166"/>
                  </a:lnTo>
                  <a:lnTo>
                    <a:pt x="88" y="156"/>
                  </a:lnTo>
                  <a:lnTo>
                    <a:pt x="97" y="146"/>
                  </a:lnTo>
                  <a:lnTo>
                    <a:pt x="107" y="136"/>
                  </a:lnTo>
                  <a:lnTo>
                    <a:pt x="97" y="136"/>
                  </a:lnTo>
                  <a:lnTo>
                    <a:pt x="88" y="136"/>
                  </a:lnTo>
                  <a:lnTo>
                    <a:pt x="78" y="146"/>
                  </a:lnTo>
                  <a:lnTo>
                    <a:pt x="68" y="156"/>
                  </a:lnTo>
                  <a:lnTo>
                    <a:pt x="49" y="175"/>
                  </a:lnTo>
                  <a:lnTo>
                    <a:pt x="39" y="185"/>
                  </a:lnTo>
                  <a:lnTo>
                    <a:pt x="29" y="185"/>
                  </a:lnTo>
                  <a:lnTo>
                    <a:pt x="19" y="175"/>
                  </a:lnTo>
                  <a:lnTo>
                    <a:pt x="10" y="166"/>
                  </a:lnTo>
                  <a:lnTo>
                    <a:pt x="0" y="156"/>
                  </a:lnTo>
                  <a:lnTo>
                    <a:pt x="0" y="146"/>
                  </a:lnTo>
                  <a:lnTo>
                    <a:pt x="19" y="136"/>
                  </a:lnTo>
                  <a:lnTo>
                    <a:pt x="29" y="136"/>
                  </a:lnTo>
                  <a:lnTo>
                    <a:pt x="39" y="146"/>
                  </a:lnTo>
                  <a:lnTo>
                    <a:pt x="49" y="146"/>
                  </a:lnTo>
                  <a:lnTo>
                    <a:pt x="49" y="136"/>
                  </a:lnTo>
                  <a:close/>
                </a:path>
              </a:pathLst>
            </a:custGeom>
            <a:solidFill>
              <a:srgbClr val="CCECFF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58" name="Group 41"/>
            <p:cNvGrpSpPr>
              <a:grpSpLocks/>
            </p:cNvGrpSpPr>
            <p:nvPr/>
          </p:nvGrpSpPr>
          <p:grpSpPr bwMode="auto">
            <a:xfrm>
              <a:off x="761" y="2654"/>
              <a:ext cx="136" cy="185"/>
              <a:chOff x="761" y="2654"/>
              <a:chExt cx="136" cy="185"/>
            </a:xfrm>
          </p:grpSpPr>
          <p:sp>
            <p:nvSpPr>
              <p:cNvPr id="284" name="Freeform 43"/>
              <p:cNvSpPr>
                <a:spLocks/>
              </p:cNvSpPr>
              <p:nvPr/>
            </p:nvSpPr>
            <p:spPr bwMode="auto">
              <a:xfrm>
                <a:off x="763" y="2654"/>
                <a:ext cx="135" cy="186"/>
              </a:xfrm>
              <a:custGeom>
                <a:avLst/>
                <a:gdLst/>
                <a:ahLst/>
                <a:cxnLst>
                  <a:cxn ang="0">
                    <a:pos x="49" y="136"/>
                  </a:cxn>
                  <a:cxn ang="0">
                    <a:pos x="58" y="127"/>
                  </a:cxn>
                  <a:cxn ang="0">
                    <a:pos x="68" y="117"/>
                  </a:cxn>
                  <a:cxn ang="0">
                    <a:pos x="88" y="107"/>
                  </a:cxn>
                  <a:cxn ang="0">
                    <a:pos x="97" y="97"/>
                  </a:cxn>
                  <a:cxn ang="0">
                    <a:pos x="97" y="88"/>
                  </a:cxn>
                  <a:cxn ang="0">
                    <a:pos x="97" y="78"/>
                  </a:cxn>
                  <a:cxn ang="0">
                    <a:pos x="78" y="49"/>
                  </a:cxn>
                  <a:cxn ang="0">
                    <a:pos x="68" y="49"/>
                  </a:cxn>
                  <a:cxn ang="0">
                    <a:pos x="58" y="39"/>
                  </a:cxn>
                  <a:cxn ang="0">
                    <a:pos x="49" y="29"/>
                  </a:cxn>
                  <a:cxn ang="0">
                    <a:pos x="49" y="19"/>
                  </a:cxn>
                  <a:cxn ang="0">
                    <a:pos x="39" y="10"/>
                  </a:cxn>
                  <a:cxn ang="0">
                    <a:pos x="49" y="0"/>
                  </a:cxn>
                  <a:cxn ang="0">
                    <a:pos x="49" y="10"/>
                  </a:cxn>
                  <a:cxn ang="0">
                    <a:pos x="68" y="29"/>
                  </a:cxn>
                  <a:cxn ang="0">
                    <a:pos x="78" y="39"/>
                  </a:cxn>
                  <a:cxn ang="0">
                    <a:pos x="88" y="49"/>
                  </a:cxn>
                  <a:cxn ang="0">
                    <a:pos x="107" y="49"/>
                  </a:cxn>
                  <a:cxn ang="0">
                    <a:pos x="117" y="49"/>
                  </a:cxn>
                  <a:cxn ang="0">
                    <a:pos x="117" y="68"/>
                  </a:cxn>
                  <a:cxn ang="0">
                    <a:pos x="136" y="97"/>
                  </a:cxn>
                  <a:cxn ang="0">
                    <a:pos x="127" y="117"/>
                  </a:cxn>
                  <a:cxn ang="0">
                    <a:pos x="127" y="127"/>
                  </a:cxn>
                  <a:cxn ang="0">
                    <a:pos x="127" y="146"/>
                  </a:cxn>
                  <a:cxn ang="0">
                    <a:pos x="107" y="166"/>
                  </a:cxn>
                  <a:cxn ang="0">
                    <a:pos x="97" y="175"/>
                  </a:cxn>
                  <a:cxn ang="0">
                    <a:pos x="88" y="175"/>
                  </a:cxn>
                  <a:cxn ang="0">
                    <a:pos x="88" y="166"/>
                  </a:cxn>
                  <a:cxn ang="0">
                    <a:pos x="88" y="156"/>
                  </a:cxn>
                  <a:cxn ang="0">
                    <a:pos x="97" y="146"/>
                  </a:cxn>
                  <a:cxn ang="0">
                    <a:pos x="107" y="136"/>
                  </a:cxn>
                  <a:cxn ang="0">
                    <a:pos x="97" y="136"/>
                  </a:cxn>
                  <a:cxn ang="0">
                    <a:pos x="88" y="136"/>
                  </a:cxn>
                  <a:cxn ang="0">
                    <a:pos x="78" y="146"/>
                  </a:cxn>
                  <a:cxn ang="0">
                    <a:pos x="68" y="156"/>
                  </a:cxn>
                  <a:cxn ang="0">
                    <a:pos x="49" y="175"/>
                  </a:cxn>
                  <a:cxn ang="0">
                    <a:pos x="29" y="185"/>
                  </a:cxn>
                  <a:cxn ang="0">
                    <a:pos x="29" y="185"/>
                  </a:cxn>
                  <a:cxn ang="0">
                    <a:pos x="19" y="175"/>
                  </a:cxn>
                  <a:cxn ang="0">
                    <a:pos x="19" y="175"/>
                  </a:cxn>
                  <a:cxn ang="0">
                    <a:pos x="10" y="166"/>
                  </a:cxn>
                  <a:cxn ang="0">
                    <a:pos x="0" y="156"/>
                  </a:cxn>
                  <a:cxn ang="0">
                    <a:pos x="0" y="146"/>
                  </a:cxn>
                  <a:cxn ang="0">
                    <a:pos x="19" y="136"/>
                  </a:cxn>
                  <a:cxn ang="0">
                    <a:pos x="29" y="136"/>
                  </a:cxn>
                  <a:cxn ang="0">
                    <a:pos x="29" y="136"/>
                  </a:cxn>
                  <a:cxn ang="0">
                    <a:pos x="39" y="146"/>
                  </a:cxn>
                  <a:cxn ang="0">
                    <a:pos x="49" y="146"/>
                  </a:cxn>
                  <a:cxn ang="0">
                    <a:pos x="49" y="136"/>
                  </a:cxn>
                </a:cxnLst>
                <a:rect l="0" t="0" r="r" b="b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  <a:lnTo>
                      <a:pt x="49" y="136"/>
                    </a:lnTo>
                    <a:close/>
                  </a:path>
                </a:pathLst>
              </a:custGeom>
              <a:solidFill>
                <a:srgbClr val="70AD47">
                  <a:lumMod val="20000"/>
                  <a:lumOff val="8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5" name="Freeform 42"/>
              <p:cNvSpPr>
                <a:spLocks/>
              </p:cNvSpPr>
              <p:nvPr/>
            </p:nvSpPr>
            <p:spPr bwMode="auto">
              <a:xfrm>
                <a:off x="763" y="2654"/>
                <a:ext cx="135" cy="186"/>
              </a:xfrm>
              <a:custGeom>
                <a:avLst/>
                <a:gdLst/>
                <a:ahLst/>
                <a:cxnLst>
                  <a:cxn ang="0">
                    <a:pos x="49" y="136"/>
                  </a:cxn>
                  <a:cxn ang="0">
                    <a:pos x="58" y="127"/>
                  </a:cxn>
                  <a:cxn ang="0">
                    <a:pos x="68" y="117"/>
                  </a:cxn>
                  <a:cxn ang="0">
                    <a:pos x="88" y="107"/>
                  </a:cxn>
                  <a:cxn ang="0">
                    <a:pos x="97" y="97"/>
                  </a:cxn>
                  <a:cxn ang="0">
                    <a:pos x="97" y="88"/>
                  </a:cxn>
                  <a:cxn ang="0">
                    <a:pos x="97" y="78"/>
                  </a:cxn>
                  <a:cxn ang="0">
                    <a:pos x="78" y="49"/>
                  </a:cxn>
                  <a:cxn ang="0">
                    <a:pos x="68" y="49"/>
                  </a:cxn>
                  <a:cxn ang="0">
                    <a:pos x="58" y="39"/>
                  </a:cxn>
                  <a:cxn ang="0">
                    <a:pos x="49" y="29"/>
                  </a:cxn>
                  <a:cxn ang="0">
                    <a:pos x="49" y="19"/>
                  </a:cxn>
                  <a:cxn ang="0">
                    <a:pos x="39" y="10"/>
                  </a:cxn>
                  <a:cxn ang="0">
                    <a:pos x="49" y="0"/>
                  </a:cxn>
                  <a:cxn ang="0">
                    <a:pos x="49" y="10"/>
                  </a:cxn>
                  <a:cxn ang="0">
                    <a:pos x="68" y="29"/>
                  </a:cxn>
                  <a:cxn ang="0">
                    <a:pos x="78" y="39"/>
                  </a:cxn>
                  <a:cxn ang="0">
                    <a:pos x="88" y="49"/>
                  </a:cxn>
                  <a:cxn ang="0">
                    <a:pos x="107" y="49"/>
                  </a:cxn>
                  <a:cxn ang="0">
                    <a:pos x="117" y="49"/>
                  </a:cxn>
                  <a:cxn ang="0">
                    <a:pos x="117" y="68"/>
                  </a:cxn>
                  <a:cxn ang="0">
                    <a:pos x="136" y="97"/>
                  </a:cxn>
                  <a:cxn ang="0">
                    <a:pos x="127" y="117"/>
                  </a:cxn>
                  <a:cxn ang="0">
                    <a:pos x="127" y="127"/>
                  </a:cxn>
                  <a:cxn ang="0">
                    <a:pos x="127" y="146"/>
                  </a:cxn>
                  <a:cxn ang="0">
                    <a:pos x="107" y="166"/>
                  </a:cxn>
                  <a:cxn ang="0">
                    <a:pos x="97" y="175"/>
                  </a:cxn>
                  <a:cxn ang="0">
                    <a:pos x="88" y="175"/>
                  </a:cxn>
                  <a:cxn ang="0">
                    <a:pos x="88" y="166"/>
                  </a:cxn>
                  <a:cxn ang="0">
                    <a:pos x="88" y="156"/>
                  </a:cxn>
                  <a:cxn ang="0">
                    <a:pos x="97" y="146"/>
                  </a:cxn>
                  <a:cxn ang="0">
                    <a:pos x="107" y="136"/>
                  </a:cxn>
                  <a:cxn ang="0">
                    <a:pos x="97" y="136"/>
                  </a:cxn>
                  <a:cxn ang="0">
                    <a:pos x="88" y="136"/>
                  </a:cxn>
                  <a:cxn ang="0">
                    <a:pos x="78" y="146"/>
                  </a:cxn>
                  <a:cxn ang="0">
                    <a:pos x="68" y="156"/>
                  </a:cxn>
                  <a:cxn ang="0">
                    <a:pos x="49" y="175"/>
                  </a:cxn>
                  <a:cxn ang="0">
                    <a:pos x="29" y="185"/>
                  </a:cxn>
                  <a:cxn ang="0">
                    <a:pos x="29" y="185"/>
                  </a:cxn>
                  <a:cxn ang="0">
                    <a:pos x="19" y="175"/>
                  </a:cxn>
                  <a:cxn ang="0">
                    <a:pos x="19" y="175"/>
                  </a:cxn>
                  <a:cxn ang="0">
                    <a:pos x="10" y="166"/>
                  </a:cxn>
                  <a:cxn ang="0">
                    <a:pos x="0" y="156"/>
                  </a:cxn>
                  <a:cxn ang="0">
                    <a:pos x="0" y="146"/>
                  </a:cxn>
                  <a:cxn ang="0">
                    <a:pos x="19" y="136"/>
                  </a:cxn>
                  <a:cxn ang="0">
                    <a:pos x="29" y="136"/>
                  </a:cxn>
                  <a:cxn ang="0">
                    <a:pos x="29" y="136"/>
                  </a:cxn>
                  <a:cxn ang="0">
                    <a:pos x="39" y="146"/>
                  </a:cxn>
                  <a:cxn ang="0">
                    <a:pos x="49" y="146"/>
                  </a:cxn>
                </a:cxnLst>
                <a:rect l="0" t="0" r="r" b="b"/>
                <a:pathLst>
                  <a:path w="136" h="185">
                    <a:moveTo>
                      <a:pt x="49" y="136"/>
                    </a:moveTo>
                    <a:lnTo>
                      <a:pt x="58" y="127"/>
                    </a:lnTo>
                    <a:lnTo>
                      <a:pt x="68" y="117"/>
                    </a:lnTo>
                    <a:lnTo>
                      <a:pt x="88" y="10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78" y="49"/>
                    </a:lnTo>
                    <a:lnTo>
                      <a:pt x="68" y="49"/>
                    </a:lnTo>
                    <a:lnTo>
                      <a:pt x="58" y="39"/>
                    </a:lnTo>
                    <a:lnTo>
                      <a:pt x="49" y="29"/>
                    </a:lnTo>
                    <a:lnTo>
                      <a:pt x="49" y="19"/>
                    </a:lnTo>
                    <a:lnTo>
                      <a:pt x="39" y="10"/>
                    </a:lnTo>
                    <a:lnTo>
                      <a:pt x="49" y="0"/>
                    </a:lnTo>
                    <a:lnTo>
                      <a:pt x="49" y="10"/>
                    </a:lnTo>
                    <a:lnTo>
                      <a:pt x="68" y="29"/>
                    </a:lnTo>
                    <a:lnTo>
                      <a:pt x="78" y="39"/>
                    </a:lnTo>
                    <a:lnTo>
                      <a:pt x="88" y="49"/>
                    </a:lnTo>
                    <a:lnTo>
                      <a:pt x="107" y="49"/>
                    </a:lnTo>
                    <a:lnTo>
                      <a:pt x="117" y="49"/>
                    </a:lnTo>
                    <a:lnTo>
                      <a:pt x="117" y="68"/>
                    </a:lnTo>
                    <a:lnTo>
                      <a:pt x="136" y="97"/>
                    </a:lnTo>
                    <a:lnTo>
                      <a:pt x="127" y="117"/>
                    </a:lnTo>
                    <a:lnTo>
                      <a:pt x="127" y="127"/>
                    </a:lnTo>
                    <a:lnTo>
                      <a:pt x="127" y="146"/>
                    </a:lnTo>
                    <a:lnTo>
                      <a:pt x="107" y="166"/>
                    </a:lnTo>
                    <a:lnTo>
                      <a:pt x="97" y="175"/>
                    </a:lnTo>
                    <a:lnTo>
                      <a:pt x="88" y="175"/>
                    </a:lnTo>
                    <a:lnTo>
                      <a:pt x="88" y="166"/>
                    </a:lnTo>
                    <a:lnTo>
                      <a:pt x="88" y="156"/>
                    </a:lnTo>
                    <a:lnTo>
                      <a:pt x="97" y="146"/>
                    </a:lnTo>
                    <a:lnTo>
                      <a:pt x="107" y="136"/>
                    </a:lnTo>
                    <a:lnTo>
                      <a:pt x="97" y="136"/>
                    </a:lnTo>
                    <a:lnTo>
                      <a:pt x="88" y="136"/>
                    </a:lnTo>
                    <a:lnTo>
                      <a:pt x="78" y="146"/>
                    </a:lnTo>
                    <a:lnTo>
                      <a:pt x="68" y="156"/>
                    </a:lnTo>
                    <a:lnTo>
                      <a:pt x="49" y="175"/>
                    </a:lnTo>
                    <a:lnTo>
                      <a:pt x="29" y="185"/>
                    </a:lnTo>
                    <a:lnTo>
                      <a:pt x="19" y="175"/>
                    </a:lnTo>
                    <a:lnTo>
                      <a:pt x="10" y="166"/>
                    </a:lnTo>
                    <a:lnTo>
                      <a:pt x="0" y="156"/>
                    </a:lnTo>
                    <a:lnTo>
                      <a:pt x="0" y="146"/>
                    </a:lnTo>
                    <a:lnTo>
                      <a:pt x="19" y="136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46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59" name="Freeform 40"/>
            <p:cNvSpPr>
              <a:spLocks/>
            </p:cNvSpPr>
            <p:nvPr/>
          </p:nvSpPr>
          <p:spPr bwMode="auto">
            <a:xfrm>
              <a:off x="4458" y="3542"/>
              <a:ext cx="322" cy="449"/>
            </a:xfrm>
            <a:custGeom>
              <a:avLst/>
              <a:gdLst>
                <a:gd name="T0" fmla="*/ 126 w 322"/>
                <a:gd name="T1" fmla="*/ 136 h 449"/>
                <a:gd name="T2" fmla="*/ 117 w 322"/>
                <a:gd name="T3" fmla="*/ 107 h 449"/>
                <a:gd name="T4" fmla="*/ 97 w 322"/>
                <a:gd name="T5" fmla="*/ 127 h 449"/>
                <a:gd name="T6" fmla="*/ 97 w 322"/>
                <a:gd name="T7" fmla="*/ 117 h 449"/>
                <a:gd name="T8" fmla="*/ 117 w 322"/>
                <a:gd name="T9" fmla="*/ 78 h 449"/>
                <a:gd name="T10" fmla="*/ 117 w 322"/>
                <a:gd name="T11" fmla="*/ 19 h 449"/>
                <a:gd name="T12" fmla="*/ 126 w 322"/>
                <a:gd name="T13" fmla="*/ 19 h 449"/>
                <a:gd name="T14" fmla="*/ 146 w 322"/>
                <a:gd name="T15" fmla="*/ 19 h 449"/>
                <a:gd name="T16" fmla="*/ 156 w 322"/>
                <a:gd name="T17" fmla="*/ 39 h 449"/>
                <a:gd name="T18" fmla="*/ 166 w 322"/>
                <a:gd name="T19" fmla="*/ 68 h 449"/>
                <a:gd name="T20" fmla="*/ 205 w 322"/>
                <a:gd name="T21" fmla="*/ 68 h 449"/>
                <a:gd name="T22" fmla="*/ 205 w 322"/>
                <a:gd name="T23" fmla="*/ 39 h 449"/>
                <a:gd name="T24" fmla="*/ 224 w 322"/>
                <a:gd name="T25" fmla="*/ 48 h 449"/>
                <a:gd name="T26" fmla="*/ 244 w 322"/>
                <a:gd name="T27" fmla="*/ 68 h 449"/>
                <a:gd name="T28" fmla="*/ 273 w 322"/>
                <a:gd name="T29" fmla="*/ 68 h 449"/>
                <a:gd name="T30" fmla="*/ 283 w 322"/>
                <a:gd name="T31" fmla="*/ 78 h 449"/>
                <a:gd name="T32" fmla="*/ 302 w 322"/>
                <a:gd name="T33" fmla="*/ 88 h 449"/>
                <a:gd name="T34" fmla="*/ 302 w 322"/>
                <a:gd name="T35" fmla="*/ 97 h 449"/>
                <a:gd name="T36" fmla="*/ 302 w 322"/>
                <a:gd name="T37" fmla="*/ 117 h 449"/>
                <a:gd name="T38" fmla="*/ 312 w 322"/>
                <a:gd name="T39" fmla="*/ 136 h 449"/>
                <a:gd name="T40" fmla="*/ 322 w 322"/>
                <a:gd name="T41" fmla="*/ 166 h 449"/>
                <a:gd name="T42" fmla="*/ 312 w 322"/>
                <a:gd name="T43" fmla="*/ 205 h 449"/>
                <a:gd name="T44" fmla="*/ 302 w 322"/>
                <a:gd name="T45" fmla="*/ 224 h 449"/>
                <a:gd name="T46" fmla="*/ 322 w 322"/>
                <a:gd name="T47" fmla="*/ 252 h 449"/>
                <a:gd name="T48" fmla="*/ 312 w 322"/>
                <a:gd name="T49" fmla="*/ 281 h 449"/>
                <a:gd name="T50" fmla="*/ 292 w 322"/>
                <a:gd name="T51" fmla="*/ 301 h 449"/>
                <a:gd name="T52" fmla="*/ 273 w 322"/>
                <a:gd name="T53" fmla="*/ 320 h 449"/>
                <a:gd name="T54" fmla="*/ 244 w 322"/>
                <a:gd name="T55" fmla="*/ 330 h 449"/>
                <a:gd name="T56" fmla="*/ 214 w 322"/>
                <a:gd name="T57" fmla="*/ 350 h 449"/>
                <a:gd name="T58" fmla="*/ 195 w 322"/>
                <a:gd name="T59" fmla="*/ 369 h 449"/>
                <a:gd name="T60" fmla="*/ 185 w 322"/>
                <a:gd name="T61" fmla="*/ 379 h 449"/>
                <a:gd name="T62" fmla="*/ 156 w 322"/>
                <a:gd name="T63" fmla="*/ 379 h 449"/>
                <a:gd name="T64" fmla="*/ 136 w 322"/>
                <a:gd name="T65" fmla="*/ 418 h 449"/>
                <a:gd name="T66" fmla="*/ 107 w 322"/>
                <a:gd name="T67" fmla="*/ 418 h 449"/>
                <a:gd name="T68" fmla="*/ 87 w 322"/>
                <a:gd name="T69" fmla="*/ 408 h 449"/>
                <a:gd name="T70" fmla="*/ 48 w 322"/>
                <a:gd name="T71" fmla="*/ 418 h 449"/>
                <a:gd name="T72" fmla="*/ 68 w 322"/>
                <a:gd name="T73" fmla="*/ 438 h 449"/>
                <a:gd name="T74" fmla="*/ 29 w 322"/>
                <a:gd name="T75" fmla="*/ 438 h 449"/>
                <a:gd name="T76" fmla="*/ 0 w 322"/>
                <a:gd name="T77" fmla="*/ 408 h 449"/>
                <a:gd name="T78" fmla="*/ 9 w 322"/>
                <a:gd name="T79" fmla="*/ 389 h 449"/>
                <a:gd name="T80" fmla="*/ 0 w 322"/>
                <a:gd name="T81" fmla="*/ 369 h 449"/>
                <a:gd name="T82" fmla="*/ 29 w 322"/>
                <a:gd name="T83" fmla="*/ 359 h 449"/>
                <a:gd name="T84" fmla="*/ 48 w 322"/>
                <a:gd name="T85" fmla="*/ 340 h 449"/>
                <a:gd name="T86" fmla="*/ 68 w 322"/>
                <a:gd name="T87" fmla="*/ 340 h 449"/>
                <a:gd name="T88" fmla="*/ 87 w 322"/>
                <a:gd name="T89" fmla="*/ 311 h 449"/>
                <a:gd name="T90" fmla="*/ 117 w 322"/>
                <a:gd name="T91" fmla="*/ 291 h 449"/>
                <a:gd name="T92" fmla="*/ 97 w 322"/>
                <a:gd name="T93" fmla="*/ 272 h 449"/>
                <a:gd name="T94" fmla="*/ 87 w 322"/>
                <a:gd name="T95" fmla="*/ 252 h 449"/>
                <a:gd name="T96" fmla="*/ 107 w 322"/>
                <a:gd name="T97" fmla="*/ 252 h 449"/>
                <a:gd name="T98" fmla="*/ 107 w 322"/>
                <a:gd name="T99" fmla="*/ 224 h 449"/>
                <a:gd name="T100" fmla="*/ 97 w 322"/>
                <a:gd name="T101" fmla="*/ 224 h 449"/>
                <a:gd name="T102" fmla="*/ 117 w 322"/>
                <a:gd name="T103" fmla="*/ 195 h 449"/>
                <a:gd name="T104" fmla="*/ 126 w 322"/>
                <a:gd name="T105" fmla="*/ 166 h 449"/>
                <a:gd name="T106" fmla="*/ 126 w 322"/>
                <a:gd name="T107" fmla="*/ 156 h 449"/>
                <a:gd name="T108" fmla="*/ 136 w 322"/>
                <a:gd name="T109" fmla="*/ 136 h 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22"/>
                <a:gd name="T166" fmla="*/ 0 h 449"/>
                <a:gd name="T167" fmla="*/ 322 w 322"/>
                <a:gd name="T168" fmla="*/ 449 h 44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22" h="449">
                  <a:moveTo>
                    <a:pt x="136" y="136"/>
                  </a:moveTo>
                  <a:lnTo>
                    <a:pt x="126" y="136"/>
                  </a:lnTo>
                  <a:lnTo>
                    <a:pt x="126" y="127"/>
                  </a:lnTo>
                  <a:lnTo>
                    <a:pt x="117" y="107"/>
                  </a:lnTo>
                  <a:lnTo>
                    <a:pt x="107" y="127"/>
                  </a:lnTo>
                  <a:lnTo>
                    <a:pt x="97" y="127"/>
                  </a:lnTo>
                  <a:lnTo>
                    <a:pt x="97" y="117"/>
                  </a:lnTo>
                  <a:lnTo>
                    <a:pt x="117" y="97"/>
                  </a:lnTo>
                  <a:lnTo>
                    <a:pt x="117" y="78"/>
                  </a:lnTo>
                  <a:lnTo>
                    <a:pt x="126" y="68"/>
                  </a:lnTo>
                  <a:lnTo>
                    <a:pt x="117" y="19"/>
                  </a:lnTo>
                  <a:lnTo>
                    <a:pt x="126" y="19"/>
                  </a:lnTo>
                  <a:lnTo>
                    <a:pt x="136" y="0"/>
                  </a:lnTo>
                  <a:lnTo>
                    <a:pt x="146" y="19"/>
                  </a:lnTo>
                  <a:lnTo>
                    <a:pt x="146" y="39"/>
                  </a:lnTo>
                  <a:lnTo>
                    <a:pt x="156" y="39"/>
                  </a:lnTo>
                  <a:lnTo>
                    <a:pt x="166" y="58"/>
                  </a:lnTo>
                  <a:lnTo>
                    <a:pt x="166" y="68"/>
                  </a:lnTo>
                  <a:lnTo>
                    <a:pt x="185" y="68"/>
                  </a:lnTo>
                  <a:lnTo>
                    <a:pt x="205" y="68"/>
                  </a:lnTo>
                  <a:lnTo>
                    <a:pt x="205" y="58"/>
                  </a:lnTo>
                  <a:lnTo>
                    <a:pt x="205" y="39"/>
                  </a:lnTo>
                  <a:lnTo>
                    <a:pt x="214" y="39"/>
                  </a:lnTo>
                  <a:lnTo>
                    <a:pt x="224" y="48"/>
                  </a:lnTo>
                  <a:lnTo>
                    <a:pt x="234" y="68"/>
                  </a:lnTo>
                  <a:lnTo>
                    <a:pt x="244" y="68"/>
                  </a:lnTo>
                  <a:lnTo>
                    <a:pt x="263" y="68"/>
                  </a:lnTo>
                  <a:lnTo>
                    <a:pt x="273" y="68"/>
                  </a:lnTo>
                  <a:lnTo>
                    <a:pt x="273" y="78"/>
                  </a:lnTo>
                  <a:lnTo>
                    <a:pt x="283" y="78"/>
                  </a:lnTo>
                  <a:lnTo>
                    <a:pt x="292" y="88"/>
                  </a:lnTo>
                  <a:lnTo>
                    <a:pt x="302" y="88"/>
                  </a:lnTo>
                  <a:lnTo>
                    <a:pt x="302" y="97"/>
                  </a:lnTo>
                  <a:lnTo>
                    <a:pt x="292" y="107"/>
                  </a:lnTo>
                  <a:lnTo>
                    <a:pt x="302" y="117"/>
                  </a:lnTo>
                  <a:lnTo>
                    <a:pt x="302" y="127"/>
                  </a:lnTo>
                  <a:lnTo>
                    <a:pt x="312" y="136"/>
                  </a:lnTo>
                  <a:lnTo>
                    <a:pt x="312" y="156"/>
                  </a:lnTo>
                  <a:lnTo>
                    <a:pt x="322" y="166"/>
                  </a:lnTo>
                  <a:lnTo>
                    <a:pt x="312" y="185"/>
                  </a:lnTo>
                  <a:lnTo>
                    <a:pt x="312" y="205"/>
                  </a:lnTo>
                  <a:lnTo>
                    <a:pt x="302" y="224"/>
                  </a:lnTo>
                  <a:lnTo>
                    <a:pt x="302" y="234"/>
                  </a:lnTo>
                  <a:lnTo>
                    <a:pt x="312" y="263"/>
                  </a:lnTo>
                  <a:lnTo>
                    <a:pt x="322" y="263"/>
                  </a:lnTo>
                  <a:lnTo>
                    <a:pt x="322" y="283"/>
                  </a:lnTo>
                  <a:lnTo>
                    <a:pt x="312" y="292"/>
                  </a:lnTo>
                  <a:lnTo>
                    <a:pt x="292" y="292"/>
                  </a:lnTo>
                  <a:lnTo>
                    <a:pt x="292" y="312"/>
                  </a:lnTo>
                  <a:lnTo>
                    <a:pt x="283" y="322"/>
                  </a:lnTo>
                  <a:lnTo>
                    <a:pt x="273" y="331"/>
                  </a:lnTo>
                  <a:lnTo>
                    <a:pt x="253" y="341"/>
                  </a:lnTo>
                  <a:lnTo>
                    <a:pt x="244" y="341"/>
                  </a:lnTo>
                  <a:lnTo>
                    <a:pt x="224" y="351"/>
                  </a:lnTo>
                  <a:lnTo>
                    <a:pt x="214" y="361"/>
                  </a:lnTo>
                  <a:lnTo>
                    <a:pt x="195" y="370"/>
                  </a:lnTo>
                  <a:lnTo>
                    <a:pt x="195" y="380"/>
                  </a:lnTo>
                  <a:lnTo>
                    <a:pt x="195" y="390"/>
                  </a:lnTo>
                  <a:lnTo>
                    <a:pt x="185" y="390"/>
                  </a:lnTo>
                  <a:lnTo>
                    <a:pt x="166" y="390"/>
                  </a:lnTo>
                  <a:lnTo>
                    <a:pt x="156" y="390"/>
                  </a:lnTo>
                  <a:lnTo>
                    <a:pt x="156" y="419"/>
                  </a:lnTo>
                  <a:lnTo>
                    <a:pt x="136" y="429"/>
                  </a:lnTo>
                  <a:lnTo>
                    <a:pt x="126" y="439"/>
                  </a:lnTo>
                  <a:lnTo>
                    <a:pt x="107" y="429"/>
                  </a:lnTo>
                  <a:lnTo>
                    <a:pt x="87" y="429"/>
                  </a:lnTo>
                  <a:lnTo>
                    <a:pt x="87" y="419"/>
                  </a:lnTo>
                  <a:lnTo>
                    <a:pt x="68" y="419"/>
                  </a:lnTo>
                  <a:lnTo>
                    <a:pt x="48" y="429"/>
                  </a:lnTo>
                  <a:lnTo>
                    <a:pt x="58" y="439"/>
                  </a:lnTo>
                  <a:lnTo>
                    <a:pt x="68" y="449"/>
                  </a:lnTo>
                  <a:lnTo>
                    <a:pt x="39" y="439"/>
                  </a:lnTo>
                  <a:lnTo>
                    <a:pt x="29" y="449"/>
                  </a:lnTo>
                  <a:lnTo>
                    <a:pt x="0" y="429"/>
                  </a:lnTo>
                  <a:lnTo>
                    <a:pt x="0" y="419"/>
                  </a:lnTo>
                  <a:lnTo>
                    <a:pt x="19" y="409"/>
                  </a:lnTo>
                  <a:lnTo>
                    <a:pt x="9" y="400"/>
                  </a:lnTo>
                  <a:lnTo>
                    <a:pt x="0" y="390"/>
                  </a:lnTo>
                  <a:lnTo>
                    <a:pt x="0" y="380"/>
                  </a:lnTo>
                  <a:lnTo>
                    <a:pt x="19" y="370"/>
                  </a:lnTo>
                  <a:lnTo>
                    <a:pt x="29" y="370"/>
                  </a:lnTo>
                  <a:lnTo>
                    <a:pt x="48" y="351"/>
                  </a:lnTo>
                  <a:lnTo>
                    <a:pt x="58" y="351"/>
                  </a:lnTo>
                  <a:lnTo>
                    <a:pt x="68" y="351"/>
                  </a:lnTo>
                  <a:lnTo>
                    <a:pt x="78" y="341"/>
                  </a:lnTo>
                  <a:lnTo>
                    <a:pt x="87" y="322"/>
                  </a:lnTo>
                  <a:lnTo>
                    <a:pt x="97" y="312"/>
                  </a:lnTo>
                  <a:lnTo>
                    <a:pt x="117" y="302"/>
                  </a:lnTo>
                  <a:lnTo>
                    <a:pt x="117" y="292"/>
                  </a:lnTo>
                  <a:lnTo>
                    <a:pt x="97" y="283"/>
                  </a:lnTo>
                  <a:lnTo>
                    <a:pt x="87" y="273"/>
                  </a:lnTo>
                  <a:lnTo>
                    <a:pt x="87" y="263"/>
                  </a:lnTo>
                  <a:lnTo>
                    <a:pt x="97" y="263"/>
                  </a:lnTo>
                  <a:lnTo>
                    <a:pt x="107" y="263"/>
                  </a:lnTo>
                  <a:lnTo>
                    <a:pt x="107" y="253"/>
                  </a:lnTo>
                  <a:lnTo>
                    <a:pt x="107" y="234"/>
                  </a:lnTo>
                  <a:lnTo>
                    <a:pt x="107" y="224"/>
                  </a:lnTo>
                  <a:lnTo>
                    <a:pt x="97" y="224"/>
                  </a:lnTo>
                  <a:lnTo>
                    <a:pt x="97" y="205"/>
                  </a:lnTo>
                  <a:lnTo>
                    <a:pt x="117" y="195"/>
                  </a:lnTo>
                  <a:lnTo>
                    <a:pt x="126" y="195"/>
                  </a:lnTo>
                  <a:lnTo>
                    <a:pt x="126" y="166"/>
                  </a:lnTo>
                  <a:lnTo>
                    <a:pt x="126" y="156"/>
                  </a:lnTo>
                  <a:lnTo>
                    <a:pt x="136" y="146"/>
                  </a:lnTo>
                  <a:lnTo>
                    <a:pt x="136" y="136"/>
                  </a:lnTo>
                  <a:close/>
                </a:path>
              </a:pathLst>
            </a:custGeom>
            <a:solidFill>
              <a:srgbClr val="DBDBDB"/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0" name="Freeform 39"/>
            <p:cNvSpPr>
              <a:spLocks/>
            </p:cNvSpPr>
            <p:nvPr/>
          </p:nvSpPr>
          <p:spPr bwMode="auto">
            <a:xfrm>
              <a:off x="1892" y="1650"/>
              <a:ext cx="273" cy="233"/>
            </a:xfrm>
            <a:custGeom>
              <a:avLst/>
              <a:gdLst/>
              <a:ahLst/>
              <a:cxnLst>
                <a:cxn ang="0">
                  <a:pos x="273" y="156"/>
                </a:cxn>
                <a:cxn ang="0">
                  <a:pos x="264" y="166"/>
                </a:cxn>
                <a:cxn ang="0">
                  <a:pos x="244" y="176"/>
                </a:cxn>
                <a:cxn ang="0">
                  <a:pos x="225" y="176"/>
                </a:cxn>
                <a:cxn ang="0">
                  <a:pos x="215" y="185"/>
                </a:cxn>
                <a:cxn ang="0">
                  <a:pos x="205" y="195"/>
                </a:cxn>
                <a:cxn ang="0">
                  <a:pos x="195" y="195"/>
                </a:cxn>
                <a:cxn ang="0">
                  <a:pos x="186" y="195"/>
                </a:cxn>
                <a:cxn ang="0">
                  <a:pos x="176" y="215"/>
                </a:cxn>
                <a:cxn ang="0">
                  <a:pos x="166" y="224"/>
                </a:cxn>
                <a:cxn ang="0">
                  <a:pos x="156" y="224"/>
                </a:cxn>
                <a:cxn ang="0">
                  <a:pos x="147" y="224"/>
                </a:cxn>
                <a:cxn ang="0">
                  <a:pos x="137" y="234"/>
                </a:cxn>
                <a:cxn ang="0">
                  <a:pos x="127" y="234"/>
                </a:cxn>
                <a:cxn ang="0">
                  <a:pos x="127" y="215"/>
                </a:cxn>
                <a:cxn ang="0">
                  <a:pos x="108" y="205"/>
                </a:cxn>
                <a:cxn ang="0">
                  <a:pos x="98" y="205"/>
                </a:cxn>
                <a:cxn ang="0">
                  <a:pos x="88" y="205"/>
                </a:cxn>
                <a:cxn ang="0">
                  <a:pos x="78" y="215"/>
                </a:cxn>
                <a:cxn ang="0">
                  <a:pos x="59" y="215"/>
                </a:cxn>
                <a:cxn ang="0">
                  <a:pos x="49" y="215"/>
                </a:cxn>
                <a:cxn ang="0">
                  <a:pos x="30" y="215"/>
                </a:cxn>
                <a:cxn ang="0">
                  <a:pos x="0" y="185"/>
                </a:cxn>
                <a:cxn ang="0">
                  <a:pos x="0" y="176"/>
                </a:cxn>
                <a:cxn ang="0">
                  <a:pos x="0" y="166"/>
                </a:cxn>
                <a:cxn ang="0">
                  <a:pos x="30" y="146"/>
                </a:cxn>
                <a:cxn ang="0">
                  <a:pos x="49" y="127"/>
                </a:cxn>
                <a:cxn ang="0">
                  <a:pos x="59" y="127"/>
                </a:cxn>
                <a:cxn ang="0">
                  <a:pos x="69" y="117"/>
                </a:cxn>
                <a:cxn ang="0">
                  <a:pos x="59" y="107"/>
                </a:cxn>
                <a:cxn ang="0">
                  <a:pos x="59" y="88"/>
                </a:cxn>
                <a:cxn ang="0">
                  <a:pos x="78" y="68"/>
                </a:cxn>
                <a:cxn ang="0">
                  <a:pos x="88" y="58"/>
                </a:cxn>
                <a:cxn ang="0">
                  <a:pos x="88" y="29"/>
                </a:cxn>
                <a:cxn ang="0">
                  <a:pos x="108" y="29"/>
                </a:cxn>
                <a:cxn ang="0">
                  <a:pos x="117" y="29"/>
                </a:cxn>
                <a:cxn ang="0">
                  <a:pos x="108" y="19"/>
                </a:cxn>
                <a:cxn ang="0">
                  <a:pos x="127" y="10"/>
                </a:cxn>
                <a:cxn ang="0">
                  <a:pos x="147" y="0"/>
                </a:cxn>
                <a:cxn ang="0">
                  <a:pos x="137" y="10"/>
                </a:cxn>
                <a:cxn ang="0">
                  <a:pos x="147" y="19"/>
                </a:cxn>
                <a:cxn ang="0">
                  <a:pos x="156" y="19"/>
                </a:cxn>
                <a:cxn ang="0">
                  <a:pos x="166" y="19"/>
                </a:cxn>
                <a:cxn ang="0">
                  <a:pos x="176" y="19"/>
                </a:cxn>
                <a:cxn ang="0">
                  <a:pos x="195" y="29"/>
                </a:cxn>
                <a:cxn ang="0">
                  <a:pos x="215" y="39"/>
                </a:cxn>
                <a:cxn ang="0">
                  <a:pos x="225" y="58"/>
                </a:cxn>
                <a:cxn ang="0">
                  <a:pos x="225" y="58"/>
                </a:cxn>
                <a:cxn ang="0">
                  <a:pos x="244" y="58"/>
                </a:cxn>
                <a:cxn ang="0">
                  <a:pos x="254" y="58"/>
                </a:cxn>
                <a:cxn ang="0">
                  <a:pos x="264" y="78"/>
                </a:cxn>
                <a:cxn ang="0">
                  <a:pos x="264" y="97"/>
                </a:cxn>
                <a:cxn ang="0">
                  <a:pos x="254" y="127"/>
                </a:cxn>
                <a:cxn ang="0">
                  <a:pos x="264" y="136"/>
                </a:cxn>
                <a:cxn ang="0">
                  <a:pos x="264" y="146"/>
                </a:cxn>
                <a:cxn ang="0">
                  <a:pos x="273" y="156"/>
                </a:cxn>
              </a:cxnLst>
              <a:rect l="0" t="0" r="r" b="b"/>
              <a:pathLst>
                <a:path w="273" h="234">
                  <a:moveTo>
                    <a:pt x="273" y="156"/>
                  </a:moveTo>
                  <a:lnTo>
                    <a:pt x="264" y="166"/>
                  </a:lnTo>
                  <a:lnTo>
                    <a:pt x="244" y="176"/>
                  </a:lnTo>
                  <a:lnTo>
                    <a:pt x="225" y="176"/>
                  </a:lnTo>
                  <a:lnTo>
                    <a:pt x="215" y="185"/>
                  </a:lnTo>
                  <a:lnTo>
                    <a:pt x="205" y="195"/>
                  </a:lnTo>
                  <a:lnTo>
                    <a:pt x="195" y="195"/>
                  </a:lnTo>
                  <a:lnTo>
                    <a:pt x="186" y="195"/>
                  </a:lnTo>
                  <a:lnTo>
                    <a:pt x="176" y="215"/>
                  </a:lnTo>
                  <a:lnTo>
                    <a:pt x="166" y="224"/>
                  </a:lnTo>
                  <a:lnTo>
                    <a:pt x="156" y="224"/>
                  </a:lnTo>
                  <a:lnTo>
                    <a:pt x="147" y="224"/>
                  </a:lnTo>
                  <a:lnTo>
                    <a:pt x="137" y="234"/>
                  </a:lnTo>
                  <a:lnTo>
                    <a:pt x="127" y="234"/>
                  </a:lnTo>
                  <a:lnTo>
                    <a:pt x="127" y="215"/>
                  </a:lnTo>
                  <a:lnTo>
                    <a:pt x="108" y="205"/>
                  </a:lnTo>
                  <a:lnTo>
                    <a:pt x="98" y="205"/>
                  </a:lnTo>
                  <a:lnTo>
                    <a:pt x="88" y="205"/>
                  </a:lnTo>
                  <a:lnTo>
                    <a:pt x="78" y="215"/>
                  </a:lnTo>
                  <a:lnTo>
                    <a:pt x="59" y="215"/>
                  </a:lnTo>
                  <a:lnTo>
                    <a:pt x="49" y="215"/>
                  </a:lnTo>
                  <a:lnTo>
                    <a:pt x="30" y="215"/>
                  </a:lnTo>
                  <a:lnTo>
                    <a:pt x="0" y="185"/>
                  </a:lnTo>
                  <a:lnTo>
                    <a:pt x="0" y="176"/>
                  </a:lnTo>
                  <a:lnTo>
                    <a:pt x="0" y="166"/>
                  </a:lnTo>
                  <a:lnTo>
                    <a:pt x="30" y="146"/>
                  </a:lnTo>
                  <a:lnTo>
                    <a:pt x="49" y="127"/>
                  </a:lnTo>
                  <a:lnTo>
                    <a:pt x="59" y="127"/>
                  </a:lnTo>
                  <a:lnTo>
                    <a:pt x="69" y="117"/>
                  </a:lnTo>
                  <a:lnTo>
                    <a:pt x="59" y="107"/>
                  </a:lnTo>
                  <a:lnTo>
                    <a:pt x="59" y="88"/>
                  </a:lnTo>
                  <a:lnTo>
                    <a:pt x="78" y="68"/>
                  </a:lnTo>
                  <a:lnTo>
                    <a:pt x="88" y="58"/>
                  </a:lnTo>
                  <a:lnTo>
                    <a:pt x="88" y="29"/>
                  </a:lnTo>
                  <a:lnTo>
                    <a:pt x="108" y="29"/>
                  </a:lnTo>
                  <a:lnTo>
                    <a:pt x="117" y="29"/>
                  </a:lnTo>
                  <a:lnTo>
                    <a:pt x="108" y="19"/>
                  </a:lnTo>
                  <a:lnTo>
                    <a:pt x="127" y="10"/>
                  </a:lnTo>
                  <a:lnTo>
                    <a:pt x="147" y="0"/>
                  </a:lnTo>
                  <a:lnTo>
                    <a:pt x="137" y="10"/>
                  </a:lnTo>
                  <a:lnTo>
                    <a:pt x="147" y="19"/>
                  </a:lnTo>
                  <a:lnTo>
                    <a:pt x="156" y="19"/>
                  </a:lnTo>
                  <a:lnTo>
                    <a:pt x="166" y="19"/>
                  </a:lnTo>
                  <a:lnTo>
                    <a:pt x="176" y="19"/>
                  </a:lnTo>
                  <a:lnTo>
                    <a:pt x="195" y="29"/>
                  </a:lnTo>
                  <a:lnTo>
                    <a:pt x="215" y="39"/>
                  </a:lnTo>
                  <a:lnTo>
                    <a:pt x="225" y="58"/>
                  </a:lnTo>
                  <a:lnTo>
                    <a:pt x="244" y="58"/>
                  </a:lnTo>
                  <a:lnTo>
                    <a:pt x="254" y="58"/>
                  </a:lnTo>
                  <a:lnTo>
                    <a:pt x="264" y="78"/>
                  </a:lnTo>
                  <a:lnTo>
                    <a:pt x="264" y="97"/>
                  </a:lnTo>
                  <a:lnTo>
                    <a:pt x="254" y="127"/>
                  </a:lnTo>
                  <a:lnTo>
                    <a:pt x="264" y="136"/>
                  </a:lnTo>
                  <a:lnTo>
                    <a:pt x="264" y="146"/>
                  </a:lnTo>
                  <a:lnTo>
                    <a:pt x="273" y="15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61" name="Group 36"/>
            <p:cNvGrpSpPr>
              <a:grpSpLocks/>
            </p:cNvGrpSpPr>
            <p:nvPr/>
          </p:nvGrpSpPr>
          <p:grpSpPr bwMode="auto">
            <a:xfrm>
              <a:off x="3863" y="917"/>
              <a:ext cx="624" cy="205"/>
              <a:chOff x="3863" y="917"/>
              <a:chExt cx="624" cy="205"/>
            </a:xfrm>
          </p:grpSpPr>
          <p:sp>
            <p:nvSpPr>
              <p:cNvPr id="282" name="Freeform 38"/>
              <p:cNvSpPr>
                <a:spLocks/>
              </p:cNvSpPr>
              <p:nvPr/>
            </p:nvSpPr>
            <p:spPr bwMode="auto">
              <a:xfrm>
                <a:off x="3863" y="917"/>
                <a:ext cx="631" cy="204"/>
              </a:xfrm>
              <a:custGeom>
                <a:avLst/>
                <a:gdLst>
                  <a:gd name="T0" fmla="*/ 39 w 624"/>
                  <a:gd name="T1" fmla="*/ 127 h 205"/>
                  <a:gd name="T2" fmla="*/ 19 w 624"/>
                  <a:gd name="T3" fmla="*/ 127 h 205"/>
                  <a:gd name="T4" fmla="*/ 58 w 624"/>
                  <a:gd name="T5" fmla="*/ 98 h 205"/>
                  <a:gd name="T6" fmla="*/ 87 w 624"/>
                  <a:gd name="T7" fmla="*/ 88 h 205"/>
                  <a:gd name="T8" fmla="*/ 97 w 624"/>
                  <a:gd name="T9" fmla="*/ 88 h 205"/>
                  <a:gd name="T10" fmla="*/ 107 w 624"/>
                  <a:gd name="T11" fmla="*/ 78 h 205"/>
                  <a:gd name="T12" fmla="*/ 136 w 624"/>
                  <a:gd name="T13" fmla="*/ 78 h 205"/>
                  <a:gd name="T14" fmla="*/ 136 w 624"/>
                  <a:gd name="T15" fmla="*/ 59 h 205"/>
                  <a:gd name="T16" fmla="*/ 175 w 624"/>
                  <a:gd name="T17" fmla="*/ 78 h 205"/>
                  <a:gd name="T18" fmla="*/ 156 w 624"/>
                  <a:gd name="T19" fmla="*/ 49 h 205"/>
                  <a:gd name="T20" fmla="*/ 175 w 624"/>
                  <a:gd name="T21" fmla="*/ 39 h 205"/>
                  <a:gd name="T22" fmla="*/ 185 w 624"/>
                  <a:gd name="T23" fmla="*/ 20 h 205"/>
                  <a:gd name="T24" fmla="*/ 205 w 624"/>
                  <a:gd name="T25" fmla="*/ 29 h 205"/>
                  <a:gd name="T26" fmla="*/ 234 w 624"/>
                  <a:gd name="T27" fmla="*/ 20 h 205"/>
                  <a:gd name="T28" fmla="*/ 244 w 624"/>
                  <a:gd name="T29" fmla="*/ 20 h 205"/>
                  <a:gd name="T30" fmla="*/ 292 w 624"/>
                  <a:gd name="T31" fmla="*/ 10 h 205"/>
                  <a:gd name="T32" fmla="*/ 331 w 624"/>
                  <a:gd name="T33" fmla="*/ 10 h 205"/>
                  <a:gd name="T34" fmla="*/ 370 w 624"/>
                  <a:gd name="T35" fmla="*/ 10 h 205"/>
                  <a:gd name="T36" fmla="*/ 380 w 624"/>
                  <a:gd name="T37" fmla="*/ 20 h 205"/>
                  <a:gd name="T38" fmla="*/ 409 w 624"/>
                  <a:gd name="T39" fmla="*/ 10 h 205"/>
                  <a:gd name="T40" fmla="*/ 429 w 624"/>
                  <a:gd name="T41" fmla="*/ 29 h 205"/>
                  <a:gd name="T42" fmla="*/ 478 w 624"/>
                  <a:gd name="T43" fmla="*/ 49 h 205"/>
                  <a:gd name="T44" fmla="*/ 526 w 624"/>
                  <a:gd name="T45" fmla="*/ 39 h 205"/>
                  <a:gd name="T46" fmla="*/ 546 w 624"/>
                  <a:gd name="T47" fmla="*/ 29 h 205"/>
                  <a:gd name="T48" fmla="*/ 604 w 624"/>
                  <a:gd name="T49" fmla="*/ 20 h 205"/>
                  <a:gd name="T50" fmla="*/ 624 w 624"/>
                  <a:gd name="T51" fmla="*/ 59 h 205"/>
                  <a:gd name="T52" fmla="*/ 585 w 624"/>
                  <a:gd name="T53" fmla="*/ 98 h 205"/>
                  <a:gd name="T54" fmla="*/ 497 w 624"/>
                  <a:gd name="T55" fmla="*/ 117 h 205"/>
                  <a:gd name="T56" fmla="*/ 429 w 624"/>
                  <a:gd name="T57" fmla="*/ 107 h 205"/>
                  <a:gd name="T58" fmla="*/ 361 w 624"/>
                  <a:gd name="T59" fmla="*/ 107 h 205"/>
                  <a:gd name="T60" fmla="*/ 341 w 624"/>
                  <a:gd name="T61" fmla="*/ 98 h 205"/>
                  <a:gd name="T62" fmla="*/ 302 w 624"/>
                  <a:gd name="T63" fmla="*/ 117 h 205"/>
                  <a:gd name="T64" fmla="*/ 283 w 624"/>
                  <a:gd name="T65" fmla="*/ 117 h 205"/>
                  <a:gd name="T66" fmla="*/ 263 w 624"/>
                  <a:gd name="T67" fmla="*/ 137 h 205"/>
                  <a:gd name="T68" fmla="*/ 234 w 624"/>
                  <a:gd name="T69" fmla="*/ 137 h 205"/>
                  <a:gd name="T70" fmla="*/ 234 w 624"/>
                  <a:gd name="T71" fmla="*/ 117 h 205"/>
                  <a:gd name="T72" fmla="*/ 205 w 624"/>
                  <a:gd name="T73" fmla="*/ 137 h 205"/>
                  <a:gd name="T74" fmla="*/ 195 w 624"/>
                  <a:gd name="T75" fmla="*/ 137 h 205"/>
                  <a:gd name="T76" fmla="*/ 165 w 624"/>
                  <a:gd name="T77" fmla="*/ 156 h 205"/>
                  <a:gd name="T78" fmla="*/ 156 w 624"/>
                  <a:gd name="T79" fmla="*/ 137 h 205"/>
                  <a:gd name="T80" fmla="*/ 146 w 624"/>
                  <a:gd name="T81" fmla="*/ 166 h 205"/>
                  <a:gd name="T82" fmla="*/ 126 w 624"/>
                  <a:gd name="T83" fmla="*/ 176 h 205"/>
                  <a:gd name="T84" fmla="*/ 107 w 624"/>
                  <a:gd name="T85" fmla="*/ 156 h 205"/>
                  <a:gd name="T86" fmla="*/ 97 w 624"/>
                  <a:gd name="T87" fmla="*/ 195 h 205"/>
                  <a:gd name="T88" fmla="*/ 87 w 624"/>
                  <a:gd name="T89" fmla="*/ 195 h 205"/>
                  <a:gd name="T90" fmla="*/ 68 w 624"/>
                  <a:gd name="T91" fmla="*/ 205 h 205"/>
                  <a:gd name="T92" fmla="*/ 58 w 624"/>
                  <a:gd name="T93" fmla="*/ 176 h 205"/>
                  <a:gd name="T94" fmla="*/ 19 w 624"/>
                  <a:gd name="T95" fmla="*/ 146 h 20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24"/>
                  <a:gd name="T145" fmla="*/ 0 h 205"/>
                  <a:gd name="T146" fmla="*/ 624 w 624"/>
                  <a:gd name="T147" fmla="*/ 205 h 20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  <a:close/>
                  </a:path>
                </a:pathLst>
              </a:custGeom>
              <a:solidFill>
                <a:srgbClr val="8DB3E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3" name="Freeform 37"/>
              <p:cNvSpPr>
                <a:spLocks/>
              </p:cNvSpPr>
              <p:nvPr/>
            </p:nvSpPr>
            <p:spPr bwMode="auto">
              <a:xfrm>
                <a:off x="3863" y="917"/>
                <a:ext cx="631" cy="204"/>
              </a:xfrm>
              <a:custGeom>
                <a:avLst/>
                <a:gdLst/>
                <a:ahLst/>
                <a:cxnLst>
                  <a:cxn ang="0">
                    <a:pos x="39" y="127"/>
                  </a:cxn>
                  <a:cxn ang="0">
                    <a:pos x="19" y="127"/>
                  </a:cxn>
                  <a:cxn ang="0">
                    <a:pos x="58" y="98"/>
                  </a:cxn>
                  <a:cxn ang="0">
                    <a:pos x="87" y="88"/>
                  </a:cxn>
                  <a:cxn ang="0">
                    <a:pos x="97" y="88"/>
                  </a:cxn>
                  <a:cxn ang="0">
                    <a:pos x="107" y="78"/>
                  </a:cxn>
                  <a:cxn ang="0">
                    <a:pos x="136" y="78"/>
                  </a:cxn>
                  <a:cxn ang="0">
                    <a:pos x="136" y="59"/>
                  </a:cxn>
                  <a:cxn ang="0">
                    <a:pos x="175" y="78"/>
                  </a:cxn>
                  <a:cxn ang="0">
                    <a:pos x="156" y="49"/>
                  </a:cxn>
                  <a:cxn ang="0">
                    <a:pos x="175" y="39"/>
                  </a:cxn>
                  <a:cxn ang="0">
                    <a:pos x="185" y="20"/>
                  </a:cxn>
                  <a:cxn ang="0">
                    <a:pos x="205" y="29"/>
                  </a:cxn>
                  <a:cxn ang="0">
                    <a:pos x="234" y="20"/>
                  </a:cxn>
                  <a:cxn ang="0">
                    <a:pos x="244" y="20"/>
                  </a:cxn>
                  <a:cxn ang="0">
                    <a:pos x="292" y="10"/>
                  </a:cxn>
                  <a:cxn ang="0">
                    <a:pos x="331" y="10"/>
                  </a:cxn>
                  <a:cxn ang="0">
                    <a:pos x="370" y="10"/>
                  </a:cxn>
                  <a:cxn ang="0">
                    <a:pos x="380" y="20"/>
                  </a:cxn>
                  <a:cxn ang="0">
                    <a:pos x="409" y="10"/>
                  </a:cxn>
                  <a:cxn ang="0">
                    <a:pos x="429" y="29"/>
                  </a:cxn>
                  <a:cxn ang="0">
                    <a:pos x="478" y="49"/>
                  </a:cxn>
                  <a:cxn ang="0">
                    <a:pos x="526" y="39"/>
                  </a:cxn>
                  <a:cxn ang="0">
                    <a:pos x="546" y="29"/>
                  </a:cxn>
                  <a:cxn ang="0">
                    <a:pos x="604" y="20"/>
                  </a:cxn>
                  <a:cxn ang="0">
                    <a:pos x="624" y="59"/>
                  </a:cxn>
                  <a:cxn ang="0">
                    <a:pos x="585" y="98"/>
                  </a:cxn>
                  <a:cxn ang="0">
                    <a:pos x="497" y="117"/>
                  </a:cxn>
                  <a:cxn ang="0">
                    <a:pos x="429" y="107"/>
                  </a:cxn>
                  <a:cxn ang="0">
                    <a:pos x="361" y="107"/>
                  </a:cxn>
                  <a:cxn ang="0">
                    <a:pos x="341" y="98"/>
                  </a:cxn>
                  <a:cxn ang="0">
                    <a:pos x="302" y="117"/>
                  </a:cxn>
                  <a:cxn ang="0">
                    <a:pos x="283" y="117"/>
                  </a:cxn>
                  <a:cxn ang="0">
                    <a:pos x="263" y="137"/>
                  </a:cxn>
                  <a:cxn ang="0">
                    <a:pos x="234" y="137"/>
                  </a:cxn>
                  <a:cxn ang="0">
                    <a:pos x="234" y="117"/>
                  </a:cxn>
                  <a:cxn ang="0">
                    <a:pos x="205" y="137"/>
                  </a:cxn>
                  <a:cxn ang="0">
                    <a:pos x="195" y="137"/>
                  </a:cxn>
                  <a:cxn ang="0">
                    <a:pos x="165" y="156"/>
                  </a:cxn>
                  <a:cxn ang="0">
                    <a:pos x="156" y="137"/>
                  </a:cxn>
                  <a:cxn ang="0">
                    <a:pos x="146" y="166"/>
                  </a:cxn>
                  <a:cxn ang="0">
                    <a:pos x="126" y="176"/>
                  </a:cxn>
                  <a:cxn ang="0">
                    <a:pos x="107" y="156"/>
                  </a:cxn>
                  <a:cxn ang="0">
                    <a:pos x="97" y="195"/>
                  </a:cxn>
                  <a:cxn ang="0">
                    <a:pos x="87" y="195"/>
                  </a:cxn>
                  <a:cxn ang="0">
                    <a:pos x="68" y="205"/>
                  </a:cxn>
                  <a:cxn ang="0">
                    <a:pos x="58" y="176"/>
                  </a:cxn>
                  <a:cxn ang="0">
                    <a:pos x="19" y="146"/>
                  </a:cxn>
                </a:cxnLst>
                <a:rect l="0" t="0" r="r" b="b"/>
                <a:pathLst>
                  <a:path w="624" h="205">
                    <a:moveTo>
                      <a:pt x="0" y="146"/>
                    </a:moveTo>
                    <a:lnTo>
                      <a:pt x="9" y="137"/>
                    </a:lnTo>
                    <a:lnTo>
                      <a:pt x="9" y="127"/>
                    </a:lnTo>
                    <a:lnTo>
                      <a:pt x="39" y="127"/>
                    </a:lnTo>
                    <a:lnTo>
                      <a:pt x="48" y="137"/>
                    </a:lnTo>
                    <a:lnTo>
                      <a:pt x="48" y="127"/>
                    </a:lnTo>
                    <a:lnTo>
                      <a:pt x="39" y="117"/>
                    </a:lnTo>
                    <a:lnTo>
                      <a:pt x="19" y="127"/>
                    </a:lnTo>
                    <a:lnTo>
                      <a:pt x="19" y="117"/>
                    </a:lnTo>
                    <a:lnTo>
                      <a:pt x="19" y="98"/>
                    </a:lnTo>
                    <a:lnTo>
                      <a:pt x="29" y="98"/>
                    </a:lnTo>
                    <a:lnTo>
                      <a:pt x="58" y="98"/>
                    </a:lnTo>
                    <a:lnTo>
                      <a:pt x="68" y="107"/>
                    </a:lnTo>
                    <a:lnTo>
                      <a:pt x="68" y="98"/>
                    </a:lnTo>
                    <a:lnTo>
                      <a:pt x="78" y="88"/>
                    </a:lnTo>
                    <a:lnTo>
                      <a:pt x="87" y="88"/>
                    </a:lnTo>
                    <a:lnTo>
                      <a:pt x="87" y="98"/>
                    </a:lnTo>
                    <a:lnTo>
                      <a:pt x="107" y="117"/>
                    </a:lnTo>
                    <a:lnTo>
                      <a:pt x="107" y="98"/>
                    </a:lnTo>
                    <a:lnTo>
                      <a:pt x="97" y="88"/>
                    </a:lnTo>
                    <a:lnTo>
                      <a:pt x="97" y="78"/>
                    </a:lnTo>
                    <a:lnTo>
                      <a:pt x="107" y="88"/>
                    </a:lnTo>
                    <a:lnTo>
                      <a:pt x="117" y="88"/>
                    </a:lnTo>
                    <a:lnTo>
                      <a:pt x="107" y="78"/>
                    </a:lnTo>
                    <a:lnTo>
                      <a:pt x="117" y="68"/>
                    </a:lnTo>
                    <a:lnTo>
                      <a:pt x="126" y="78"/>
                    </a:lnTo>
                    <a:lnTo>
                      <a:pt x="136" y="78"/>
                    </a:lnTo>
                    <a:lnTo>
                      <a:pt x="126" y="68"/>
                    </a:lnTo>
                    <a:lnTo>
                      <a:pt x="136" y="59"/>
                    </a:lnTo>
                    <a:lnTo>
                      <a:pt x="146" y="68"/>
                    </a:lnTo>
                    <a:lnTo>
                      <a:pt x="165" y="68"/>
                    </a:lnTo>
                    <a:lnTo>
                      <a:pt x="165" y="78"/>
                    </a:lnTo>
                    <a:lnTo>
                      <a:pt x="175" y="78"/>
                    </a:lnTo>
                    <a:lnTo>
                      <a:pt x="165" y="68"/>
                    </a:lnTo>
                    <a:lnTo>
                      <a:pt x="165" y="59"/>
                    </a:lnTo>
                    <a:lnTo>
                      <a:pt x="156" y="59"/>
                    </a:lnTo>
                    <a:lnTo>
                      <a:pt x="156" y="49"/>
                    </a:lnTo>
                    <a:lnTo>
                      <a:pt x="185" y="59"/>
                    </a:lnTo>
                    <a:lnTo>
                      <a:pt x="185" y="39"/>
                    </a:lnTo>
                    <a:lnTo>
                      <a:pt x="175" y="39"/>
                    </a:lnTo>
                    <a:lnTo>
                      <a:pt x="165" y="29"/>
                    </a:lnTo>
                    <a:lnTo>
                      <a:pt x="175" y="20"/>
                    </a:lnTo>
                    <a:lnTo>
                      <a:pt x="185" y="20"/>
                    </a:lnTo>
                    <a:lnTo>
                      <a:pt x="195" y="29"/>
                    </a:lnTo>
                    <a:lnTo>
                      <a:pt x="185" y="39"/>
                    </a:lnTo>
                    <a:lnTo>
                      <a:pt x="195" y="39"/>
                    </a:lnTo>
                    <a:lnTo>
                      <a:pt x="205" y="29"/>
                    </a:lnTo>
                    <a:lnTo>
                      <a:pt x="214" y="29"/>
                    </a:lnTo>
                    <a:lnTo>
                      <a:pt x="214" y="20"/>
                    </a:lnTo>
                    <a:lnTo>
                      <a:pt x="224" y="20"/>
                    </a:lnTo>
                    <a:lnTo>
                      <a:pt x="234" y="20"/>
                    </a:lnTo>
                    <a:lnTo>
                      <a:pt x="234" y="39"/>
                    </a:lnTo>
                    <a:lnTo>
                      <a:pt x="244" y="39"/>
                    </a:lnTo>
                    <a:lnTo>
                      <a:pt x="244" y="29"/>
                    </a:lnTo>
                    <a:lnTo>
                      <a:pt x="244" y="20"/>
                    </a:lnTo>
                    <a:lnTo>
                      <a:pt x="253" y="10"/>
                    </a:lnTo>
                    <a:lnTo>
                      <a:pt x="273" y="20"/>
                    </a:lnTo>
                    <a:lnTo>
                      <a:pt x="273" y="10"/>
                    </a:lnTo>
                    <a:lnTo>
                      <a:pt x="292" y="10"/>
                    </a:lnTo>
                    <a:lnTo>
                      <a:pt x="292" y="0"/>
                    </a:lnTo>
                    <a:lnTo>
                      <a:pt x="312" y="10"/>
                    </a:lnTo>
                    <a:lnTo>
                      <a:pt x="331" y="10"/>
                    </a:lnTo>
                    <a:lnTo>
                      <a:pt x="331" y="20"/>
                    </a:lnTo>
                    <a:lnTo>
                      <a:pt x="351" y="20"/>
                    </a:lnTo>
                    <a:lnTo>
                      <a:pt x="351" y="10"/>
                    </a:lnTo>
                    <a:lnTo>
                      <a:pt x="370" y="10"/>
                    </a:lnTo>
                    <a:lnTo>
                      <a:pt x="370" y="20"/>
                    </a:lnTo>
                    <a:lnTo>
                      <a:pt x="361" y="20"/>
                    </a:lnTo>
                    <a:lnTo>
                      <a:pt x="370" y="20"/>
                    </a:lnTo>
                    <a:lnTo>
                      <a:pt x="380" y="20"/>
                    </a:lnTo>
                    <a:lnTo>
                      <a:pt x="380" y="10"/>
                    </a:lnTo>
                    <a:lnTo>
                      <a:pt x="390" y="0"/>
                    </a:lnTo>
                    <a:lnTo>
                      <a:pt x="400" y="0"/>
                    </a:lnTo>
                    <a:lnTo>
                      <a:pt x="409" y="10"/>
                    </a:lnTo>
                    <a:lnTo>
                      <a:pt x="409" y="20"/>
                    </a:lnTo>
                    <a:lnTo>
                      <a:pt x="429" y="20"/>
                    </a:lnTo>
                    <a:lnTo>
                      <a:pt x="429" y="39"/>
                    </a:lnTo>
                    <a:lnTo>
                      <a:pt x="429" y="29"/>
                    </a:lnTo>
                    <a:lnTo>
                      <a:pt x="439" y="39"/>
                    </a:lnTo>
                    <a:lnTo>
                      <a:pt x="458" y="39"/>
                    </a:lnTo>
                    <a:lnTo>
                      <a:pt x="468" y="39"/>
                    </a:lnTo>
                    <a:lnTo>
                      <a:pt x="478" y="49"/>
                    </a:lnTo>
                    <a:lnTo>
                      <a:pt x="497" y="39"/>
                    </a:lnTo>
                    <a:lnTo>
                      <a:pt x="507" y="39"/>
                    </a:lnTo>
                    <a:lnTo>
                      <a:pt x="526" y="39"/>
                    </a:lnTo>
                    <a:lnTo>
                      <a:pt x="526" y="49"/>
                    </a:lnTo>
                    <a:lnTo>
                      <a:pt x="536" y="39"/>
                    </a:lnTo>
                    <a:lnTo>
                      <a:pt x="536" y="29"/>
                    </a:lnTo>
                    <a:lnTo>
                      <a:pt x="546" y="29"/>
                    </a:lnTo>
                    <a:lnTo>
                      <a:pt x="556" y="29"/>
                    </a:lnTo>
                    <a:lnTo>
                      <a:pt x="565" y="20"/>
                    </a:lnTo>
                    <a:lnTo>
                      <a:pt x="575" y="20"/>
                    </a:lnTo>
                    <a:lnTo>
                      <a:pt x="604" y="20"/>
                    </a:lnTo>
                    <a:lnTo>
                      <a:pt x="614" y="29"/>
                    </a:lnTo>
                    <a:lnTo>
                      <a:pt x="624" y="39"/>
                    </a:lnTo>
                    <a:lnTo>
                      <a:pt x="624" y="49"/>
                    </a:lnTo>
                    <a:lnTo>
                      <a:pt x="624" y="59"/>
                    </a:lnTo>
                    <a:lnTo>
                      <a:pt x="624" y="78"/>
                    </a:lnTo>
                    <a:lnTo>
                      <a:pt x="614" y="88"/>
                    </a:lnTo>
                    <a:lnTo>
                      <a:pt x="604" y="88"/>
                    </a:lnTo>
                    <a:lnTo>
                      <a:pt x="585" y="98"/>
                    </a:lnTo>
                    <a:lnTo>
                      <a:pt x="575" y="107"/>
                    </a:lnTo>
                    <a:lnTo>
                      <a:pt x="565" y="107"/>
                    </a:lnTo>
                    <a:lnTo>
                      <a:pt x="526" y="117"/>
                    </a:lnTo>
                    <a:lnTo>
                      <a:pt x="497" y="117"/>
                    </a:lnTo>
                    <a:lnTo>
                      <a:pt x="487" y="117"/>
                    </a:lnTo>
                    <a:lnTo>
                      <a:pt x="468" y="117"/>
                    </a:lnTo>
                    <a:lnTo>
                      <a:pt x="448" y="107"/>
                    </a:lnTo>
                    <a:lnTo>
                      <a:pt x="429" y="107"/>
                    </a:lnTo>
                    <a:lnTo>
                      <a:pt x="419" y="98"/>
                    </a:lnTo>
                    <a:lnTo>
                      <a:pt x="409" y="107"/>
                    </a:lnTo>
                    <a:lnTo>
                      <a:pt x="380" y="107"/>
                    </a:lnTo>
                    <a:lnTo>
                      <a:pt x="361" y="107"/>
                    </a:lnTo>
                    <a:lnTo>
                      <a:pt x="341" y="107"/>
                    </a:lnTo>
                    <a:lnTo>
                      <a:pt x="331" y="117"/>
                    </a:lnTo>
                    <a:lnTo>
                      <a:pt x="331" y="107"/>
                    </a:lnTo>
                    <a:lnTo>
                      <a:pt x="341" y="98"/>
                    </a:lnTo>
                    <a:lnTo>
                      <a:pt x="331" y="98"/>
                    </a:lnTo>
                    <a:lnTo>
                      <a:pt x="322" y="107"/>
                    </a:lnTo>
                    <a:lnTo>
                      <a:pt x="312" y="107"/>
                    </a:lnTo>
                    <a:lnTo>
                      <a:pt x="302" y="117"/>
                    </a:lnTo>
                    <a:lnTo>
                      <a:pt x="292" y="107"/>
                    </a:lnTo>
                    <a:lnTo>
                      <a:pt x="283" y="107"/>
                    </a:lnTo>
                    <a:lnTo>
                      <a:pt x="283" y="117"/>
                    </a:lnTo>
                    <a:lnTo>
                      <a:pt x="292" y="127"/>
                    </a:lnTo>
                    <a:lnTo>
                      <a:pt x="283" y="127"/>
                    </a:lnTo>
                    <a:lnTo>
                      <a:pt x="273" y="127"/>
                    </a:lnTo>
                    <a:lnTo>
                      <a:pt x="263" y="137"/>
                    </a:lnTo>
                    <a:lnTo>
                      <a:pt x="253" y="127"/>
                    </a:lnTo>
                    <a:lnTo>
                      <a:pt x="244" y="137"/>
                    </a:lnTo>
                    <a:lnTo>
                      <a:pt x="234" y="137"/>
                    </a:lnTo>
                    <a:lnTo>
                      <a:pt x="234" y="127"/>
                    </a:lnTo>
                    <a:lnTo>
                      <a:pt x="244" y="117"/>
                    </a:lnTo>
                    <a:lnTo>
                      <a:pt x="234" y="117"/>
                    </a:lnTo>
                    <a:lnTo>
                      <a:pt x="234" y="127"/>
                    </a:lnTo>
                    <a:lnTo>
                      <a:pt x="224" y="137"/>
                    </a:lnTo>
                    <a:lnTo>
                      <a:pt x="205" y="137"/>
                    </a:lnTo>
                    <a:lnTo>
                      <a:pt x="205" y="117"/>
                    </a:lnTo>
                    <a:lnTo>
                      <a:pt x="195" y="117"/>
                    </a:lnTo>
                    <a:lnTo>
                      <a:pt x="195" y="127"/>
                    </a:lnTo>
                    <a:lnTo>
                      <a:pt x="195" y="137"/>
                    </a:lnTo>
                    <a:lnTo>
                      <a:pt x="195" y="146"/>
                    </a:lnTo>
                    <a:lnTo>
                      <a:pt x="185" y="156"/>
                    </a:lnTo>
                    <a:lnTo>
                      <a:pt x="165" y="156"/>
                    </a:lnTo>
                    <a:lnTo>
                      <a:pt x="165" y="166"/>
                    </a:lnTo>
                    <a:lnTo>
                      <a:pt x="156" y="166"/>
                    </a:lnTo>
                    <a:lnTo>
                      <a:pt x="156" y="146"/>
                    </a:lnTo>
                    <a:lnTo>
                      <a:pt x="156" y="137"/>
                    </a:lnTo>
                    <a:lnTo>
                      <a:pt x="146" y="137"/>
                    </a:lnTo>
                    <a:lnTo>
                      <a:pt x="146" y="146"/>
                    </a:lnTo>
                    <a:lnTo>
                      <a:pt x="146" y="156"/>
                    </a:lnTo>
                    <a:lnTo>
                      <a:pt x="146" y="166"/>
                    </a:lnTo>
                    <a:lnTo>
                      <a:pt x="136" y="176"/>
                    </a:lnTo>
                    <a:lnTo>
                      <a:pt x="136" y="186"/>
                    </a:lnTo>
                    <a:lnTo>
                      <a:pt x="126" y="176"/>
                    </a:lnTo>
                    <a:lnTo>
                      <a:pt x="126" y="156"/>
                    </a:lnTo>
                    <a:lnTo>
                      <a:pt x="117" y="146"/>
                    </a:lnTo>
                    <a:lnTo>
                      <a:pt x="107" y="156"/>
                    </a:lnTo>
                    <a:lnTo>
                      <a:pt x="117" y="176"/>
                    </a:lnTo>
                    <a:lnTo>
                      <a:pt x="117" y="195"/>
                    </a:lnTo>
                    <a:lnTo>
                      <a:pt x="97" y="195"/>
                    </a:lnTo>
                    <a:lnTo>
                      <a:pt x="97" y="176"/>
                    </a:lnTo>
                    <a:lnTo>
                      <a:pt x="97" y="166"/>
                    </a:lnTo>
                    <a:lnTo>
                      <a:pt x="87" y="176"/>
                    </a:lnTo>
                    <a:lnTo>
                      <a:pt x="87" y="195"/>
                    </a:lnTo>
                    <a:lnTo>
                      <a:pt x="78" y="205"/>
                    </a:lnTo>
                    <a:lnTo>
                      <a:pt x="68" y="195"/>
                    </a:lnTo>
                    <a:lnTo>
                      <a:pt x="68" y="205"/>
                    </a:lnTo>
                    <a:lnTo>
                      <a:pt x="58" y="205"/>
                    </a:lnTo>
                    <a:lnTo>
                      <a:pt x="48" y="195"/>
                    </a:lnTo>
                    <a:lnTo>
                      <a:pt x="58" y="195"/>
                    </a:lnTo>
                    <a:lnTo>
                      <a:pt x="58" y="176"/>
                    </a:lnTo>
                    <a:lnTo>
                      <a:pt x="48" y="176"/>
                    </a:lnTo>
                    <a:lnTo>
                      <a:pt x="39" y="176"/>
                    </a:lnTo>
                    <a:lnTo>
                      <a:pt x="29" y="156"/>
                    </a:lnTo>
                    <a:lnTo>
                      <a:pt x="19" y="146"/>
                    </a:lnTo>
                    <a:lnTo>
                      <a:pt x="9" y="146"/>
                    </a:lnTo>
                    <a:lnTo>
                      <a:pt x="0" y="146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62" name="Group 33"/>
            <p:cNvGrpSpPr>
              <a:grpSpLocks/>
            </p:cNvGrpSpPr>
            <p:nvPr/>
          </p:nvGrpSpPr>
          <p:grpSpPr bwMode="auto">
            <a:xfrm>
              <a:off x="3648" y="1054"/>
              <a:ext cx="263" cy="322"/>
              <a:chOff x="3648" y="1054"/>
              <a:chExt cx="263" cy="322"/>
            </a:xfrm>
          </p:grpSpPr>
          <p:sp>
            <p:nvSpPr>
              <p:cNvPr id="280" name="Freeform 35"/>
              <p:cNvSpPr>
                <a:spLocks/>
              </p:cNvSpPr>
              <p:nvPr/>
            </p:nvSpPr>
            <p:spPr bwMode="auto">
              <a:xfrm>
                <a:off x="3648" y="1053"/>
                <a:ext cx="264" cy="322"/>
              </a:xfrm>
              <a:custGeom>
                <a:avLst/>
                <a:gdLst>
                  <a:gd name="T0" fmla="*/ 127 w 263"/>
                  <a:gd name="T1" fmla="*/ 312 h 322"/>
                  <a:gd name="T2" fmla="*/ 117 w 263"/>
                  <a:gd name="T3" fmla="*/ 283 h 322"/>
                  <a:gd name="T4" fmla="*/ 117 w 263"/>
                  <a:gd name="T5" fmla="*/ 244 h 322"/>
                  <a:gd name="T6" fmla="*/ 137 w 263"/>
                  <a:gd name="T7" fmla="*/ 185 h 322"/>
                  <a:gd name="T8" fmla="*/ 137 w 263"/>
                  <a:gd name="T9" fmla="*/ 156 h 322"/>
                  <a:gd name="T10" fmla="*/ 166 w 263"/>
                  <a:gd name="T11" fmla="*/ 136 h 322"/>
                  <a:gd name="T12" fmla="*/ 176 w 263"/>
                  <a:gd name="T13" fmla="*/ 127 h 322"/>
                  <a:gd name="T14" fmla="*/ 185 w 263"/>
                  <a:gd name="T15" fmla="*/ 107 h 322"/>
                  <a:gd name="T16" fmla="*/ 205 w 263"/>
                  <a:gd name="T17" fmla="*/ 97 h 322"/>
                  <a:gd name="T18" fmla="*/ 215 w 263"/>
                  <a:gd name="T19" fmla="*/ 88 h 322"/>
                  <a:gd name="T20" fmla="*/ 234 w 263"/>
                  <a:gd name="T21" fmla="*/ 97 h 322"/>
                  <a:gd name="T22" fmla="*/ 244 w 263"/>
                  <a:gd name="T23" fmla="*/ 78 h 322"/>
                  <a:gd name="T24" fmla="*/ 244 w 263"/>
                  <a:gd name="T25" fmla="*/ 68 h 322"/>
                  <a:gd name="T26" fmla="*/ 263 w 263"/>
                  <a:gd name="T27" fmla="*/ 78 h 322"/>
                  <a:gd name="T28" fmla="*/ 263 w 263"/>
                  <a:gd name="T29" fmla="*/ 58 h 322"/>
                  <a:gd name="T30" fmla="*/ 244 w 263"/>
                  <a:gd name="T31" fmla="*/ 29 h 322"/>
                  <a:gd name="T32" fmla="*/ 215 w 263"/>
                  <a:gd name="T33" fmla="*/ 19 h 322"/>
                  <a:gd name="T34" fmla="*/ 195 w 263"/>
                  <a:gd name="T35" fmla="*/ 0 h 322"/>
                  <a:gd name="T36" fmla="*/ 176 w 263"/>
                  <a:gd name="T37" fmla="*/ 9 h 322"/>
                  <a:gd name="T38" fmla="*/ 166 w 263"/>
                  <a:gd name="T39" fmla="*/ 19 h 322"/>
                  <a:gd name="T40" fmla="*/ 156 w 263"/>
                  <a:gd name="T41" fmla="*/ 29 h 322"/>
                  <a:gd name="T42" fmla="*/ 137 w 263"/>
                  <a:gd name="T43" fmla="*/ 19 h 322"/>
                  <a:gd name="T44" fmla="*/ 117 w 263"/>
                  <a:gd name="T45" fmla="*/ 29 h 322"/>
                  <a:gd name="T46" fmla="*/ 127 w 263"/>
                  <a:gd name="T47" fmla="*/ 39 h 322"/>
                  <a:gd name="T48" fmla="*/ 127 w 263"/>
                  <a:gd name="T49" fmla="*/ 49 h 322"/>
                  <a:gd name="T50" fmla="*/ 117 w 263"/>
                  <a:gd name="T51" fmla="*/ 39 h 322"/>
                  <a:gd name="T52" fmla="*/ 98 w 263"/>
                  <a:gd name="T53" fmla="*/ 58 h 322"/>
                  <a:gd name="T54" fmla="*/ 88 w 263"/>
                  <a:gd name="T55" fmla="*/ 58 h 322"/>
                  <a:gd name="T56" fmla="*/ 78 w 263"/>
                  <a:gd name="T57" fmla="*/ 78 h 322"/>
                  <a:gd name="T58" fmla="*/ 68 w 263"/>
                  <a:gd name="T59" fmla="*/ 68 h 322"/>
                  <a:gd name="T60" fmla="*/ 59 w 263"/>
                  <a:gd name="T61" fmla="*/ 58 h 322"/>
                  <a:gd name="T62" fmla="*/ 39 w 263"/>
                  <a:gd name="T63" fmla="*/ 58 h 322"/>
                  <a:gd name="T64" fmla="*/ 10 w 263"/>
                  <a:gd name="T65" fmla="*/ 88 h 322"/>
                  <a:gd name="T66" fmla="*/ 0 w 263"/>
                  <a:gd name="T67" fmla="*/ 107 h 322"/>
                  <a:gd name="T68" fmla="*/ 10 w 263"/>
                  <a:gd name="T69" fmla="*/ 127 h 322"/>
                  <a:gd name="T70" fmla="*/ 29 w 263"/>
                  <a:gd name="T71" fmla="*/ 117 h 322"/>
                  <a:gd name="T72" fmla="*/ 29 w 263"/>
                  <a:gd name="T73" fmla="*/ 136 h 322"/>
                  <a:gd name="T74" fmla="*/ 49 w 263"/>
                  <a:gd name="T75" fmla="*/ 156 h 322"/>
                  <a:gd name="T76" fmla="*/ 49 w 263"/>
                  <a:gd name="T77" fmla="*/ 156 h 322"/>
                  <a:gd name="T78" fmla="*/ 59 w 263"/>
                  <a:gd name="T79" fmla="*/ 166 h 322"/>
                  <a:gd name="T80" fmla="*/ 49 w 263"/>
                  <a:gd name="T81" fmla="*/ 175 h 322"/>
                  <a:gd name="T82" fmla="*/ 39 w 263"/>
                  <a:gd name="T83" fmla="*/ 185 h 322"/>
                  <a:gd name="T84" fmla="*/ 49 w 263"/>
                  <a:gd name="T85" fmla="*/ 195 h 322"/>
                  <a:gd name="T86" fmla="*/ 39 w 263"/>
                  <a:gd name="T87" fmla="*/ 205 h 322"/>
                  <a:gd name="T88" fmla="*/ 29 w 263"/>
                  <a:gd name="T89" fmla="*/ 195 h 322"/>
                  <a:gd name="T90" fmla="*/ 10 w 263"/>
                  <a:gd name="T91" fmla="*/ 214 h 322"/>
                  <a:gd name="T92" fmla="*/ 20 w 263"/>
                  <a:gd name="T93" fmla="*/ 234 h 322"/>
                  <a:gd name="T94" fmla="*/ 39 w 263"/>
                  <a:gd name="T95" fmla="*/ 244 h 322"/>
                  <a:gd name="T96" fmla="*/ 39 w 263"/>
                  <a:gd name="T97" fmla="*/ 253 h 322"/>
                  <a:gd name="T98" fmla="*/ 49 w 263"/>
                  <a:gd name="T99" fmla="*/ 273 h 322"/>
                  <a:gd name="T100" fmla="*/ 59 w 263"/>
                  <a:gd name="T101" fmla="*/ 263 h 322"/>
                  <a:gd name="T102" fmla="*/ 78 w 263"/>
                  <a:gd name="T103" fmla="*/ 302 h 322"/>
                  <a:gd name="T104" fmla="*/ 88 w 263"/>
                  <a:gd name="T105" fmla="*/ 292 h 322"/>
                  <a:gd name="T106" fmla="*/ 88 w 263"/>
                  <a:gd name="T107" fmla="*/ 283 h 322"/>
                  <a:gd name="T108" fmla="*/ 88 w 263"/>
                  <a:gd name="T109" fmla="*/ 302 h 322"/>
                  <a:gd name="T110" fmla="*/ 107 w 263"/>
                  <a:gd name="T111" fmla="*/ 322 h 32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63"/>
                  <a:gd name="T169" fmla="*/ 0 h 322"/>
                  <a:gd name="T170" fmla="*/ 263 w 263"/>
                  <a:gd name="T171" fmla="*/ 322 h 32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  <a:close/>
                  </a:path>
                </a:pathLst>
              </a:custGeom>
              <a:solidFill>
                <a:srgbClr val="8DB3E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1" name="Freeform 34"/>
              <p:cNvSpPr>
                <a:spLocks/>
              </p:cNvSpPr>
              <p:nvPr/>
            </p:nvSpPr>
            <p:spPr bwMode="auto">
              <a:xfrm>
                <a:off x="3648" y="1053"/>
                <a:ext cx="264" cy="322"/>
              </a:xfrm>
              <a:custGeom>
                <a:avLst/>
                <a:gdLst/>
                <a:ahLst/>
                <a:cxnLst>
                  <a:cxn ang="0">
                    <a:pos x="127" y="312"/>
                  </a:cxn>
                  <a:cxn ang="0">
                    <a:pos x="117" y="283"/>
                  </a:cxn>
                  <a:cxn ang="0">
                    <a:pos x="117" y="244"/>
                  </a:cxn>
                  <a:cxn ang="0">
                    <a:pos x="137" y="185"/>
                  </a:cxn>
                  <a:cxn ang="0">
                    <a:pos x="137" y="156"/>
                  </a:cxn>
                  <a:cxn ang="0">
                    <a:pos x="166" y="136"/>
                  </a:cxn>
                  <a:cxn ang="0">
                    <a:pos x="176" y="127"/>
                  </a:cxn>
                  <a:cxn ang="0">
                    <a:pos x="185" y="107"/>
                  </a:cxn>
                  <a:cxn ang="0">
                    <a:pos x="205" y="97"/>
                  </a:cxn>
                  <a:cxn ang="0">
                    <a:pos x="215" y="88"/>
                  </a:cxn>
                  <a:cxn ang="0">
                    <a:pos x="234" y="97"/>
                  </a:cxn>
                  <a:cxn ang="0">
                    <a:pos x="244" y="78"/>
                  </a:cxn>
                  <a:cxn ang="0">
                    <a:pos x="244" y="68"/>
                  </a:cxn>
                  <a:cxn ang="0">
                    <a:pos x="263" y="78"/>
                  </a:cxn>
                  <a:cxn ang="0">
                    <a:pos x="263" y="58"/>
                  </a:cxn>
                  <a:cxn ang="0">
                    <a:pos x="244" y="29"/>
                  </a:cxn>
                  <a:cxn ang="0">
                    <a:pos x="215" y="19"/>
                  </a:cxn>
                  <a:cxn ang="0">
                    <a:pos x="195" y="0"/>
                  </a:cxn>
                  <a:cxn ang="0">
                    <a:pos x="176" y="9"/>
                  </a:cxn>
                  <a:cxn ang="0">
                    <a:pos x="166" y="19"/>
                  </a:cxn>
                  <a:cxn ang="0">
                    <a:pos x="156" y="29"/>
                  </a:cxn>
                  <a:cxn ang="0">
                    <a:pos x="137" y="19"/>
                  </a:cxn>
                  <a:cxn ang="0">
                    <a:pos x="117" y="29"/>
                  </a:cxn>
                  <a:cxn ang="0">
                    <a:pos x="127" y="39"/>
                  </a:cxn>
                  <a:cxn ang="0">
                    <a:pos x="127" y="49"/>
                  </a:cxn>
                  <a:cxn ang="0">
                    <a:pos x="117" y="39"/>
                  </a:cxn>
                  <a:cxn ang="0">
                    <a:pos x="98" y="58"/>
                  </a:cxn>
                  <a:cxn ang="0">
                    <a:pos x="88" y="58"/>
                  </a:cxn>
                  <a:cxn ang="0">
                    <a:pos x="78" y="78"/>
                  </a:cxn>
                  <a:cxn ang="0">
                    <a:pos x="68" y="68"/>
                  </a:cxn>
                  <a:cxn ang="0">
                    <a:pos x="59" y="58"/>
                  </a:cxn>
                  <a:cxn ang="0">
                    <a:pos x="39" y="58"/>
                  </a:cxn>
                  <a:cxn ang="0">
                    <a:pos x="10" y="88"/>
                  </a:cxn>
                  <a:cxn ang="0">
                    <a:pos x="0" y="107"/>
                  </a:cxn>
                  <a:cxn ang="0">
                    <a:pos x="10" y="127"/>
                  </a:cxn>
                  <a:cxn ang="0">
                    <a:pos x="29" y="117"/>
                  </a:cxn>
                  <a:cxn ang="0">
                    <a:pos x="29" y="136"/>
                  </a:cxn>
                  <a:cxn ang="0">
                    <a:pos x="49" y="156"/>
                  </a:cxn>
                  <a:cxn ang="0">
                    <a:pos x="49" y="156"/>
                  </a:cxn>
                  <a:cxn ang="0">
                    <a:pos x="59" y="166"/>
                  </a:cxn>
                  <a:cxn ang="0">
                    <a:pos x="49" y="175"/>
                  </a:cxn>
                  <a:cxn ang="0">
                    <a:pos x="39" y="185"/>
                  </a:cxn>
                  <a:cxn ang="0">
                    <a:pos x="49" y="195"/>
                  </a:cxn>
                  <a:cxn ang="0">
                    <a:pos x="39" y="205"/>
                  </a:cxn>
                  <a:cxn ang="0">
                    <a:pos x="29" y="195"/>
                  </a:cxn>
                  <a:cxn ang="0">
                    <a:pos x="10" y="214"/>
                  </a:cxn>
                  <a:cxn ang="0">
                    <a:pos x="20" y="234"/>
                  </a:cxn>
                  <a:cxn ang="0">
                    <a:pos x="39" y="244"/>
                  </a:cxn>
                  <a:cxn ang="0">
                    <a:pos x="39" y="253"/>
                  </a:cxn>
                  <a:cxn ang="0">
                    <a:pos x="49" y="273"/>
                  </a:cxn>
                  <a:cxn ang="0">
                    <a:pos x="59" y="263"/>
                  </a:cxn>
                  <a:cxn ang="0">
                    <a:pos x="78" y="302"/>
                  </a:cxn>
                  <a:cxn ang="0">
                    <a:pos x="88" y="292"/>
                  </a:cxn>
                  <a:cxn ang="0">
                    <a:pos x="88" y="283"/>
                  </a:cxn>
                  <a:cxn ang="0">
                    <a:pos x="88" y="302"/>
                  </a:cxn>
                  <a:cxn ang="0">
                    <a:pos x="107" y="322"/>
                  </a:cxn>
                </a:cxnLst>
                <a:rect l="0" t="0" r="r" b="b"/>
                <a:pathLst>
                  <a:path w="263" h="322">
                    <a:moveTo>
                      <a:pt x="117" y="322"/>
                    </a:moveTo>
                    <a:lnTo>
                      <a:pt x="127" y="312"/>
                    </a:lnTo>
                    <a:lnTo>
                      <a:pt x="127" y="302"/>
                    </a:lnTo>
                    <a:lnTo>
                      <a:pt x="117" y="283"/>
                    </a:lnTo>
                    <a:lnTo>
                      <a:pt x="117" y="263"/>
                    </a:lnTo>
                    <a:lnTo>
                      <a:pt x="117" y="244"/>
                    </a:lnTo>
                    <a:lnTo>
                      <a:pt x="127" y="214"/>
                    </a:lnTo>
                    <a:lnTo>
                      <a:pt x="137" y="185"/>
                    </a:lnTo>
                    <a:lnTo>
                      <a:pt x="137" y="166"/>
                    </a:lnTo>
                    <a:lnTo>
                      <a:pt x="137" y="156"/>
                    </a:lnTo>
                    <a:lnTo>
                      <a:pt x="156" y="156"/>
                    </a:lnTo>
                    <a:lnTo>
                      <a:pt x="166" y="136"/>
                    </a:lnTo>
                    <a:lnTo>
                      <a:pt x="176" y="127"/>
                    </a:lnTo>
                    <a:lnTo>
                      <a:pt x="176" y="107"/>
                    </a:lnTo>
                    <a:lnTo>
                      <a:pt x="185" y="107"/>
                    </a:lnTo>
                    <a:lnTo>
                      <a:pt x="195" y="107"/>
                    </a:lnTo>
                    <a:lnTo>
                      <a:pt x="205" y="97"/>
                    </a:lnTo>
                    <a:lnTo>
                      <a:pt x="215" y="107"/>
                    </a:lnTo>
                    <a:lnTo>
                      <a:pt x="215" y="88"/>
                    </a:lnTo>
                    <a:lnTo>
                      <a:pt x="224" y="97"/>
                    </a:lnTo>
                    <a:lnTo>
                      <a:pt x="234" y="97"/>
                    </a:lnTo>
                    <a:lnTo>
                      <a:pt x="224" y="78"/>
                    </a:lnTo>
                    <a:lnTo>
                      <a:pt x="244" y="78"/>
                    </a:lnTo>
                    <a:lnTo>
                      <a:pt x="254" y="78"/>
                    </a:lnTo>
                    <a:lnTo>
                      <a:pt x="244" y="68"/>
                    </a:lnTo>
                    <a:lnTo>
                      <a:pt x="254" y="68"/>
                    </a:lnTo>
                    <a:lnTo>
                      <a:pt x="263" y="78"/>
                    </a:lnTo>
                    <a:lnTo>
                      <a:pt x="263" y="68"/>
                    </a:lnTo>
                    <a:lnTo>
                      <a:pt x="263" y="58"/>
                    </a:lnTo>
                    <a:lnTo>
                      <a:pt x="244" y="49"/>
                    </a:lnTo>
                    <a:lnTo>
                      <a:pt x="244" y="29"/>
                    </a:lnTo>
                    <a:lnTo>
                      <a:pt x="224" y="19"/>
                    </a:lnTo>
                    <a:lnTo>
                      <a:pt x="215" y="19"/>
                    </a:lnTo>
                    <a:lnTo>
                      <a:pt x="205" y="19"/>
                    </a:lnTo>
                    <a:lnTo>
                      <a:pt x="195" y="0"/>
                    </a:lnTo>
                    <a:lnTo>
                      <a:pt x="185" y="0"/>
                    </a:lnTo>
                    <a:lnTo>
                      <a:pt x="176" y="9"/>
                    </a:lnTo>
                    <a:lnTo>
                      <a:pt x="166" y="9"/>
                    </a:lnTo>
                    <a:lnTo>
                      <a:pt x="166" y="19"/>
                    </a:lnTo>
                    <a:lnTo>
                      <a:pt x="156" y="19"/>
                    </a:lnTo>
                    <a:lnTo>
                      <a:pt x="156" y="29"/>
                    </a:lnTo>
                    <a:lnTo>
                      <a:pt x="146" y="29"/>
                    </a:lnTo>
                    <a:lnTo>
                      <a:pt x="137" y="19"/>
                    </a:lnTo>
                    <a:lnTo>
                      <a:pt x="127" y="19"/>
                    </a:lnTo>
                    <a:lnTo>
                      <a:pt x="117" y="29"/>
                    </a:lnTo>
                    <a:lnTo>
                      <a:pt x="127" y="39"/>
                    </a:lnTo>
                    <a:lnTo>
                      <a:pt x="137" y="49"/>
                    </a:lnTo>
                    <a:lnTo>
                      <a:pt x="127" y="49"/>
                    </a:lnTo>
                    <a:lnTo>
                      <a:pt x="117" y="39"/>
                    </a:lnTo>
                    <a:lnTo>
                      <a:pt x="117" y="49"/>
                    </a:lnTo>
                    <a:lnTo>
                      <a:pt x="98" y="58"/>
                    </a:lnTo>
                    <a:lnTo>
                      <a:pt x="88" y="58"/>
                    </a:lnTo>
                    <a:lnTo>
                      <a:pt x="88" y="68"/>
                    </a:lnTo>
                    <a:lnTo>
                      <a:pt x="78" y="78"/>
                    </a:lnTo>
                    <a:lnTo>
                      <a:pt x="68" y="78"/>
                    </a:lnTo>
                    <a:lnTo>
                      <a:pt x="68" y="68"/>
                    </a:lnTo>
                    <a:lnTo>
                      <a:pt x="59" y="68"/>
                    </a:lnTo>
                    <a:lnTo>
                      <a:pt x="59" y="58"/>
                    </a:lnTo>
                    <a:lnTo>
                      <a:pt x="49" y="58"/>
                    </a:lnTo>
                    <a:lnTo>
                      <a:pt x="39" y="58"/>
                    </a:lnTo>
                    <a:lnTo>
                      <a:pt x="29" y="78"/>
                    </a:lnTo>
                    <a:lnTo>
                      <a:pt x="10" y="88"/>
                    </a:lnTo>
                    <a:lnTo>
                      <a:pt x="10" y="97"/>
                    </a:lnTo>
                    <a:lnTo>
                      <a:pt x="0" y="107"/>
                    </a:lnTo>
                    <a:lnTo>
                      <a:pt x="0" y="117"/>
                    </a:lnTo>
                    <a:lnTo>
                      <a:pt x="10" y="127"/>
                    </a:lnTo>
                    <a:lnTo>
                      <a:pt x="20" y="127"/>
                    </a:lnTo>
                    <a:lnTo>
                      <a:pt x="29" y="117"/>
                    </a:lnTo>
                    <a:lnTo>
                      <a:pt x="39" y="127"/>
                    </a:lnTo>
                    <a:lnTo>
                      <a:pt x="29" y="136"/>
                    </a:lnTo>
                    <a:lnTo>
                      <a:pt x="39" y="146"/>
                    </a:lnTo>
                    <a:lnTo>
                      <a:pt x="49" y="156"/>
                    </a:lnTo>
                    <a:lnTo>
                      <a:pt x="49" y="166"/>
                    </a:lnTo>
                    <a:lnTo>
                      <a:pt x="59" y="166"/>
                    </a:lnTo>
                    <a:lnTo>
                      <a:pt x="68" y="166"/>
                    </a:lnTo>
                    <a:lnTo>
                      <a:pt x="49" y="175"/>
                    </a:lnTo>
                    <a:lnTo>
                      <a:pt x="39" y="175"/>
                    </a:lnTo>
                    <a:lnTo>
                      <a:pt x="39" y="185"/>
                    </a:lnTo>
                    <a:lnTo>
                      <a:pt x="49" y="195"/>
                    </a:lnTo>
                    <a:lnTo>
                      <a:pt x="49" y="205"/>
                    </a:lnTo>
                    <a:lnTo>
                      <a:pt x="39" y="205"/>
                    </a:lnTo>
                    <a:lnTo>
                      <a:pt x="29" y="195"/>
                    </a:lnTo>
                    <a:lnTo>
                      <a:pt x="20" y="205"/>
                    </a:lnTo>
                    <a:lnTo>
                      <a:pt x="10" y="214"/>
                    </a:lnTo>
                    <a:lnTo>
                      <a:pt x="20" y="224"/>
                    </a:lnTo>
                    <a:lnTo>
                      <a:pt x="20" y="234"/>
                    </a:lnTo>
                    <a:lnTo>
                      <a:pt x="29" y="244"/>
                    </a:lnTo>
                    <a:lnTo>
                      <a:pt x="39" y="244"/>
                    </a:lnTo>
                    <a:lnTo>
                      <a:pt x="39" y="253"/>
                    </a:lnTo>
                    <a:lnTo>
                      <a:pt x="39" y="263"/>
                    </a:lnTo>
                    <a:lnTo>
                      <a:pt x="49" y="273"/>
                    </a:lnTo>
                    <a:lnTo>
                      <a:pt x="59" y="263"/>
                    </a:lnTo>
                    <a:lnTo>
                      <a:pt x="59" y="283"/>
                    </a:lnTo>
                    <a:lnTo>
                      <a:pt x="78" y="302"/>
                    </a:lnTo>
                    <a:lnTo>
                      <a:pt x="88" y="302"/>
                    </a:lnTo>
                    <a:lnTo>
                      <a:pt x="88" y="292"/>
                    </a:lnTo>
                    <a:lnTo>
                      <a:pt x="88" y="283"/>
                    </a:lnTo>
                    <a:lnTo>
                      <a:pt x="88" y="292"/>
                    </a:lnTo>
                    <a:lnTo>
                      <a:pt x="88" y="302"/>
                    </a:lnTo>
                    <a:lnTo>
                      <a:pt x="107" y="322"/>
                    </a:lnTo>
                    <a:lnTo>
                      <a:pt x="117" y="322"/>
                    </a:lnTo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63" name="Group 30"/>
            <p:cNvGrpSpPr>
              <a:grpSpLocks/>
            </p:cNvGrpSpPr>
            <p:nvPr/>
          </p:nvGrpSpPr>
          <p:grpSpPr bwMode="auto">
            <a:xfrm>
              <a:off x="3755" y="1424"/>
              <a:ext cx="59" cy="98"/>
              <a:chOff x="3755" y="1424"/>
              <a:chExt cx="59" cy="98"/>
            </a:xfrm>
          </p:grpSpPr>
          <p:sp>
            <p:nvSpPr>
              <p:cNvPr id="278" name="Freeform 32"/>
              <p:cNvSpPr>
                <a:spLocks/>
              </p:cNvSpPr>
              <p:nvPr/>
            </p:nvSpPr>
            <p:spPr bwMode="auto">
              <a:xfrm>
                <a:off x="3757" y="1425"/>
                <a:ext cx="58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  <a:close/>
                  </a:path>
                </a:pathLst>
              </a:custGeom>
              <a:solidFill>
                <a:srgbClr val="548DD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9" name="Freeform 31"/>
              <p:cNvSpPr>
                <a:spLocks/>
              </p:cNvSpPr>
              <p:nvPr/>
            </p:nvSpPr>
            <p:spPr bwMode="auto">
              <a:xfrm>
                <a:off x="3757" y="1425"/>
                <a:ext cx="58" cy="99"/>
              </a:xfrm>
              <a:custGeom>
                <a:avLst/>
                <a:gdLst>
                  <a:gd name="T0" fmla="*/ 10 w 59"/>
                  <a:gd name="T1" fmla="*/ 59 h 98"/>
                  <a:gd name="T2" fmla="*/ 0 w 59"/>
                  <a:gd name="T3" fmla="*/ 40 h 98"/>
                  <a:gd name="T4" fmla="*/ 10 w 59"/>
                  <a:gd name="T5" fmla="*/ 30 h 98"/>
                  <a:gd name="T6" fmla="*/ 10 w 59"/>
                  <a:gd name="T7" fmla="*/ 20 h 98"/>
                  <a:gd name="T8" fmla="*/ 20 w 59"/>
                  <a:gd name="T9" fmla="*/ 10 h 98"/>
                  <a:gd name="T10" fmla="*/ 20 w 59"/>
                  <a:gd name="T11" fmla="*/ 20 h 98"/>
                  <a:gd name="T12" fmla="*/ 30 w 59"/>
                  <a:gd name="T13" fmla="*/ 20 h 98"/>
                  <a:gd name="T14" fmla="*/ 30 w 59"/>
                  <a:gd name="T15" fmla="*/ 10 h 98"/>
                  <a:gd name="T16" fmla="*/ 30 w 59"/>
                  <a:gd name="T17" fmla="*/ 0 h 98"/>
                  <a:gd name="T18" fmla="*/ 39 w 59"/>
                  <a:gd name="T19" fmla="*/ 10 h 98"/>
                  <a:gd name="T20" fmla="*/ 49 w 59"/>
                  <a:gd name="T21" fmla="*/ 10 h 98"/>
                  <a:gd name="T22" fmla="*/ 49 w 59"/>
                  <a:gd name="T23" fmla="*/ 20 h 98"/>
                  <a:gd name="T24" fmla="*/ 49 w 59"/>
                  <a:gd name="T25" fmla="*/ 40 h 98"/>
                  <a:gd name="T26" fmla="*/ 49 w 59"/>
                  <a:gd name="T27" fmla="*/ 59 h 98"/>
                  <a:gd name="T28" fmla="*/ 59 w 59"/>
                  <a:gd name="T29" fmla="*/ 59 h 98"/>
                  <a:gd name="T30" fmla="*/ 59 w 59"/>
                  <a:gd name="T31" fmla="*/ 69 h 98"/>
                  <a:gd name="T32" fmla="*/ 59 w 59"/>
                  <a:gd name="T33" fmla="*/ 88 h 98"/>
                  <a:gd name="T34" fmla="*/ 59 w 59"/>
                  <a:gd name="T35" fmla="*/ 98 h 98"/>
                  <a:gd name="T36" fmla="*/ 39 w 59"/>
                  <a:gd name="T37" fmla="*/ 98 h 98"/>
                  <a:gd name="T38" fmla="*/ 30 w 59"/>
                  <a:gd name="T39" fmla="*/ 98 h 98"/>
                  <a:gd name="T40" fmla="*/ 30 w 59"/>
                  <a:gd name="T41" fmla="*/ 98 h 98"/>
                  <a:gd name="T42" fmla="*/ 20 w 59"/>
                  <a:gd name="T43" fmla="*/ 88 h 98"/>
                  <a:gd name="T44" fmla="*/ 20 w 59"/>
                  <a:gd name="T45" fmla="*/ 79 h 98"/>
                  <a:gd name="T46" fmla="*/ 20 w 59"/>
                  <a:gd name="T47" fmla="*/ 69 h 98"/>
                  <a:gd name="T48" fmla="*/ 20 w 59"/>
                  <a:gd name="T49" fmla="*/ 59 h 98"/>
                  <a:gd name="T50" fmla="*/ 10 w 59"/>
                  <a:gd name="T51" fmla="*/ 59 h 9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98"/>
                  <a:gd name="T80" fmla="*/ 59 w 59"/>
                  <a:gd name="T81" fmla="*/ 98 h 98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98">
                    <a:moveTo>
                      <a:pt x="10" y="59"/>
                    </a:moveTo>
                    <a:lnTo>
                      <a:pt x="0" y="40"/>
                    </a:lnTo>
                    <a:lnTo>
                      <a:pt x="10" y="30"/>
                    </a:lnTo>
                    <a:lnTo>
                      <a:pt x="10" y="20"/>
                    </a:lnTo>
                    <a:lnTo>
                      <a:pt x="20" y="10"/>
                    </a:lnTo>
                    <a:lnTo>
                      <a:pt x="20" y="20"/>
                    </a:lnTo>
                    <a:lnTo>
                      <a:pt x="30" y="20"/>
                    </a:lnTo>
                    <a:lnTo>
                      <a:pt x="30" y="10"/>
                    </a:lnTo>
                    <a:lnTo>
                      <a:pt x="30" y="0"/>
                    </a:lnTo>
                    <a:lnTo>
                      <a:pt x="39" y="10"/>
                    </a:lnTo>
                    <a:lnTo>
                      <a:pt x="49" y="10"/>
                    </a:lnTo>
                    <a:lnTo>
                      <a:pt x="49" y="20"/>
                    </a:lnTo>
                    <a:lnTo>
                      <a:pt x="49" y="40"/>
                    </a:lnTo>
                    <a:lnTo>
                      <a:pt x="49" y="59"/>
                    </a:lnTo>
                    <a:lnTo>
                      <a:pt x="59" y="59"/>
                    </a:lnTo>
                    <a:lnTo>
                      <a:pt x="59" y="69"/>
                    </a:lnTo>
                    <a:lnTo>
                      <a:pt x="59" y="88"/>
                    </a:lnTo>
                    <a:lnTo>
                      <a:pt x="59" y="98"/>
                    </a:lnTo>
                    <a:lnTo>
                      <a:pt x="39" y="98"/>
                    </a:lnTo>
                    <a:lnTo>
                      <a:pt x="30" y="98"/>
                    </a:lnTo>
                    <a:lnTo>
                      <a:pt x="20" y="88"/>
                    </a:lnTo>
                    <a:lnTo>
                      <a:pt x="20" y="79"/>
                    </a:lnTo>
                    <a:lnTo>
                      <a:pt x="20" y="69"/>
                    </a:lnTo>
                    <a:lnTo>
                      <a:pt x="20" y="59"/>
                    </a:lnTo>
                    <a:lnTo>
                      <a:pt x="10" y="59"/>
                    </a:lnTo>
                  </a:path>
                </a:pathLst>
              </a:custGeom>
              <a:solidFill>
                <a:srgbClr val="C0C0C0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64" name="Group 27"/>
            <p:cNvGrpSpPr>
              <a:grpSpLocks/>
            </p:cNvGrpSpPr>
            <p:nvPr/>
          </p:nvGrpSpPr>
          <p:grpSpPr bwMode="auto">
            <a:xfrm>
              <a:off x="6720" y="1395"/>
              <a:ext cx="19" cy="20"/>
              <a:chOff x="6721" y="1395"/>
              <a:chExt cx="19" cy="20"/>
            </a:xfrm>
          </p:grpSpPr>
          <p:sp>
            <p:nvSpPr>
              <p:cNvPr id="276" name="Freeform 29"/>
              <p:cNvSpPr>
                <a:spLocks/>
              </p:cNvSpPr>
              <p:nvPr/>
            </p:nvSpPr>
            <p:spPr bwMode="auto">
              <a:xfrm>
                <a:off x="6720" y="1396"/>
                <a:ext cx="19" cy="19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7" name="Freeform 28"/>
              <p:cNvSpPr>
                <a:spLocks/>
              </p:cNvSpPr>
              <p:nvPr/>
            </p:nvSpPr>
            <p:spPr bwMode="auto">
              <a:xfrm>
                <a:off x="6720" y="1396"/>
                <a:ext cx="19" cy="19"/>
              </a:xfrm>
              <a:custGeom>
                <a:avLst/>
                <a:gdLst>
                  <a:gd name="T0" fmla="*/ 0 w 19"/>
                  <a:gd name="T1" fmla="*/ 10 h 20"/>
                  <a:gd name="T2" fmla="*/ 9 w 19"/>
                  <a:gd name="T3" fmla="*/ 0 h 20"/>
                  <a:gd name="T4" fmla="*/ 19 w 19"/>
                  <a:gd name="T5" fmla="*/ 0 h 20"/>
                  <a:gd name="T6" fmla="*/ 19 w 19"/>
                  <a:gd name="T7" fmla="*/ 10 h 20"/>
                  <a:gd name="T8" fmla="*/ 19 w 19"/>
                  <a:gd name="T9" fmla="*/ 10 h 20"/>
                  <a:gd name="T10" fmla="*/ 9 w 19"/>
                  <a:gd name="T11" fmla="*/ 10 h 20"/>
                  <a:gd name="T12" fmla="*/ 0 w 19"/>
                  <a:gd name="T13" fmla="*/ 20 h 20"/>
                  <a:gd name="T14" fmla="*/ 0 w 19"/>
                  <a:gd name="T15" fmla="*/ 20 h 20"/>
                  <a:gd name="T16" fmla="*/ 0 w 19"/>
                  <a:gd name="T17" fmla="*/ 10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"/>
                  <a:gd name="T28" fmla="*/ 0 h 20"/>
                  <a:gd name="T29" fmla="*/ 19 w 19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" h="20">
                    <a:moveTo>
                      <a:pt x="0" y="10"/>
                    </a:moveTo>
                    <a:lnTo>
                      <a:pt x="9" y="0"/>
                    </a:lnTo>
                    <a:lnTo>
                      <a:pt x="19" y="0"/>
                    </a:lnTo>
                    <a:lnTo>
                      <a:pt x="19" y="10"/>
                    </a:lnTo>
                    <a:lnTo>
                      <a:pt x="9" y="10"/>
                    </a:lnTo>
                    <a:lnTo>
                      <a:pt x="0" y="20"/>
                    </a:lnTo>
                    <a:lnTo>
                      <a:pt x="0" y="10"/>
                    </a:lnTo>
                  </a:path>
                </a:pathLst>
              </a:custGeom>
              <a:noFill/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65" name="Freeform 26"/>
            <p:cNvSpPr>
              <a:spLocks/>
            </p:cNvSpPr>
            <p:nvPr/>
          </p:nvSpPr>
          <p:spPr bwMode="auto">
            <a:xfrm>
              <a:off x="1737" y="1815"/>
              <a:ext cx="77" cy="59"/>
            </a:xfrm>
            <a:custGeom>
              <a:avLst/>
              <a:gdLst>
                <a:gd name="T0" fmla="*/ 0 w 78"/>
                <a:gd name="T1" fmla="*/ 19 h 58"/>
                <a:gd name="T2" fmla="*/ 0 w 78"/>
                <a:gd name="T3" fmla="*/ 19 h 58"/>
                <a:gd name="T4" fmla="*/ 10 w 78"/>
                <a:gd name="T5" fmla="*/ 0 h 58"/>
                <a:gd name="T6" fmla="*/ 20 w 78"/>
                <a:gd name="T7" fmla="*/ 0 h 58"/>
                <a:gd name="T8" fmla="*/ 30 w 78"/>
                <a:gd name="T9" fmla="*/ 0 h 58"/>
                <a:gd name="T10" fmla="*/ 49 w 78"/>
                <a:gd name="T11" fmla="*/ 0 h 58"/>
                <a:gd name="T12" fmla="*/ 59 w 78"/>
                <a:gd name="T13" fmla="*/ 0 h 58"/>
                <a:gd name="T14" fmla="*/ 69 w 78"/>
                <a:gd name="T15" fmla="*/ 0 h 58"/>
                <a:gd name="T16" fmla="*/ 78 w 78"/>
                <a:gd name="T17" fmla="*/ 10 h 58"/>
                <a:gd name="T18" fmla="*/ 78 w 78"/>
                <a:gd name="T19" fmla="*/ 19 h 58"/>
                <a:gd name="T20" fmla="*/ 78 w 78"/>
                <a:gd name="T21" fmla="*/ 29 h 58"/>
                <a:gd name="T22" fmla="*/ 78 w 78"/>
                <a:gd name="T23" fmla="*/ 39 h 58"/>
                <a:gd name="T24" fmla="*/ 78 w 78"/>
                <a:gd name="T25" fmla="*/ 49 h 58"/>
                <a:gd name="T26" fmla="*/ 69 w 78"/>
                <a:gd name="T27" fmla="*/ 58 h 58"/>
                <a:gd name="T28" fmla="*/ 59 w 78"/>
                <a:gd name="T29" fmla="*/ 58 h 58"/>
                <a:gd name="T30" fmla="*/ 39 w 78"/>
                <a:gd name="T31" fmla="*/ 58 h 58"/>
                <a:gd name="T32" fmla="*/ 30 w 78"/>
                <a:gd name="T33" fmla="*/ 58 h 58"/>
                <a:gd name="T34" fmla="*/ 20 w 78"/>
                <a:gd name="T35" fmla="*/ 58 h 58"/>
                <a:gd name="T36" fmla="*/ 10 w 78"/>
                <a:gd name="T37" fmla="*/ 49 h 58"/>
                <a:gd name="T38" fmla="*/ 0 w 78"/>
                <a:gd name="T39" fmla="*/ 49 h 58"/>
                <a:gd name="T40" fmla="*/ 0 w 78"/>
                <a:gd name="T41" fmla="*/ 39 h 58"/>
                <a:gd name="T42" fmla="*/ 0 w 78"/>
                <a:gd name="T43" fmla="*/ 29 h 58"/>
                <a:gd name="T44" fmla="*/ 0 w 78"/>
                <a:gd name="T45" fmla="*/ 19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8"/>
                <a:gd name="T70" fmla="*/ 0 h 58"/>
                <a:gd name="T71" fmla="*/ 78 w 78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8" h="58">
                  <a:moveTo>
                    <a:pt x="0" y="19"/>
                  </a:moveTo>
                  <a:lnTo>
                    <a:pt x="0" y="19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0" y="0"/>
                  </a:lnTo>
                  <a:lnTo>
                    <a:pt x="49" y="0"/>
                  </a:lnTo>
                  <a:lnTo>
                    <a:pt x="59" y="0"/>
                  </a:lnTo>
                  <a:lnTo>
                    <a:pt x="69" y="0"/>
                  </a:lnTo>
                  <a:lnTo>
                    <a:pt x="78" y="10"/>
                  </a:lnTo>
                  <a:lnTo>
                    <a:pt x="78" y="19"/>
                  </a:lnTo>
                  <a:lnTo>
                    <a:pt x="78" y="29"/>
                  </a:lnTo>
                  <a:lnTo>
                    <a:pt x="78" y="39"/>
                  </a:lnTo>
                  <a:lnTo>
                    <a:pt x="78" y="49"/>
                  </a:lnTo>
                  <a:lnTo>
                    <a:pt x="69" y="58"/>
                  </a:lnTo>
                  <a:lnTo>
                    <a:pt x="59" y="58"/>
                  </a:lnTo>
                  <a:lnTo>
                    <a:pt x="39" y="58"/>
                  </a:lnTo>
                  <a:lnTo>
                    <a:pt x="30" y="58"/>
                  </a:lnTo>
                  <a:lnTo>
                    <a:pt x="20" y="58"/>
                  </a:lnTo>
                  <a:lnTo>
                    <a:pt x="10" y="49"/>
                  </a:lnTo>
                  <a:lnTo>
                    <a:pt x="0" y="49"/>
                  </a:lnTo>
                  <a:lnTo>
                    <a:pt x="0" y="39"/>
                  </a:lnTo>
                  <a:lnTo>
                    <a:pt x="0" y="29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99E98B"/>
            </a:solidFill>
            <a:ln w="6350" cap="rnd">
              <a:solidFill>
                <a:srgbClr val="4C7445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66" name="Group 23"/>
            <p:cNvGrpSpPr>
              <a:grpSpLocks/>
            </p:cNvGrpSpPr>
            <p:nvPr/>
          </p:nvGrpSpPr>
          <p:grpSpPr bwMode="auto">
            <a:xfrm>
              <a:off x="1737" y="1815"/>
              <a:ext cx="77" cy="59"/>
              <a:chOff x="1737" y="1815"/>
              <a:chExt cx="77" cy="59"/>
            </a:xfrm>
          </p:grpSpPr>
          <p:sp>
            <p:nvSpPr>
              <p:cNvPr id="274" name="Freeform 25"/>
              <p:cNvSpPr>
                <a:spLocks/>
              </p:cNvSpPr>
              <p:nvPr/>
            </p:nvSpPr>
            <p:spPr bwMode="auto">
              <a:xfrm>
                <a:off x="1737" y="1815"/>
                <a:ext cx="77" cy="59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29 h 58"/>
                  <a:gd name="T22" fmla="*/ 78 w 78"/>
                  <a:gd name="T23" fmla="*/ 39 h 58"/>
                  <a:gd name="T24" fmla="*/ 78 w 78"/>
                  <a:gd name="T25" fmla="*/ 49 h 58"/>
                  <a:gd name="T26" fmla="*/ 69 w 78"/>
                  <a:gd name="T27" fmla="*/ 58 h 58"/>
                  <a:gd name="T28" fmla="*/ 59 w 78"/>
                  <a:gd name="T29" fmla="*/ 58 h 58"/>
                  <a:gd name="T30" fmla="*/ 39 w 78"/>
                  <a:gd name="T31" fmla="*/ 58 h 58"/>
                  <a:gd name="T32" fmla="*/ 30 w 78"/>
                  <a:gd name="T33" fmla="*/ 58 h 58"/>
                  <a:gd name="T34" fmla="*/ 20 w 78"/>
                  <a:gd name="T35" fmla="*/ 58 h 58"/>
                  <a:gd name="T36" fmla="*/ 10 w 78"/>
                  <a:gd name="T37" fmla="*/ 49 h 58"/>
                  <a:gd name="T38" fmla="*/ 0 w 78"/>
                  <a:gd name="T39" fmla="*/ 49 h 58"/>
                  <a:gd name="T40" fmla="*/ 0 w 78"/>
                  <a:gd name="T41" fmla="*/ 39 h 58"/>
                  <a:gd name="T42" fmla="*/ 0 w 78"/>
                  <a:gd name="T43" fmla="*/ 29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CCEC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5" name="Freeform 24"/>
              <p:cNvSpPr>
                <a:spLocks/>
              </p:cNvSpPr>
              <p:nvPr/>
            </p:nvSpPr>
            <p:spPr bwMode="auto">
              <a:xfrm>
                <a:off x="1737" y="1815"/>
                <a:ext cx="77" cy="59"/>
              </a:xfrm>
              <a:custGeom>
                <a:avLst/>
                <a:gdLst>
                  <a:gd name="T0" fmla="*/ 0 w 78"/>
                  <a:gd name="T1" fmla="*/ 19 h 58"/>
                  <a:gd name="T2" fmla="*/ 0 w 78"/>
                  <a:gd name="T3" fmla="*/ 19 h 58"/>
                  <a:gd name="T4" fmla="*/ 10 w 78"/>
                  <a:gd name="T5" fmla="*/ 0 h 58"/>
                  <a:gd name="T6" fmla="*/ 20 w 78"/>
                  <a:gd name="T7" fmla="*/ 0 h 58"/>
                  <a:gd name="T8" fmla="*/ 30 w 78"/>
                  <a:gd name="T9" fmla="*/ 0 h 58"/>
                  <a:gd name="T10" fmla="*/ 49 w 78"/>
                  <a:gd name="T11" fmla="*/ 0 h 58"/>
                  <a:gd name="T12" fmla="*/ 59 w 78"/>
                  <a:gd name="T13" fmla="*/ 0 h 58"/>
                  <a:gd name="T14" fmla="*/ 69 w 78"/>
                  <a:gd name="T15" fmla="*/ 0 h 58"/>
                  <a:gd name="T16" fmla="*/ 78 w 78"/>
                  <a:gd name="T17" fmla="*/ 10 h 58"/>
                  <a:gd name="T18" fmla="*/ 78 w 78"/>
                  <a:gd name="T19" fmla="*/ 19 h 58"/>
                  <a:gd name="T20" fmla="*/ 78 w 78"/>
                  <a:gd name="T21" fmla="*/ 36 h 58"/>
                  <a:gd name="T22" fmla="*/ 78 w 78"/>
                  <a:gd name="T23" fmla="*/ 50 h 58"/>
                  <a:gd name="T24" fmla="*/ 78 w 78"/>
                  <a:gd name="T25" fmla="*/ 60 h 58"/>
                  <a:gd name="T26" fmla="*/ 69 w 78"/>
                  <a:gd name="T27" fmla="*/ 69 h 58"/>
                  <a:gd name="T28" fmla="*/ 59 w 78"/>
                  <a:gd name="T29" fmla="*/ 69 h 58"/>
                  <a:gd name="T30" fmla="*/ 39 w 78"/>
                  <a:gd name="T31" fmla="*/ 69 h 58"/>
                  <a:gd name="T32" fmla="*/ 30 w 78"/>
                  <a:gd name="T33" fmla="*/ 69 h 58"/>
                  <a:gd name="T34" fmla="*/ 20 w 78"/>
                  <a:gd name="T35" fmla="*/ 69 h 58"/>
                  <a:gd name="T36" fmla="*/ 10 w 78"/>
                  <a:gd name="T37" fmla="*/ 60 h 58"/>
                  <a:gd name="T38" fmla="*/ 0 w 78"/>
                  <a:gd name="T39" fmla="*/ 60 h 58"/>
                  <a:gd name="T40" fmla="*/ 0 w 78"/>
                  <a:gd name="T41" fmla="*/ 50 h 58"/>
                  <a:gd name="T42" fmla="*/ 0 w 78"/>
                  <a:gd name="T43" fmla="*/ 36 h 58"/>
                  <a:gd name="T44" fmla="*/ 0 w 78"/>
                  <a:gd name="T45" fmla="*/ 19 h 5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58"/>
                  <a:gd name="T71" fmla="*/ 78 w 78"/>
                  <a:gd name="T72" fmla="*/ 58 h 5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58">
                    <a:moveTo>
                      <a:pt x="0" y="19"/>
                    </a:moveTo>
                    <a:lnTo>
                      <a:pt x="0" y="19"/>
                    </a:lnTo>
                    <a:lnTo>
                      <a:pt x="10" y="0"/>
                    </a:lnTo>
                    <a:lnTo>
                      <a:pt x="20" y="0"/>
                    </a:lnTo>
                    <a:lnTo>
                      <a:pt x="30" y="0"/>
                    </a:lnTo>
                    <a:lnTo>
                      <a:pt x="49" y="0"/>
                    </a:lnTo>
                    <a:lnTo>
                      <a:pt x="59" y="0"/>
                    </a:lnTo>
                    <a:lnTo>
                      <a:pt x="69" y="0"/>
                    </a:lnTo>
                    <a:lnTo>
                      <a:pt x="78" y="10"/>
                    </a:lnTo>
                    <a:lnTo>
                      <a:pt x="78" y="19"/>
                    </a:lnTo>
                    <a:lnTo>
                      <a:pt x="78" y="29"/>
                    </a:lnTo>
                    <a:lnTo>
                      <a:pt x="78" y="39"/>
                    </a:lnTo>
                    <a:lnTo>
                      <a:pt x="78" y="49"/>
                    </a:lnTo>
                    <a:lnTo>
                      <a:pt x="69" y="58"/>
                    </a:lnTo>
                    <a:lnTo>
                      <a:pt x="59" y="58"/>
                    </a:lnTo>
                    <a:lnTo>
                      <a:pt x="39" y="58"/>
                    </a:lnTo>
                    <a:lnTo>
                      <a:pt x="30" y="58"/>
                    </a:lnTo>
                    <a:lnTo>
                      <a:pt x="20" y="58"/>
                    </a:lnTo>
                    <a:lnTo>
                      <a:pt x="10" y="49"/>
                    </a:lnTo>
                    <a:lnTo>
                      <a:pt x="0" y="49"/>
                    </a:lnTo>
                    <a:lnTo>
                      <a:pt x="0" y="39"/>
                    </a:lnTo>
                    <a:lnTo>
                      <a:pt x="0" y="29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0070C0"/>
              </a:solidFill>
              <a:ln w="6350" cap="rnd">
                <a:solidFill>
                  <a:srgbClr val="8080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67" name="Freeform 22"/>
            <p:cNvSpPr>
              <a:spLocks/>
            </p:cNvSpPr>
            <p:nvPr/>
          </p:nvSpPr>
          <p:spPr bwMode="auto">
            <a:xfrm>
              <a:off x="2567" y="2753"/>
              <a:ext cx="418" cy="418"/>
            </a:xfrm>
            <a:custGeom>
              <a:avLst/>
              <a:gdLst/>
              <a:ahLst/>
              <a:cxnLst>
                <a:cxn ang="0">
                  <a:pos x="30" y="342"/>
                </a:cxn>
                <a:cxn ang="0">
                  <a:pos x="69" y="361"/>
                </a:cxn>
                <a:cxn ang="0">
                  <a:pos x="49" y="381"/>
                </a:cxn>
                <a:cxn ang="0">
                  <a:pos x="39" y="410"/>
                </a:cxn>
                <a:cxn ang="0">
                  <a:pos x="88" y="410"/>
                </a:cxn>
                <a:cxn ang="0">
                  <a:pos x="117" y="420"/>
                </a:cxn>
                <a:cxn ang="0">
                  <a:pos x="127" y="381"/>
                </a:cxn>
                <a:cxn ang="0">
                  <a:pos x="137" y="371"/>
                </a:cxn>
                <a:cxn ang="0">
                  <a:pos x="176" y="361"/>
                </a:cxn>
                <a:cxn ang="0">
                  <a:pos x="205" y="391"/>
                </a:cxn>
                <a:cxn ang="0">
                  <a:pos x="234" y="371"/>
                </a:cxn>
                <a:cxn ang="0">
                  <a:pos x="215" y="352"/>
                </a:cxn>
                <a:cxn ang="0">
                  <a:pos x="195" y="322"/>
                </a:cxn>
                <a:cxn ang="0">
                  <a:pos x="225" y="332"/>
                </a:cxn>
                <a:cxn ang="0">
                  <a:pos x="225" y="303"/>
                </a:cxn>
                <a:cxn ang="0">
                  <a:pos x="205" y="293"/>
                </a:cxn>
                <a:cxn ang="0">
                  <a:pos x="225" y="274"/>
                </a:cxn>
                <a:cxn ang="0">
                  <a:pos x="254" y="274"/>
                </a:cxn>
                <a:cxn ang="0">
                  <a:pos x="273" y="293"/>
                </a:cxn>
                <a:cxn ang="0">
                  <a:pos x="293" y="303"/>
                </a:cxn>
                <a:cxn ang="0">
                  <a:pos x="332" y="313"/>
                </a:cxn>
                <a:cxn ang="0">
                  <a:pos x="371" y="322"/>
                </a:cxn>
                <a:cxn ang="0">
                  <a:pos x="371" y="303"/>
                </a:cxn>
                <a:cxn ang="0">
                  <a:pos x="381" y="293"/>
                </a:cxn>
                <a:cxn ang="0">
                  <a:pos x="381" y="264"/>
                </a:cxn>
                <a:cxn ang="0">
                  <a:pos x="352" y="244"/>
                </a:cxn>
                <a:cxn ang="0">
                  <a:pos x="332" y="235"/>
                </a:cxn>
                <a:cxn ang="0">
                  <a:pos x="342" y="205"/>
                </a:cxn>
                <a:cxn ang="0">
                  <a:pos x="371" y="196"/>
                </a:cxn>
                <a:cxn ang="0">
                  <a:pos x="410" y="186"/>
                </a:cxn>
                <a:cxn ang="0">
                  <a:pos x="410" y="147"/>
                </a:cxn>
                <a:cxn ang="0">
                  <a:pos x="410" y="127"/>
                </a:cxn>
                <a:cxn ang="0">
                  <a:pos x="410" y="98"/>
                </a:cxn>
                <a:cxn ang="0">
                  <a:pos x="381" y="59"/>
                </a:cxn>
                <a:cxn ang="0">
                  <a:pos x="352" y="69"/>
                </a:cxn>
                <a:cxn ang="0">
                  <a:pos x="283" y="20"/>
                </a:cxn>
                <a:cxn ang="0">
                  <a:pos x="254" y="10"/>
                </a:cxn>
                <a:cxn ang="0">
                  <a:pos x="234" y="39"/>
                </a:cxn>
                <a:cxn ang="0">
                  <a:pos x="225" y="59"/>
                </a:cxn>
                <a:cxn ang="0">
                  <a:pos x="234" y="78"/>
                </a:cxn>
                <a:cxn ang="0">
                  <a:pos x="205" y="88"/>
                </a:cxn>
                <a:cxn ang="0">
                  <a:pos x="186" y="78"/>
                </a:cxn>
                <a:cxn ang="0">
                  <a:pos x="166" y="78"/>
                </a:cxn>
                <a:cxn ang="0">
                  <a:pos x="147" y="59"/>
                </a:cxn>
                <a:cxn ang="0">
                  <a:pos x="127" y="59"/>
                </a:cxn>
                <a:cxn ang="0">
                  <a:pos x="137" y="30"/>
                </a:cxn>
                <a:cxn ang="0">
                  <a:pos x="88" y="30"/>
                </a:cxn>
                <a:cxn ang="0">
                  <a:pos x="59" y="59"/>
                </a:cxn>
                <a:cxn ang="0">
                  <a:pos x="78" y="117"/>
                </a:cxn>
                <a:cxn ang="0">
                  <a:pos x="127" y="137"/>
                </a:cxn>
                <a:cxn ang="0">
                  <a:pos x="156" y="137"/>
                </a:cxn>
                <a:cxn ang="0">
                  <a:pos x="205" y="137"/>
                </a:cxn>
                <a:cxn ang="0">
                  <a:pos x="215" y="147"/>
                </a:cxn>
                <a:cxn ang="0">
                  <a:pos x="186" y="176"/>
                </a:cxn>
                <a:cxn ang="0">
                  <a:pos x="156" y="196"/>
                </a:cxn>
                <a:cxn ang="0">
                  <a:pos x="127" y="186"/>
                </a:cxn>
                <a:cxn ang="0">
                  <a:pos x="98" y="205"/>
                </a:cxn>
                <a:cxn ang="0">
                  <a:pos x="69" y="215"/>
                </a:cxn>
                <a:cxn ang="0">
                  <a:pos x="39" y="264"/>
                </a:cxn>
                <a:cxn ang="0">
                  <a:pos x="39" y="274"/>
                </a:cxn>
                <a:cxn ang="0">
                  <a:pos x="10" y="293"/>
                </a:cxn>
                <a:cxn ang="0">
                  <a:pos x="10" y="332"/>
                </a:cxn>
                <a:cxn ang="0">
                  <a:pos x="20" y="342"/>
                </a:cxn>
              </a:cxnLst>
              <a:rect l="0" t="0" r="r" b="b"/>
              <a:pathLst>
                <a:path w="420" h="420">
                  <a:moveTo>
                    <a:pt x="20" y="342"/>
                  </a:moveTo>
                  <a:lnTo>
                    <a:pt x="30" y="342"/>
                  </a:lnTo>
                  <a:lnTo>
                    <a:pt x="59" y="352"/>
                  </a:lnTo>
                  <a:lnTo>
                    <a:pt x="69" y="361"/>
                  </a:lnTo>
                  <a:lnTo>
                    <a:pt x="69" y="381"/>
                  </a:lnTo>
                  <a:lnTo>
                    <a:pt x="49" y="381"/>
                  </a:lnTo>
                  <a:lnTo>
                    <a:pt x="30" y="391"/>
                  </a:lnTo>
                  <a:lnTo>
                    <a:pt x="39" y="410"/>
                  </a:lnTo>
                  <a:lnTo>
                    <a:pt x="69" y="410"/>
                  </a:lnTo>
                  <a:lnTo>
                    <a:pt x="88" y="410"/>
                  </a:lnTo>
                  <a:lnTo>
                    <a:pt x="108" y="420"/>
                  </a:lnTo>
                  <a:lnTo>
                    <a:pt x="117" y="420"/>
                  </a:lnTo>
                  <a:lnTo>
                    <a:pt x="127" y="400"/>
                  </a:lnTo>
                  <a:lnTo>
                    <a:pt x="127" y="381"/>
                  </a:lnTo>
                  <a:lnTo>
                    <a:pt x="127" y="361"/>
                  </a:lnTo>
                  <a:lnTo>
                    <a:pt x="137" y="371"/>
                  </a:lnTo>
                  <a:lnTo>
                    <a:pt x="156" y="371"/>
                  </a:lnTo>
                  <a:lnTo>
                    <a:pt x="176" y="361"/>
                  </a:lnTo>
                  <a:lnTo>
                    <a:pt x="186" y="371"/>
                  </a:lnTo>
                  <a:lnTo>
                    <a:pt x="205" y="391"/>
                  </a:lnTo>
                  <a:lnTo>
                    <a:pt x="225" y="391"/>
                  </a:lnTo>
                  <a:lnTo>
                    <a:pt x="234" y="371"/>
                  </a:lnTo>
                  <a:lnTo>
                    <a:pt x="225" y="361"/>
                  </a:lnTo>
                  <a:lnTo>
                    <a:pt x="215" y="352"/>
                  </a:lnTo>
                  <a:lnTo>
                    <a:pt x="186" y="332"/>
                  </a:lnTo>
                  <a:lnTo>
                    <a:pt x="195" y="322"/>
                  </a:lnTo>
                  <a:lnTo>
                    <a:pt x="205" y="322"/>
                  </a:lnTo>
                  <a:lnTo>
                    <a:pt x="225" y="332"/>
                  </a:lnTo>
                  <a:lnTo>
                    <a:pt x="225" y="322"/>
                  </a:lnTo>
                  <a:lnTo>
                    <a:pt x="225" y="303"/>
                  </a:lnTo>
                  <a:lnTo>
                    <a:pt x="205" y="303"/>
                  </a:lnTo>
                  <a:lnTo>
                    <a:pt x="205" y="293"/>
                  </a:lnTo>
                  <a:lnTo>
                    <a:pt x="215" y="283"/>
                  </a:lnTo>
                  <a:lnTo>
                    <a:pt x="225" y="274"/>
                  </a:lnTo>
                  <a:lnTo>
                    <a:pt x="244" y="274"/>
                  </a:lnTo>
                  <a:lnTo>
                    <a:pt x="254" y="274"/>
                  </a:lnTo>
                  <a:lnTo>
                    <a:pt x="254" y="293"/>
                  </a:lnTo>
                  <a:lnTo>
                    <a:pt x="273" y="293"/>
                  </a:lnTo>
                  <a:lnTo>
                    <a:pt x="283" y="313"/>
                  </a:lnTo>
                  <a:lnTo>
                    <a:pt x="293" y="303"/>
                  </a:lnTo>
                  <a:lnTo>
                    <a:pt x="312" y="313"/>
                  </a:lnTo>
                  <a:lnTo>
                    <a:pt x="332" y="313"/>
                  </a:lnTo>
                  <a:lnTo>
                    <a:pt x="352" y="322"/>
                  </a:lnTo>
                  <a:lnTo>
                    <a:pt x="371" y="322"/>
                  </a:lnTo>
                  <a:lnTo>
                    <a:pt x="381" y="332"/>
                  </a:lnTo>
                  <a:lnTo>
                    <a:pt x="371" y="303"/>
                  </a:lnTo>
                  <a:lnTo>
                    <a:pt x="371" y="293"/>
                  </a:lnTo>
                  <a:lnTo>
                    <a:pt x="381" y="293"/>
                  </a:lnTo>
                  <a:lnTo>
                    <a:pt x="391" y="274"/>
                  </a:lnTo>
                  <a:lnTo>
                    <a:pt x="381" y="264"/>
                  </a:lnTo>
                  <a:lnTo>
                    <a:pt x="361" y="264"/>
                  </a:lnTo>
                  <a:lnTo>
                    <a:pt x="352" y="244"/>
                  </a:lnTo>
                  <a:lnTo>
                    <a:pt x="332" y="244"/>
                  </a:lnTo>
                  <a:lnTo>
                    <a:pt x="332" y="235"/>
                  </a:lnTo>
                  <a:lnTo>
                    <a:pt x="342" y="225"/>
                  </a:lnTo>
                  <a:lnTo>
                    <a:pt x="342" y="205"/>
                  </a:lnTo>
                  <a:lnTo>
                    <a:pt x="361" y="205"/>
                  </a:lnTo>
                  <a:lnTo>
                    <a:pt x="371" y="196"/>
                  </a:lnTo>
                  <a:lnTo>
                    <a:pt x="371" y="186"/>
                  </a:lnTo>
                  <a:lnTo>
                    <a:pt x="410" y="186"/>
                  </a:lnTo>
                  <a:lnTo>
                    <a:pt x="410" y="166"/>
                  </a:lnTo>
                  <a:lnTo>
                    <a:pt x="410" y="147"/>
                  </a:lnTo>
                  <a:lnTo>
                    <a:pt x="420" y="137"/>
                  </a:lnTo>
                  <a:lnTo>
                    <a:pt x="410" y="127"/>
                  </a:lnTo>
                  <a:lnTo>
                    <a:pt x="420" y="108"/>
                  </a:lnTo>
                  <a:lnTo>
                    <a:pt x="410" y="98"/>
                  </a:lnTo>
                  <a:lnTo>
                    <a:pt x="400" y="78"/>
                  </a:lnTo>
                  <a:lnTo>
                    <a:pt x="381" y="59"/>
                  </a:lnTo>
                  <a:lnTo>
                    <a:pt x="371" y="69"/>
                  </a:lnTo>
                  <a:lnTo>
                    <a:pt x="352" y="69"/>
                  </a:lnTo>
                  <a:lnTo>
                    <a:pt x="322" y="49"/>
                  </a:lnTo>
                  <a:lnTo>
                    <a:pt x="283" y="20"/>
                  </a:lnTo>
                  <a:lnTo>
                    <a:pt x="273" y="0"/>
                  </a:lnTo>
                  <a:lnTo>
                    <a:pt x="254" y="10"/>
                  </a:lnTo>
                  <a:lnTo>
                    <a:pt x="254" y="30"/>
                  </a:lnTo>
                  <a:lnTo>
                    <a:pt x="234" y="39"/>
                  </a:lnTo>
                  <a:lnTo>
                    <a:pt x="234" y="49"/>
                  </a:lnTo>
                  <a:lnTo>
                    <a:pt x="225" y="59"/>
                  </a:lnTo>
                  <a:lnTo>
                    <a:pt x="234" y="59"/>
                  </a:lnTo>
                  <a:lnTo>
                    <a:pt x="234" y="78"/>
                  </a:lnTo>
                  <a:lnTo>
                    <a:pt x="205" y="69"/>
                  </a:lnTo>
                  <a:lnTo>
                    <a:pt x="205" y="88"/>
                  </a:lnTo>
                  <a:lnTo>
                    <a:pt x="195" y="88"/>
                  </a:lnTo>
                  <a:lnTo>
                    <a:pt x="186" y="78"/>
                  </a:lnTo>
                  <a:lnTo>
                    <a:pt x="176" y="78"/>
                  </a:lnTo>
                  <a:lnTo>
                    <a:pt x="166" y="78"/>
                  </a:lnTo>
                  <a:lnTo>
                    <a:pt x="147" y="78"/>
                  </a:lnTo>
                  <a:lnTo>
                    <a:pt x="147" y="59"/>
                  </a:lnTo>
                  <a:lnTo>
                    <a:pt x="127" y="69"/>
                  </a:lnTo>
                  <a:lnTo>
                    <a:pt x="127" y="59"/>
                  </a:lnTo>
                  <a:lnTo>
                    <a:pt x="147" y="49"/>
                  </a:lnTo>
                  <a:lnTo>
                    <a:pt x="137" y="30"/>
                  </a:lnTo>
                  <a:lnTo>
                    <a:pt x="127" y="20"/>
                  </a:lnTo>
                  <a:lnTo>
                    <a:pt x="88" y="30"/>
                  </a:lnTo>
                  <a:lnTo>
                    <a:pt x="78" y="59"/>
                  </a:lnTo>
                  <a:lnTo>
                    <a:pt x="59" y="59"/>
                  </a:lnTo>
                  <a:lnTo>
                    <a:pt x="69" y="88"/>
                  </a:lnTo>
                  <a:lnTo>
                    <a:pt x="78" y="117"/>
                  </a:lnTo>
                  <a:lnTo>
                    <a:pt x="108" y="117"/>
                  </a:lnTo>
                  <a:lnTo>
                    <a:pt x="127" y="137"/>
                  </a:lnTo>
                  <a:lnTo>
                    <a:pt x="137" y="137"/>
                  </a:lnTo>
                  <a:lnTo>
                    <a:pt x="156" y="137"/>
                  </a:lnTo>
                  <a:lnTo>
                    <a:pt x="176" y="147"/>
                  </a:lnTo>
                  <a:lnTo>
                    <a:pt x="205" y="137"/>
                  </a:lnTo>
                  <a:lnTo>
                    <a:pt x="215" y="137"/>
                  </a:lnTo>
                  <a:lnTo>
                    <a:pt x="215" y="147"/>
                  </a:lnTo>
                  <a:lnTo>
                    <a:pt x="205" y="166"/>
                  </a:lnTo>
                  <a:lnTo>
                    <a:pt x="186" y="176"/>
                  </a:lnTo>
                  <a:lnTo>
                    <a:pt x="176" y="186"/>
                  </a:lnTo>
                  <a:lnTo>
                    <a:pt x="156" y="196"/>
                  </a:lnTo>
                  <a:lnTo>
                    <a:pt x="147" y="186"/>
                  </a:lnTo>
                  <a:lnTo>
                    <a:pt x="127" y="186"/>
                  </a:lnTo>
                  <a:lnTo>
                    <a:pt x="108" y="186"/>
                  </a:lnTo>
                  <a:lnTo>
                    <a:pt x="98" y="205"/>
                  </a:lnTo>
                  <a:lnTo>
                    <a:pt x="78" y="215"/>
                  </a:lnTo>
                  <a:lnTo>
                    <a:pt x="69" y="215"/>
                  </a:lnTo>
                  <a:lnTo>
                    <a:pt x="59" y="244"/>
                  </a:lnTo>
                  <a:lnTo>
                    <a:pt x="39" y="264"/>
                  </a:lnTo>
                  <a:lnTo>
                    <a:pt x="49" y="274"/>
                  </a:lnTo>
                  <a:lnTo>
                    <a:pt x="39" y="274"/>
                  </a:lnTo>
                  <a:lnTo>
                    <a:pt x="30" y="274"/>
                  </a:lnTo>
                  <a:lnTo>
                    <a:pt x="10" y="293"/>
                  </a:lnTo>
                  <a:lnTo>
                    <a:pt x="0" y="322"/>
                  </a:lnTo>
                  <a:lnTo>
                    <a:pt x="10" y="332"/>
                  </a:lnTo>
                  <a:lnTo>
                    <a:pt x="10" y="342"/>
                  </a:lnTo>
                  <a:lnTo>
                    <a:pt x="20" y="342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6350" cap="rnd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8" name="Rectangle 21"/>
            <p:cNvSpPr>
              <a:spLocks noChangeArrowheads="1"/>
            </p:cNvSpPr>
            <p:nvPr/>
          </p:nvSpPr>
          <p:spPr bwMode="auto">
            <a:xfrm>
              <a:off x="2859" y="264"/>
              <a:ext cx="1698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9" name="Rectangle 19"/>
            <p:cNvSpPr>
              <a:spLocks noChangeArrowheads="1"/>
            </p:cNvSpPr>
            <p:nvPr/>
          </p:nvSpPr>
          <p:spPr bwMode="auto">
            <a:xfrm>
              <a:off x="1" y="1455"/>
              <a:ext cx="1405" cy="2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0" name="Rectangle 17"/>
            <p:cNvSpPr>
              <a:spLocks noChangeArrowheads="1"/>
            </p:cNvSpPr>
            <p:nvPr/>
          </p:nvSpPr>
          <p:spPr bwMode="auto">
            <a:xfrm>
              <a:off x="487" y="3523"/>
              <a:ext cx="1405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1" name="Rectangle 15"/>
            <p:cNvSpPr>
              <a:spLocks noChangeArrowheads="1"/>
            </p:cNvSpPr>
            <p:nvPr/>
          </p:nvSpPr>
          <p:spPr bwMode="auto">
            <a:xfrm>
              <a:off x="1657" y="3328"/>
              <a:ext cx="1408" cy="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2" name="Rectangle 14"/>
            <p:cNvSpPr>
              <a:spLocks noChangeArrowheads="1"/>
            </p:cNvSpPr>
            <p:nvPr/>
          </p:nvSpPr>
          <p:spPr bwMode="auto">
            <a:xfrm>
              <a:off x="3745" y="1171"/>
              <a:ext cx="1405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3" name="Rectangle 11"/>
            <p:cNvSpPr>
              <a:spLocks noChangeArrowheads="1"/>
            </p:cNvSpPr>
            <p:nvPr/>
          </p:nvSpPr>
          <p:spPr bwMode="auto">
            <a:xfrm>
              <a:off x="6301" y="567"/>
              <a:ext cx="1403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1337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iper Blue worl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0"/>
          <a:stretch/>
        </p:blipFill>
        <p:spPr>
          <a:xfrm>
            <a:off x="-4471" y="0"/>
            <a:ext cx="9148471" cy="68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680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iper blue worl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68" b="2112"/>
          <a:stretch/>
        </p:blipFill>
        <p:spPr>
          <a:xfrm>
            <a:off x="-12709" y="-36992"/>
            <a:ext cx="9156709" cy="6894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190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Uniper Blue wor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Изображение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7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044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Uniper Blue worl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0"/>
            <a:ext cx="9140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826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лист_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Изображение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1" y="0"/>
            <a:ext cx="3891439" cy="2931268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482855" y="5371345"/>
            <a:ext cx="8256587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Название презентации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34"/>
          <a:stretch/>
        </p:blipFill>
        <p:spPr>
          <a:xfrm>
            <a:off x="0" y="-1044"/>
            <a:ext cx="9144000" cy="685904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540" y="-4230"/>
            <a:ext cx="3889585" cy="2932430"/>
          </a:xfrm>
          <a:prstGeom prst="rect">
            <a:avLst/>
          </a:prstGeom>
        </p:spPr>
      </p:pic>
      <p:sp>
        <p:nvSpPr>
          <p:cNvPr id="13" name="Текст 2"/>
          <p:cNvSpPr>
            <a:spLocks noGrp="1"/>
          </p:cNvSpPr>
          <p:nvPr>
            <p:ph type="body" sz="quarter" idx="11" hasCustomPrompt="1"/>
          </p:nvPr>
        </p:nvSpPr>
        <p:spPr>
          <a:xfrm>
            <a:off x="635255" y="5523745"/>
            <a:ext cx="8256587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42394016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40">
          <p15:clr>
            <a:srgbClr val="FBAE40"/>
          </p15:clr>
        </p15:guide>
        <p15:guide id="0" orient="horz" pos="3748" userDrawn="1">
          <p15:clr>
            <a:srgbClr val="FBAE40"/>
          </p15:clr>
        </p15:guide>
        <p15:guide id="3" pos="47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5928" b="-1"/>
          <a:stretch/>
        </p:blipFill>
        <p:spPr>
          <a:xfrm>
            <a:off x="0" y="-7434"/>
            <a:ext cx="9144000" cy="686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6127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7"/>
          <p:cNvSpPr>
            <a:spLocks noGrp="1"/>
          </p:cNvSpPr>
          <p:nvPr>
            <p:ph type="body" sz="quarter" idx="13"/>
          </p:nvPr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101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иний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7"/>
          <p:cNvSpPr>
            <a:spLocks noGrp="1"/>
          </p:cNvSpPr>
          <p:nvPr>
            <p:ph type="body" sz="quarter" idx="13"/>
          </p:nvPr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7516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/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2811FB-EF26-4923-A0EB-8F13F76CFEAD}" type="datetimeFigureOut">
              <a:rPr lang="ru-RU"/>
              <a:pPr>
                <a:defRPr/>
              </a:pPr>
              <a:t>11.10.2021</a:t>
            </a:fld>
            <a:endParaRPr lang="ru-RU"/>
          </a:p>
        </p:txBody>
      </p:sp>
      <p:sp>
        <p:nvSpPr>
          <p:cNvPr id="5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183DFC-D9D7-4A3F-BFC8-126E84F2286C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3985078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а_Юнипро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5177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лист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68" b="2112"/>
          <a:stretch/>
        </p:blipFill>
        <p:spPr>
          <a:xfrm>
            <a:off x="-12709" y="-36992"/>
            <a:ext cx="9156709" cy="6894992"/>
          </a:xfrm>
          <a:prstGeom prst="rect">
            <a:avLst/>
          </a:prstGeom>
        </p:spPr>
      </p:pic>
      <p:pic>
        <p:nvPicPr>
          <p:cNvPr id="12" name="Изображение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6992"/>
            <a:ext cx="4223013" cy="2941779"/>
          </a:xfrm>
          <a:prstGeom prst="rect">
            <a:avLst/>
          </a:prstGeom>
        </p:spPr>
      </p:pic>
      <p:sp>
        <p:nvSpPr>
          <p:cNvPr id="6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482855" y="5371345"/>
            <a:ext cx="8256587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3400" b="1" kern="1200" dirty="0" smtClean="0">
                <a:solidFill>
                  <a:prstClr val="whit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361736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лист_вариант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Изображение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7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2" name="Изображение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223013" cy="2931268"/>
          </a:xfrm>
          <a:prstGeom prst="rect">
            <a:avLst/>
          </a:prstGeom>
        </p:spPr>
      </p:pic>
      <p:sp>
        <p:nvSpPr>
          <p:cNvPr id="4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482855" y="5371345"/>
            <a:ext cx="8256587" cy="9001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ru-RU" sz="2600" b="1" kern="1200" dirty="0" smtClean="0">
                <a:solidFill>
                  <a:srgbClr val="FFEA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438808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ма Юнипро_синий лого на белом фон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3319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вариант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5128" y="1479220"/>
            <a:ext cx="8375650" cy="20701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78DC"/>
              </a:buClr>
              <a:buAutoNum type="arabicPeriod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 (</a:t>
            </a:r>
            <a:r>
              <a:rPr lang="en-US" dirty="0" smtClean="0"/>
              <a:t>Arial, 18)</a:t>
            </a:r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2"/>
          </p:nvPr>
        </p:nvSpPr>
        <p:spPr>
          <a:xfrm>
            <a:off x="300791" y="372733"/>
            <a:ext cx="8409987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944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51685616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2880">
          <p15:clr>
            <a:srgbClr val="FBAE40"/>
          </p15:clr>
        </p15:guide>
        <p15:guide id="3" pos="24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5128" y="1479220"/>
            <a:ext cx="8375650" cy="20701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78DC"/>
              </a:buClr>
              <a:buAutoNum type="arabicPeriod"/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 (</a:t>
            </a:r>
            <a:r>
              <a:rPr lang="en-US" dirty="0" smtClean="0"/>
              <a:t>Arial, 18)</a:t>
            </a:r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</p:txBody>
      </p:sp>
      <p:sp>
        <p:nvSpPr>
          <p:cNvPr id="12" name="Текст 21"/>
          <p:cNvSpPr>
            <a:spLocks noGrp="1"/>
          </p:cNvSpPr>
          <p:nvPr>
            <p:ph type="body" sz="quarter" idx="12"/>
          </p:nvPr>
        </p:nvSpPr>
        <p:spPr>
          <a:xfrm>
            <a:off x="300791" y="372733"/>
            <a:ext cx="8409987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ED8C1C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16477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раздела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21"/>
          <p:cNvSpPr>
            <a:spLocks noGrp="1"/>
          </p:cNvSpPr>
          <p:nvPr>
            <p:ph type="body" sz="quarter" idx="12"/>
          </p:nvPr>
        </p:nvSpPr>
        <p:spPr>
          <a:xfrm>
            <a:off x="300791" y="372733"/>
            <a:ext cx="8409987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69AB4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" name="Текст 7"/>
          <p:cNvSpPr>
            <a:spLocks noGrp="1"/>
          </p:cNvSpPr>
          <p:nvPr>
            <p:ph type="body" sz="quarter" idx="13"/>
          </p:nvPr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5502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раздела_вариан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21"/>
          <p:cNvSpPr>
            <a:spLocks noGrp="1"/>
          </p:cNvSpPr>
          <p:nvPr>
            <p:ph type="body" sz="quarter" idx="12"/>
          </p:nvPr>
        </p:nvSpPr>
        <p:spPr>
          <a:xfrm>
            <a:off x="300791" y="372733"/>
            <a:ext cx="8409987" cy="987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rgbClr val="0078DC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" name="Текст 7"/>
          <p:cNvSpPr>
            <a:spLocks noGrp="1"/>
          </p:cNvSpPr>
          <p:nvPr>
            <p:ph type="body" sz="quarter" idx="13"/>
          </p:nvPr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800" b="1">
                <a:solidFill>
                  <a:srgbClr val="0078DC"/>
                </a:solidFill>
                <a:latin typeface="+mn-lt"/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984881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1.png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492287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2854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10" r:id="rId2"/>
    <p:sldLayoutId id="2147483663" r:id="rId3"/>
    <p:sldLayoutId id="2147483664" r:id="rId4"/>
    <p:sldLayoutId id="2147483668" r:id="rId5"/>
    <p:sldLayoutId id="2147483669" r:id="rId6"/>
    <p:sldLayoutId id="2147483670" r:id="rId7"/>
    <p:sldLayoutId id="2147483703" r:id="rId8"/>
    <p:sldLayoutId id="2147483707" r:id="rId9"/>
    <p:sldLayoutId id="2147483704" r:id="rId10"/>
    <p:sldLayoutId id="2147483705" r:id="rId11"/>
    <p:sldLayoutId id="2147483708" r:id="rId12"/>
    <p:sldLayoutId id="2147483712" r:id="rId13"/>
    <p:sldLayoutId id="2147483711" r:id="rId14"/>
    <p:sldLayoutId id="2147483661" r:id="rId15"/>
    <p:sldLayoutId id="2147483665" r:id="rId16"/>
    <p:sldLayoutId id="2147483666" r:id="rId17"/>
    <p:sldLayoutId id="2147483667" r:id="rId18"/>
    <p:sldLayoutId id="2147483709" r:id="rId19"/>
    <p:sldLayoutId id="2147483713" r:id="rId20"/>
    <p:sldLayoutId id="2147483671" r:id="rId21"/>
    <p:sldLayoutId id="2147483702" r:id="rId22"/>
    <p:sldLayoutId id="2147483714" r:id="rId2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269856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947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3.w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32.w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 txBox="1">
            <a:spLocks/>
          </p:cNvSpPr>
          <p:nvPr/>
        </p:nvSpPr>
        <p:spPr>
          <a:xfrm>
            <a:off x="417372" y="3780692"/>
            <a:ext cx="7990000" cy="113143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 № </a:t>
            </a:r>
            <a:r>
              <a:rPr lang="ru-RU" sz="3400" b="1" dirty="0" err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иБП</a:t>
            </a:r>
            <a:r>
              <a:rPr lang="ru-RU" sz="3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Пр.</a:t>
            </a:r>
            <a:r>
              <a:rPr lang="en-US" sz="3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3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3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ru-RU" sz="3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3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зненно важные правила по охране труда </a:t>
            </a:r>
          </a:p>
          <a:p>
            <a:pPr algn="l"/>
            <a:r>
              <a:rPr lang="ru-RU" sz="3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АО «Юнипро»</a:t>
            </a:r>
            <a:endParaRPr lang="ru-RU" sz="3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Untertitel 2"/>
          <p:cNvSpPr txBox="1">
            <a:spLocks/>
          </p:cNvSpPr>
          <p:nvPr/>
        </p:nvSpPr>
        <p:spPr>
          <a:xfrm>
            <a:off x="417372" y="5732670"/>
            <a:ext cx="7344000" cy="288000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4777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12150" y="270641"/>
            <a:ext cx="8409987" cy="607183"/>
          </a:xfrm>
        </p:spPr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3.4. ПРАВИЛО </a:t>
            </a:r>
            <a:r>
              <a:rPr lang="ru-RU" dirty="0">
                <a:solidFill>
                  <a:srgbClr val="0078DC"/>
                </a:solidFill>
              </a:rPr>
              <a:t>№4 </a:t>
            </a:r>
          </a:p>
          <a:p>
            <a:r>
              <a:rPr lang="ru-RU" dirty="0">
                <a:solidFill>
                  <a:srgbClr val="0078DC"/>
                </a:solidFill>
              </a:rPr>
              <a:t>Прекрати работу при угрозе жизни 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10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420932" y="1433254"/>
            <a:ext cx="5301205" cy="62847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дленно прекрати </a:t>
            </a: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у при возникновении риска для жизни или здоровья персонала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b="1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работы, которые могут причинить вред жизни и здоровью работника, должны быть немедленно остановлены с последующим принятием мер по исключению или минимизации риска.</a:t>
            </a:r>
          </a:p>
          <a:p>
            <a:pPr lvl="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роведении работ необходимо обеспечить: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аточную  освещенность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ую вентиляцию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ятие анализа на достаточность кислорода и отсутствие вредных газов при проведении работ в замкнутом пространстве (колодцы, баки и т.д.)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е складирование материалов и оборудования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рытие или ограждение открытых проемов.</a:t>
            </a:r>
          </a:p>
          <a:p>
            <a:pPr marL="285750" lvl="0" indent="-285750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endParaRPr lang="ru-RU" sz="1600" dirty="0" smtClean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endParaRPr lang="ru-RU" sz="16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endParaRPr lang="ru-RU" sz="1600" dirty="0" smtClean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endParaRPr lang="ru-RU" sz="1600" dirty="0" smtClean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endParaRPr lang="ru-RU" sz="16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150" y="1986800"/>
            <a:ext cx="2697973" cy="2713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333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12150" y="270641"/>
            <a:ext cx="8409987" cy="607183"/>
          </a:xfrm>
        </p:spPr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3.5. ПРАВИЛО </a:t>
            </a:r>
            <a:r>
              <a:rPr lang="ru-RU" dirty="0">
                <a:solidFill>
                  <a:srgbClr val="0078DC"/>
                </a:solidFill>
              </a:rPr>
              <a:t>№5 </a:t>
            </a:r>
          </a:p>
          <a:p>
            <a:r>
              <a:rPr lang="ru-RU" dirty="0">
                <a:solidFill>
                  <a:srgbClr val="0078DC"/>
                </a:solidFill>
              </a:rPr>
              <a:t>Следуй безопасным маршрутом 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11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612871" y="1820206"/>
            <a:ext cx="4835188" cy="3510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ередвижении по территории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а </a:t>
            </a: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гда следуй безопасными маршрутами. </a:t>
            </a:r>
          </a:p>
          <a:p>
            <a:pPr lvl="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endParaRPr lang="ru-RU" sz="16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работники должны знать и соблюдать безопасные маршруты передвижения по территории Общества и цехам филиала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роведении работ по наряду-допуску или распоряжению работники должны быть ознакомлены с безопасным маршрутом следования к месту проведения работ и внутри рабочей зоны.</a:t>
            </a:r>
          </a:p>
          <a:p>
            <a:pPr lvl="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b="1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1041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en-US" sz="1600" b="1" dirty="0" smtClean="0">
              <a:solidFill>
                <a:srgbClr val="7F7F7F"/>
              </a:solidFill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064" y="2112264"/>
            <a:ext cx="2542031" cy="254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257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447645" y="694566"/>
            <a:ext cx="8375650" cy="2070100"/>
          </a:xfrm>
        </p:spPr>
        <p:txBody>
          <a:bodyPr/>
          <a:lstStyle/>
          <a:p>
            <a:pPr marL="0" indent="0" algn="just">
              <a:buNone/>
              <a:defRPr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4.1. </a:t>
            </a:r>
            <a:r>
              <a:rPr lang="ru-RU" dirty="0"/>
              <a:t>Правила </a:t>
            </a:r>
            <a:r>
              <a:rPr lang="ru-RU" dirty="0" smtClean="0"/>
              <a:t>просты, понятны </a:t>
            </a:r>
            <a:r>
              <a:rPr lang="ru-RU" dirty="0"/>
              <a:t>и выполнимы, нарушение их влечет за собой применение мер воздействия к нарушителю со стороны Общества</a:t>
            </a:r>
            <a:r>
              <a:rPr lang="ru-RU" dirty="0" smtClean="0"/>
              <a:t>.</a:t>
            </a:r>
          </a:p>
          <a:p>
            <a:pPr marL="0" indent="0" algn="just">
              <a:buNone/>
              <a:defRPr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4.2. </a:t>
            </a:r>
            <a:r>
              <a:rPr lang="ru-RU" dirty="0" smtClean="0"/>
              <a:t>Все </a:t>
            </a:r>
            <a:r>
              <a:rPr lang="ru-RU" dirty="0"/>
              <a:t>работники Общества должны быть </a:t>
            </a:r>
            <a:r>
              <a:rPr lang="ru-RU" dirty="0" smtClean="0"/>
              <a:t>ознакомлены под </a:t>
            </a:r>
            <a:r>
              <a:rPr lang="ru-RU" dirty="0"/>
              <a:t>подпись с Правилами</a:t>
            </a:r>
            <a:r>
              <a:rPr lang="ru-RU" dirty="0" smtClean="0"/>
              <a:t> и пройти обучение. </a:t>
            </a:r>
          </a:p>
          <a:p>
            <a:pPr marL="0" indent="0" algn="just">
              <a:buNone/>
              <a:defRPr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4.3. </a:t>
            </a:r>
            <a:r>
              <a:rPr lang="ru-RU" dirty="0"/>
              <a:t>В филиалах Общества ознакомление под подпись с Правилами и обучение по ним проводятся одновременно:</a:t>
            </a:r>
          </a:p>
          <a:p>
            <a:pPr marL="285750" indent="-285750" algn="just">
              <a:buFontTx/>
              <a:buChar char="-"/>
              <a:defRPr/>
            </a:pPr>
            <a:r>
              <a:rPr lang="ru-RU" dirty="0"/>
              <a:t>Блоком охраны труда соответствующего филиала – для руководителей филиала и руководителей структурных подразделений филиала;</a:t>
            </a:r>
          </a:p>
          <a:p>
            <a:pPr marL="285750" indent="-285750" algn="just">
              <a:buFontTx/>
              <a:buChar char="-"/>
              <a:defRPr/>
            </a:pPr>
            <a:r>
              <a:rPr lang="ru-RU" dirty="0"/>
              <a:t>непосредственными руководителями работников, прошедшими обучение в Блоке охраны труда, - для </a:t>
            </a:r>
            <a:r>
              <a:rPr lang="ru-RU" dirty="0" smtClean="0"/>
              <a:t>подчиненных работников </a:t>
            </a:r>
            <a:r>
              <a:rPr lang="ru-RU" dirty="0"/>
              <a:t>структурных подразделений филиалов.</a:t>
            </a:r>
          </a:p>
          <a:p>
            <a:pPr marL="0" indent="0" algn="just">
              <a:buNone/>
              <a:defRPr/>
            </a:pPr>
            <a:r>
              <a:rPr lang="ru-RU" dirty="0" smtClean="0"/>
              <a:t>После ознакомления </a:t>
            </a:r>
            <a:r>
              <a:rPr lang="ru-RU" dirty="0"/>
              <a:t>работника с </a:t>
            </a:r>
            <a:r>
              <a:rPr lang="ru-RU" dirty="0" smtClean="0"/>
              <a:t>Правилами и прохождения обучения по ним </a:t>
            </a:r>
            <a:r>
              <a:rPr lang="ru-RU" dirty="0"/>
              <a:t>составляется </a:t>
            </a:r>
            <a:r>
              <a:rPr lang="ru-RU" dirty="0" smtClean="0"/>
              <a:t>акт </a:t>
            </a:r>
            <a:r>
              <a:rPr lang="ru-RU" dirty="0"/>
              <a:t>ознакомления и соблюдения жизненно важных правил (далее – Акт) по форме приложения 1, который работник обязан носить вместе с удостоверением по проверке знаний, а также делается </a:t>
            </a:r>
            <a:r>
              <a:rPr lang="ru-RU" dirty="0" smtClean="0"/>
              <a:t>соответствующая запись </a:t>
            </a:r>
            <a:r>
              <a:rPr lang="ru-RU" dirty="0"/>
              <a:t>в журнале инструктажей на рабочем месте по охране труда. </a:t>
            </a:r>
            <a:endParaRPr lang="ru-RU" dirty="0" smtClean="0"/>
          </a:p>
          <a:p>
            <a:pPr marL="0" indent="0" algn="just">
              <a:buNone/>
              <a:defRPr/>
            </a:pPr>
            <a:endParaRPr lang="en-US" altLang="en-US" dirty="0" smtClean="0"/>
          </a:p>
          <a:p>
            <a:pPr marL="0" indent="0" algn="just">
              <a:buNone/>
              <a:defRPr/>
            </a:pPr>
            <a:endParaRPr lang="ru-RU" altLang="en-US" dirty="0" smtClean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00791" y="200854"/>
            <a:ext cx="8409987" cy="493712"/>
          </a:xfrm>
        </p:spPr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4. Применение Правил</a:t>
            </a:r>
            <a:endParaRPr lang="ru-RU" dirty="0">
              <a:solidFill>
                <a:srgbClr val="0078DC"/>
              </a:solidFill>
            </a:endParaRPr>
          </a:p>
        </p:txBody>
      </p:sp>
      <p:sp>
        <p:nvSpPr>
          <p:cNvPr id="4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 smtClean="0"/>
              <a:t>12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1898891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335128" y="1005840"/>
            <a:ext cx="8375650" cy="2070100"/>
          </a:xfrm>
        </p:spPr>
        <p:txBody>
          <a:bodyPr/>
          <a:lstStyle/>
          <a:p>
            <a:pPr marL="0" indent="0" algn="just">
              <a:buNone/>
            </a:pP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4.4.</a:t>
            </a:r>
            <a:r>
              <a:rPr lang="ru-RU" dirty="0"/>
              <a:t> В Московском представительстве (Исполнительном аппарате) Общества (далее – ИА) ознакомление всех работников ИА под подпись с Правилами и обучение по Правилам проводятся одновременно:</a:t>
            </a:r>
          </a:p>
          <a:p>
            <a:pPr marL="0" indent="0" algn="just">
              <a:buNone/>
            </a:pPr>
            <a:r>
              <a:rPr lang="ru-RU" dirty="0" smtClean="0"/>
              <a:t>- Блоком </a:t>
            </a:r>
            <a:r>
              <a:rPr lang="ru-RU" dirty="0"/>
              <a:t>охраны труда ИА - для руководителей </a:t>
            </a:r>
            <a:r>
              <a:rPr lang="ru-RU" dirty="0" smtClean="0"/>
              <a:t>Общества, включая директоров и главных инженеров филиалов, </a:t>
            </a:r>
            <a:r>
              <a:rPr lang="ru-RU" dirty="0"/>
              <a:t>руководителей структурных </a:t>
            </a:r>
            <a:r>
              <a:rPr lang="ru-RU" dirty="0" smtClean="0"/>
              <a:t>подразделений ИА и работников, находящихся в непосредственном подчинении Генерального директора Общества;</a:t>
            </a:r>
            <a:endParaRPr lang="ru-RU" dirty="0"/>
          </a:p>
          <a:p>
            <a:pPr marL="0" indent="0" algn="just">
              <a:buNone/>
            </a:pPr>
            <a:r>
              <a:rPr lang="ru-RU" dirty="0" smtClean="0"/>
              <a:t>- непосредственными </a:t>
            </a:r>
            <a:r>
              <a:rPr lang="ru-RU" dirty="0"/>
              <a:t>руководителями работников, прошедшими обучение в Блоке охраны труда, - для работников структурных подразделений ИА.</a:t>
            </a:r>
          </a:p>
          <a:p>
            <a:pPr marL="0" indent="0" algn="just">
              <a:buNone/>
            </a:pPr>
            <a:r>
              <a:rPr lang="ru-RU" dirty="0"/>
              <a:t>После ознакомления работника с Правилами и прохождения обучения по ним составляется акт ознакомления и соблюдения жизненно важных правил (далее – Акт) по форме приложения 1, который работник обязан хранить на рабочем месте, а при выезде в командировку в филиалы Общества брать его с собой, а также делается соответствующая запись в журналах инструктажей на рабочем месте по охране труда. </a:t>
            </a:r>
          </a:p>
          <a:p>
            <a:pPr marL="0" indent="0" algn="just">
              <a:buNone/>
            </a:pP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4.5.</a:t>
            </a:r>
            <a:r>
              <a:rPr lang="ru-RU" dirty="0"/>
              <a:t> Все нарушения Правил, совершенные работником, записываются непосредственным руководителем в Акт после проведения расследования факта нарушения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00791" y="372733"/>
            <a:ext cx="8409987" cy="633107"/>
          </a:xfrm>
        </p:spPr>
        <p:txBody>
          <a:bodyPr/>
          <a:lstStyle/>
          <a:p>
            <a:r>
              <a:rPr lang="ru-RU" dirty="0">
                <a:solidFill>
                  <a:srgbClr val="0078DC"/>
                </a:solidFill>
              </a:rPr>
              <a:t>4. Применение </a:t>
            </a:r>
            <a:r>
              <a:rPr lang="ru-RU" dirty="0" smtClean="0">
                <a:solidFill>
                  <a:srgbClr val="0078DC"/>
                </a:solidFill>
              </a:rPr>
              <a:t>Правил</a:t>
            </a:r>
            <a:endParaRPr lang="ru-RU" dirty="0">
              <a:solidFill>
                <a:srgbClr val="0078DC"/>
              </a:solidFill>
            </a:endParaRPr>
          </a:p>
        </p:txBody>
      </p:sp>
      <p:sp>
        <p:nvSpPr>
          <p:cNvPr id="4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 smtClean="0"/>
              <a:t>13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3861693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 algn="just">
              <a:buNone/>
              <a:defRPr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4.6. </a:t>
            </a:r>
            <a:r>
              <a:rPr lang="ru-RU" dirty="0"/>
              <a:t>Работник, ознакомленный с Правилами и нарушающий их, не исполняет или </a:t>
            </a:r>
            <a:r>
              <a:rPr lang="ru-RU" dirty="0" smtClean="0"/>
              <a:t>не надлежаще </a:t>
            </a:r>
            <a:r>
              <a:rPr lang="ru-RU" dirty="0"/>
              <a:t>исполняет по своей вине возложенные на него трудовые обязанности (совершает дисциплинарный проступок). </a:t>
            </a:r>
          </a:p>
          <a:p>
            <a:pPr marL="0" indent="0" algn="just">
              <a:buNone/>
              <a:defRPr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4.7. </a:t>
            </a:r>
            <a:r>
              <a:rPr lang="ru-RU" dirty="0"/>
              <a:t>Ответственность за нарушение Правил может применятся, если:</a:t>
            </a:r>
          </a:p>
          <a:p>
            <a:pPr lvl="1" algn="just"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  <a:defRPr/>
            </a:pPr>
            <a: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о создало все необходимые условия для выполнения работником данных Правил (например, работнику доступны все необходимые СИЗ и оборудование для безопасных работ);</a:t>
            </a:r>
          </a:p>
          <a:p>
            <a:pPr lvl="1" algn="just"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  <a:defRPr/>
            </a:pPr>
            <a:r>
              <a:rPr lang="ru-RU" sz="18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ник / подрядчик / поставщик был ознакомлен под подпись с жизненно важными правилами.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>
                <a:solidFill>
                  <a:srgbClr val="0078DC"/>
                </a:solidFill>
              </a:rPr>
              <a:t>4. Применение Правил</a:t>
            </a:r>
          </a:p>
          <a:p>
            <a:endParaRPr lang="ru-RU" dirty="0">
              <a:solidFill>
                <a:srgbClr val="0078DC"/>
              </a:solidFill>
            </a:endParaRPr>
          </a:p>
        </p:txBody>
      </p:sp>
      <p:sp>
        <p:nvSpPr>
          <p:cNvPr id="4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 smtClean="0"/>
              <a:t>14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31420564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300791" y="1097765"/>
            <a:ext cx="8598560" cy="3776472"/>
          </a:xfrm>
        </p:spPr>
        <p:txBody>
          <a:bodyPr/>
          <a:lstStyle/>
          <a:p>
            <a:pPr marL="0" indent="0" algn="just">
              <a:spcAft>
                <a:spcPts val="1000"/>
              </a:spcAft>
              <a:buNone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5.1. </a:t>
            </a:r>
            <a:r>
              <a:rPr lang="ru-RU" dirty="0" smtClean="0"/>
              <a:t>Любой </a:t>
            </a:r>
            <a:r>
              <a:rPr lang="ru-RU" dirty="0"/>
              <a:t>работник </a:t>
            </a:r>
            <a:r>
              <a:rPr lang="ru-RU" dirty="0" smtClean="0"/>
              <a:t>Общества </a:t>
            </a:r>
            <a:r>
              <a:rPr lang="ru-RU" dirty="0"/>
              <a:t>при обнаружении / выявлении </a:t>
            </a:r>
            <a:r>
              <a:rPr lang="ru-RU" dirty="0" smtClean="0"/>
              <a:t>нарушения Правил обязан сообщить об этом любым доступным способом в устной </a:t>
            </a:r>
            <a:r>
              <a:rPr lang="ru-RU" dirty="0"/>
              <a:t>или </a:t>
            </a:r>
            <a:r>
              <a:rPr lang="ru-RU" dirty="0" smtClean="0"/>
              <a:t>письменной форме непосредственному руководителю </a:t>
            </a:r>
            <a:r>
              <a:rPr lang="ru-RU" dirty="0"/>
              <a:t>работника, </a:t>
            </a:r>
            <a:r>
              <a:rPr lang="ru-RU" dirty="0" smtClean="0"/>
              <a:t>нарушившего Правила, или, если руководитель «нарушителя» обнаружившему / выявившему нарушение работнику неизвестен, – то своему непосредственному руководителю. </a:t>
            </a:r>
          </a:p>
          <a:p>
            <a:pPr marL="0" lvl="0" indent="0" algn="just">
              <a:spcBef>
                <a:spcPts val="0"/>
              </a:spcBef>
              <a:spcAft>
                <a:spcPts val="1000"/>
              </a:spcAft>
              <a:buNone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5.2.</a:t>
            </a:r>
            <a:r>
              <a:rPr lang="ru-RU" dirty="0" smtClean="0"/>
              <a:t> </a:t>
            </a:r>
            <a:r>
              <a:rPr lang="ru-RU" dirty="0"/>
              <a:t>Руководитель, получивший  информацию о факте нарушения </a:t>
            </a:r>
            <a:r>
              <a:rPr lang="ru-RU" dirty="0" smtClean="0"/>
              <a:t>Правил </a:t>
            </a:r>
            <a:r>
              <a:rPr lang="ru-RU" dirty="0"/>
              <a:t>или сам выявивший факт такого </a:t>
            </a:r>
            <a:r>
              <a:rPr lang="ru-RU" dirty="0" smtClean="0"/>
              <a:t>нарушения, </a:t>
            </a:r>
            <a:r>
              <a:rPr lang="ru-RU" dirty="0"/>
              <a:t>обязан письменно </a:t>
            </a:r>
            <a:r>
              <a:rPr lang="ru-RU" dirty="0" smtClean="0"/>
              <a:t>любым </a:t>
            </a:r>
            <a:r>
              <a:rPr lang="ru-RU" dirty="0"/>
              <a:t>доступным способом </a:t>
            </a:r>
            <a:r>
              <a:rPr lang="ru-RU" dirty="0" smtClean="0"/>
              <a:t>сообщить о </a:t>
            </a:r>
            <a:r>
              <a:rPr lang="ru-RU" dirty="0"/>
              <a:t>данном факте </a:t>
            </a:r>
            <a:r>
              <a:rPr lang="ru-RU" dirty="0" smtClean="0"/>
              <a:t>в </a:t>
            </a:r>
            <a:r>
              <a:rPr lang="ru-RU" dirty="0"/>
              <a:t>Блок охраны труда обособленного структурного подразделения Общества по месту нарушения Правил</a:t>
            </a:r>
            <a:r>
              <a:rPr lang="ru-RU" dirty="0" smtClean="0"/>
              <a:t>. </a:t>
            </a:r>
            <a:r>
              <a:rPr lang="ru-RU" dirty="0" smtClean="0">
                <a:solidFill>
                  <a:srgbClr val="FF0000"/>
                </a:solidFill>
              </a:rPr>
              <a:t> </a:t>
            </a:r>
          </a:p>
          <a:p>
            <a:pPr marL="0" lvl="0" indent="0" algn="just">
              <a:spcBef>
                <a:spcPts val="0"/>
              </a:spcBef>
              <a:buNone/>
            </a:pPr>
            <a:r>
              <a:rPr lang="ru-RU" dirty="0" smtClean="0"/>
              <a:t>Письменное </a:t>
            </a:r>
            <a:r>
              <a:rPr lang="ru-RU" dirty="0"/>
              <a:t>сообщение составляется в произвольной форме и должно содержать следующую информацию:</a:t>
            </a:r>
          </a:p>
          <a:p>
            <a:pPr marL="712788" indent="274638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dirty="0"/>
              <a:t>Ф.И.О. и должность нарушителя;</a:t>
            </a:r>
          </a:p>
          <a:p>
            <a:pPr marL="712788" indent="274638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dirty="0"/>
              <a:t>факт нарушения;</a:t>
            </a:r>
          </a:p>
          <a:p>
            <a:pPr marL="712788" indent="274638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dirty="0"/>
              <a:t>предпринятые превентивные меры;</a:t>
            </a:r>
            <a:endParaRPr lang="en-US" dirty="0"/>
          </a:p>
          <a:p>
            <a:pPr marL="712788" indent="274638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dirty="0"/>
              <a:t>Ф.И.О. и должность лица, обнаружившего/ выявившего нарушение.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00791" y="110340"/>
            <a:ext cx="8409987" cy="987425"/>
          </a:xfrm>
        </p:spPr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5. Порядок выявления и расследования нарушений Правил</a:t>
            </a:r>
            <a:endParaRPr lang="ru-RU" dirty="0">
              <a:solidFill>
                <a:srgbClr val="0078DC"/>
              </a:solidFill>
            </a:endParaRPr>
          </a:p>
        </p:txBody>
      </p:sp>
      <p:sp>
        <p:nvSpPr>
          <p:cNvPr id="4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 smtClean="0"/>
              <a:t>15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4161187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5.3.</a:t>
            </a:r>
            <a:r>
              <a:rPr lang="ru-RU" dirty="0" smtClean="0"/>
              <a:t> Блок </a:t>
            </a:r>
            <a:r>
              <a:rPr lang="ru-RU" dirty="0"/>
              <a:t>охраны труда совместно с первичной профсоюзной организацией (при наличии) (далее – ППО) по месту совершения нарушения проводят расследование по факту нарушения </a:t>
            </a:r>
            <a:r>
              <a:rPr lang="ru-RU" dirty="0" smtClean="0"/>
              <a:t>Правил.</a:t>
            </a:r>
            <a:endParaRPr lang="ru-RU" dirty="0" smtClean="0">
              <a:solidFill>
                <a:srgbClr val="FF0000"/>
              </a:solidFill>
            </a:endParaRP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5.4. </a:t>
            </a:r>
            <a:r>
              <a:rPr lang="ru-RU" dirty="0"/>
              <a:t>По результатам расследования Блок охраны труда по месту совершения нарушения по согласованию с ППО соответствующего филиала Общества (при наличии) в срок не позднее 7 (семи) рабочих дней с даты получения письменного сообщения о факте нарушения Правил составляют акт результатов расследования нарушения работником Правил по форме приложения 2 и </a:t>
            </a:r>
            <a:r>
              <a:rPr lang="ru-RU" dirty="0" smtClean="0"/>
              <a:t>направляют </a:t>
            </a:r>
            <a:r>
              <a:rPr lang="ru-RU" dirty="0"/>
              <a:t>его со всеми копиями материалов расследования в отдел кадрового администрирования (в филиалах) / Управление кадрового администрирования (в ИА) (далее именуемые Блок управления персоналом)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5. </a:t>
            </a:r>
            <a:r>
              <a:rPr lang="ru-RU" dirty="0">
                <a:solidFill>
                  <a:srgbClr val="0078DC"/>
                </a:solidFill>
              </a:rPr>
              <a:t>Порядок выявления и расследования нарушений Правил</a:t>
            </a:r>
          </a:p>
          <a:p>
            <a:endParaRPr lang="ru-RU" b="0" dirty="0"/>
          </a:p>
        </p:txBody>
      </p:sp>
      <p:sp>
        <p:nvSpPr>
          <p:cNvPr id="4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 smtClean="0"/>
              <a:t>16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38323343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300791" y="1360158"/>
            <a:ext cx="8598560" cy="3776472"/>
          </a:xfrm>
        </p:spPr>
        <p:txBody>
          <a:bodyPr/>
          <a:lstStyle/>
          <a:p>
            <a:pPr marL="0" indent="0" algn="just">
              <a:buNone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5.5. </a:t>
            </a:r>
            <a:r>
              <a:rPr lang="ru-RU" dirty="0" smtClean="0"/>
              <a:t>Блок </a:t>
            </a:r>
            <a:r>
              <a:rPr lang="ru-RU" dirty="0"/>
              <a:t>управления персоналом по месту совершения нарушения на основании акта результатов расследования нарушения работником жизненно важных правил по охране труда и материалов расследования </a:t>
            </a:r>
            <a:r>
              <a:rPr lang="ru-RU" dirty="0" smtClean="0"/>
              <a:t>в соответствии с требованиями ст. ст. 192-193 ТК РФ инициирует и организует рассмотрение вопроса о привлечении «нарушителя» к дисциплинарной ответственности. 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5.6.</a:t>
            </a:r>
            <a:r>
              <a:rPr lang="ru-RU" dirty="0" smtClean="0"/>
              <a:t> Решение о применении дисциплинарного взыскания принимается уполномоченным должностным лицом Общества / Филиала и оформляется приказом. </a:t>
            </a:r>
            <a:r>
              <a:rPr lang="ru-RU" dirty="0"/>
              <a:t>Информация о применении в отношении работника дисциплинарного взыскания за нарушение жизненно важных правил вносится непосредственным руководителем работника в личную карточку нарушителя в </a:t>
            </a:r>
            <a:r>
              <a:rPr lang="en-US" dirty="0"/>
              <a:t>Axapta/</a:t>
            </a:r>
            <a:r>
              <a:rPr lang="ru-RU" dirty="0"/>
              <a:t>ТОРО/Учет нарушений/Учет нарушителей филиалов и в акт ознакомления и соблюдения жизненно важных правил.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5. </a:t>
            </a:r>
            <a:r>
              <a:rPr lang="ru-RU" dirty="0">
                <a:solidFill>
                  <a:srgbClr val="0078DC"/>
                </a:solidFill>
              </a:rPr>
              <a:t>Порядок выявления и расследования нарушений Правил</a:t>
            </a:r>
          </a:p>
        </p:txBody>
      </p:sp>
      <p:sp>
        <p:nvSpPr>
          <p:cNvPr id="4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 smtClean="0"/>
              <a:t>17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3329608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317959" y="626500"/>
            <a:ext cx="8375650" cy="239946"/>
          </a:xfrm>
        </p:spPr>
        <p:txBody>
          <a:bodyPr/>
          <a:lstStyle/>
          <a:p>
            <a:pPr marL="0" indent="0" algn="just">
              <a:buNone/>
              <a:defRPr/>
            </a:pPr>
            <a:endParaRPr lang="ru-RU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0" indent="0" algn="just">
              <a:buNone/>
              <a:defRPr/>
            </a:pP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6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.1.</a:t>
            </a:r>
            <a:r>
              <a:rPr lang="ru-RU" dirty="0" smtClean="0"/>
              <a:t> </a:t>
            </a:r>
            <a:r>
              <a:rPr lang="ru-RU" dirty="0"/>
              <a:t>Работники подрядных организаций </a:t>
            </a:r>
            <a:r>
              <a:rPr lang="ru-RU" dirty="0" err="1"/>
              <a:t>ознакамливаются</a:t>
            </a:r>
            <a:r>
              <a:rPr lang="ru-RU" dirty="0"/>
              <a:t> с </a:t>
            </a:r>
            <a:r>
              <a:rPr lang="ru-RU" dirty="0" smtClean="0"/>
              <a:t>Правилами </a:t>
            </a:r>
            <a:r>
              <a:rPr lang="ru-RU" dirty="0"/>
              <a:t>под подпись при проведении вводного инструктажа по безопасности труда в Блоке охраны </a:t>
            </a:r>
            <a:r>
              <a:rPr lang="ru-RU" dirty="0" smtClean="0"/>
              <a:t>труда по месту выполнения работ. </a:t>
            </a:r>
            <a:r>
              <a:rPr lang="ru-RU" dirty="0"/>
              <a:t>После ознакомления с Правилами работникам подрядных организаций также выдаются Акты, которые они обязаны носить вместе с удостоверением по проверке знаний. Все нарушения Правил, совершенные работником подрядной организации, записываются </a:t>
            </a:r>
            <a:r>
              <a:rPr lang="ru-RU" dirty="0" smtClean="0"/>
              <a:t>работниками Общества, непосредственно выявившими </a:t>
            </a:r>
            <a:r>
              <a:rPr lang="ru-RU" dirty="0"/>
              <a:t>/ обнаружившими такие нарушения.</a:t>
            </a:r>
          </a:p>
          <a:p>
            <a:pPr marL="0" indent="0" algn="just">
              <a:buNone/>
              <a:defRPr/>
            </a:pP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6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.2.</a:t>
            </a:r>
            <a:r>
              <a:rPr lang="ru-RU" dirty="0" smtClean="0"/>
              <a:t> </a:t>
            </a:r>
            <a:r>
              <a:rPr lang="ru-RU" dirty="0"/>
              <a:t>В случае выявления нарушений Правил работниками подрядных </a:t>
            </a:r>
            <a:r>
              <a:rPr lang="ru-RU" dirty="0" smtClean="0"/>
              <a:t>организаций в филиале Общества Блоком охраны труда соответствующего филиала совместно </a:t>
            </a:r>
            <a:r>
              <a:rPr lang="ru-RU" dirty="0"/>
              <a:t>с непосредственным руководителем работника подрядной организации проводят расследование, результаты которого фиксируют в акте расследования по форме приложения 2. </a:t>
            </a:r>
          </a:p>
          <a:p>
            <a:pPr marL="0" indent="0" algn="just">
              <a:buNone/>
              <a:defRPr/>
            </a:pP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6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.3. </a:t>
            </a:r>
            <a:r>
              <a:rPr lang="ru-RU" dirty="0" smtClean="0"/>
              <a:t>По </a:t>
            </a:r>
            <a:r>
              <a:rPr lang="ru-RU" dirty="0"/>
              <a:t>результатам расследования Общество </a:t>
            </a:r>
            <a:r>
              <a:rPr lang="ru-RU" dirty="0" smtClean="0"/>
              <a:t>может </a:t>
            </a:r>
            <a:r>
              <a:rPr lang="ru-RU" dirty="0"/>
              <a:t>принять решение об удалении такого работника подрядной организации с площадки Общества с последующей блокировкой пропуска или нанесением на пропуск прокола / риски. При наличии на пропуске трех проколов / рисок доступ работника на площадку Общества блокируется без последующего восстановления права прохода.</a:t>
            </a:r>
          </a:p>
          <a:p>
            <a:pPr marL="0" indent="0" algn="just">
              <a:buNone/>
              <a:defRPr/>
            </a:pPr>
            <a:endParaRPr lang="en-US" altLang="en-US" dirty="0"/>
          </a:p>
          <a:p>
            <a:pPr marL="0" indent="0" algn="just">
              <a:buNone/>
              <a:defRPr/>
            </a:pPr>
            <a:endParaRPr lang="ru-RU" altLang="en-US" dirty="0" smtClean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00791" y="372734"/>
            <a:ext cx="8409987" cy="493712"/>
          </a:xfrm>
        </p:spPr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6. Работа с подрядными организациями</a:t>
            </a:r>
          </a:p>
          <a:p>
            <a:endParaRPr lang="ru-RU" sz="1800" b="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 smtClean="0">
              <a:solidFill>
                <a:srgbClr val="0078DC"/>
              </a:solidFill>
            </a:endParaRPr>
          </a:p>
          <a:p>
            <a:endParaRPr lang="ru-RU" dirty="0" smtClean="0">
              <a:solidFill>
                <a:srgbClr val="0078DC"/>
              </a:solidFill>
            </a:endParaRPr>
          </a:p>
          <a:p>
            <a:endParaRPr lang="ru-RU" dirty="0">
              <a:solidFill>
                <a:srgbClr val="0078DC"/>
              </a:solidFill>
            </a:endParaRPr>
          </a:p>
        </p:txBody>
      </p:sp>
      <p:sp>
        <p:nvSpPr>
          <p:cNvPr id="4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 smtClean="0"/>
              <a:t>18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3240126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7" name="TextBox 33"/>
          <p:cNvSpPr txBox="1">
            <a:spLocks noChangeArrowheads="1"/>
          </p:cNvSpPr>
          <p:nvPr/>
        </p:nvSpPr>
        <p:spPr bwMode="auto">
          <a:xfrm>
            <a:off x="460314" y="130075"/>
            <a:ext cx="9006840" cy="129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85725" indent="-85725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1588" indent="-255588" defTabSz="10414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98788" indent="-255588" defTabSz="10414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5988" indent="-255588" defTabSz="10414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3188" indent="-255588" defTabSz="10414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1000"/>
              </a:spcBef>
            </a:pPr>
            <a:r>
              <a:rPr lang="ru-RU" altLang="en-US" sz="2800" b="1" dirty="0">
                <a:solidFill>
                  <a:srgbClr val="0078DC"/>
                </a:solidFill>
                <a:latin typeface="+mn-lt"/>
                <a:cs typeface="+mn-cs"/>
              </a:rPr>
              <a:t>7</a:t>
            </a:r>
            <a:r>
              <a:rPr lang="ru-RU" altLang="en-US" sz="2800" b="1" dirty="0" smtClean="0">
                <a:solidFill>
                  <a:srgbClr val="0078DC"/>
                </a:solidFill>
                <a:latin typeface="+mn-lt"/>
                <a:cs typeface="+mn-cs"/>
              </a:rPr>
              <a:t>. </a:t>
            </a:r>
            <a:r>
              <a:rPr lang="ru-RU" altLang="en-US" sz="2800" b="1" dirty="0">
                <a:solidFill>
                  <a:srgbClr val="0078DC"/>
                </a:solidFill>
                <a:latin typeface="+mn-lt"/>
                <a:cs typeface="+mn-cs"/>
              </a:rPr>
              <a:t>Ответственность за нарушение </a:t>
            </a:r>
            <a:r>
              <a:rPr lang="ru-RU" altLang="en-US" sz="2800" b="1" dirty="0" smtClean="0">
                <a:solidFill>
                  <a:srgbClr val="0078DC"/>
                </a:solidFill>
                <a:latin typeface="+mn-lt"/>
                <a:cs typeface="+mn-cs"/>
              </a:rPr>
              <a:t>Правил работниками Общества</a:t>
            </a:r>
            <a:endParaRPr lang="ru-RU" altLang="en-US" sz="2800" b="1" dirty="0">
              <a:solidFill>
                <a:srgbClr val="0078DC"/>
              </a:solidFill>
              <a:latin typeface="+mn-lt"/>
              <a:cs typeface="+mn-cs"/>
            </a:endParaRPr>
          </a:p>
          <a:p>
            <a:pPr marL="0" indent="0">
              <a:lnSpc>
                <a:spcPct val="90000"/>
              </a:lnSpc>
              <a:spcBef>
                <a:spcPts val="1000"/>
              </a:spcBef>
            </a:pPr>
            <a:endParaRPr lang="ru-RU" altLang="en-US" sz="2800" b="1" dirty="0">
              <a:solidFill>
                <a:srgbClr val="69AB46"/>
              </a:solidFill>
              <a:latin typeface="+mn-lt"/>
              <a:cs typeface="+mn-cs"/>
            </a:endParaRPr>
          </a:p>
        </p:txBody>
      </p:sp>
      <p:grpSp>
        <p:nvGrpSpPr>
          <p:cNvPr id="8198" name="Группа 59"/>
          <p:cNvGrpSpPr>
            <a:grpSpLocks/>
          </p:cNvGrpSpPr>
          <p:nvPr/>
        </p:nvGrpSpPr>
        <p:grpSpPr bwMode="auto">
          <a:xfrm>
            <a:off x="363007" y="1102888"/>
            <a:ext cx="8339860" cy="4827850"/>
            <a:chOff x="514684" y="1076716"/>
            <a:chExt cx="10111431" cy="5637839"/>
          </a:xfrm>
        </p:grpSpPr>
        <p:sp>
          <p:nvSpPr>
            <p:cNvPr id="61" name="Right Arrow 38">
              <a:extLst/>
            </p:cNvPr>
            <p:cNvSpPr/>
            <p:nvPr/>
          </p:nvSpPr>
          <p:spPr>
            <a:xfrm flipH="1">
              <a:off x="4145044" y="2076031"/>
              <a:ext cx="689089" cy="609188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B3B3B3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hangingPunct="1">
                <a:defRPr/>
              </a:pPr>
              <a:r>
                <a:rPr lang="ru-RU" sz="1028" dirty="0">
                  <a:solidFill>
                    <a:schemeClr val="bg1"/>
                  </a:solidFill>
                </a:rPr>
                <a:t>нет</a:t>
              </a:r>
              <a:endParaRPr lang="en-GB" sz="1028" dirty="0">
                <a:solidFill>
                  <a:schemeClr val="bg1"/>
                </a:solidFill>
              </a:endParaRPr>
            </a:p>
          </p:txBody>
        </p:sp>
        <p:grpSp>
          <p:nvGrpSpPr>
            <p:cNvPr id="62" name="Group 16">
              <a:extLst/>
            </p:cNvPr>
            <p:cNvGrpSpPr/>
            <p:nvPr/>
          </p:nvGrpSpPr>
          <p:grpSpPr>
            <a:xfrm>
              <a:off x="2564411" y="1076716"/>
              <a:ext cx="1413774" cy="3600400"/>
              <a:chOff x="3576" y="330911"/>
              <a:chExt cx="1563547" cy="938128"/>
            </a:xfrm>
            <a:gradFill>
              <a:gsLst>
                <a:gs pos="0">
                  <a:srgbClr val="006600"/>
                </a:gs>
                <a:gs pos="95000">
                  <a:srgbClr val="006600">
                    <a:tint val="44500"/>
                    <a:satMod val="160000"/>
                  </a:srgbClr>
                </a:gs>
                <a:gs pos="100000">
                  <a:srgbClr val="006600">
                    <a:tint val="23500"/>
                    <a:satMod val="160000"/>
                  </a:srgbClr>
                </a:gs>
              </a:gsLst>
              <a:lin ang="8100000" scaled="1"/>
            </a:gradFill>
          </p:grpSpPr>
          <p:sp>
            <p:nvSpPr>
              <p:cNvPr id="96" name="Rounded Rectangle 17">
                <a:extLst/>
              </p:cNvPr>
              <p:cNvSpPr/>
              <p:nvPr/>
            </p:nvSpPr>
            <p:spPr>
              <a:xfrm>
                <a:off x="3576" y="330911"/>
                <a:ext cx="1563547" cy="938128"/>
              </a:xfrm>
              <a:prstGeom prst="roundRect">
                <a:avLst>
                  <a:gd name="adj" fmla="val 10000"/>
                </a:avLst>
              </a:prstGeom>
              <a:solidFill>
                <a:srgbClr val="0078DC"/>
              </a:solidFill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eaLnBrk="1" hangingPunct="1">
                  <a:defRPr/>
                </a:pPr>
                <a:endParaRPr lang="en-GB" sz="1028"/>
              </a:p>
            </p:txBody>
          </p:sp>
          <p:sp>
            <p:nvSpPr>
              <p:cNvPr id="97" name="Rounded Rectangle 4">
                <a:extLst/>
              </p:cNvPr>
              <p:cNvSpPr/>
              <p:nvPr/>
            </p:nvSpPr>
            <p:spPr>
              <a:xfrm>
                <a:off x="17132" y="364064"/>
                <a:ext cx="1508593" cy="883174"/>
              </a:xfrm>
              <a:prstGeom prst="rect">
                <a:avLst/>
              </a:prstGeom>
              <a:solidFill>
                <a:srgbClr val="0078DC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45672" tIns="45672" rIns="45672" bIns="45672" spcCol="1270" anchor="ctr"/>
              <a:lstStyle/>
              <a:p>
                <a:pPr algn="ctr" defTabSz="532875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ru-RU" sz="1028" dirty="0">
                    <a:solidFill>
                      <a:schemeClr val="bg1"/>
                    </a:solidFill>
                  </a:rPr>
                  <a:t>Никаких негативных последствий для </a:t>
                </a:r>
                <a:r>
                  <a:rPr lang="ru-RU" sz="1028" dirty="0" smtClean="0">
                    <a:solidFill>
                      <a:schemeClr val="bg1"/>
                    </a:solidFill>
                  </a:rPr>
                  <a:t>работника, </a:t>
                </a:r>
                <a:r>
                  <a:rPr lang="ru-RU" sz="1028" dirty="0">
                    <a:solidFill>
                      <a:schemeClr val="bg1"/>
                    </a:solidFill>
                  </a:rPr>
                  <a:t>нарушившего правило*</a:t>
                </a:r>
              </a:p>
              <a:p>
                <a:pPr algn="ctr" defTabSz="532875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endParaRPr lang="en-US" sz="1028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4" name="Group 25">
              <a:extLst/>
            </p:cNvPr>
            <p:cNvGrpSpPr/>
            <p:nvPr/>
          </p:nvGrpSpPr>
          <p:grpSpPr>
            <a:xfrm>
              <a:off x="4939476" y="3161596"/>
              <a:ext cx="2984253" cy="870797"/>
              <a:chOff x="10824" y="-1226483"/>
              <a:chExt cx="1676403" cy="1418104"/>
            </a:xfrm>
            <a:solidFill>
              <a:schemeClr val="bg1">
                <a:lumMod val="75000"/>
              </a:schemeClr>
            </a:solidFill>
          </p:grpSpPr>
          <p:sp>
            <p:nvSpPr>
              <p:cNvPr id="92" name="Rounded Rectangle 26">
                <a:extLst/>
              </p:cNvPr>
              <p:cNvSpPr/>
              <p:nvPr/>
            </p:nvSpPr>
            <p:spPr>
              <a:xfrm>
                <a:off x="10824" y="-1226483"/>
                <a:ext cx="1676403" cy="1418104"/>
              </a:xfrm>
              <a:prstGeom prst="roundRect">
                <a:avLst>
                  <a:gd name="adj" fmla="val 10000"/>
                </a:avLst>
              </a:prstGeom>
              <a:solidFill>
                <a:srgbClr val="B3B3B3"/>
              </a:solidFill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eaLnBrk="1" hangingPunct="1">
                  <a:defRPr/>
                </a:pPr>
                <a:endParaRPr lang="en-GB" sz="1028"/>
              </a:p>
            </p:txBody>
          </p:sp>
          <p:sp>
            <p:nvSpPr>
              <p:cNvPr id="93" name="Rounded Rectangle 4">
                <a:extLst/>
              </p:cNvPr>
              <p:cNvSpPr/>
              <p:nvPr/>
            </p:nvSpPr>
            <p:spPr>
              <a:xfrm>
                <a:off x="93713" y="-1025177"/>
                <a:ext cx="1536070" cy="1072344"/>
              </a:xfrm>
              <a:prstGeom prst="rect">
                <a:avLst/>
              </a:prstGeom>
              <a:solidFill>
                <a:srgbClr val="B3B3B3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45672" tIns="45672" rIns="45672" bIns="45672" spcCol="1270" anchor="ctr"/>
              <a:lstStyle/>
              <a:p>
                <a:pPr algn="ctr" defTabSz="532875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endParaRPr lang="ru-RU" sz="1028" dirty="0">
                  <a:solidFill>
                    <a:schemeClr val="tx1"/>
                  </a:solidFill>
                </a:endParaRPr>
              </a:p>
              <a:p>
                <a:pPr algn="ctr" defTabSz="532875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ru-RU" sz="1028" dirty="0">
                    <a:solidFill>
                      <a:schemeClr val="bg1"/>
                    </a:solidFill>
                  </a:rPr>
                  <a:t>Р</a:t>
                </a:r>
                <a:r>
                  <a:rPr lang="ru-RU" sz="1028" dirty="0" smtClean="0">
                    <a:solidFill>
                      <a:schemeClr val="bg1"/>
                    </a:solidFill>
                  </a:rPr>
                  <a:t>аботник обеспечен необходимыми СИЗ, исправными инструментами, приспособлениями и  оборудованием?</a:t>
                </a:r>
                <a:endParaRPr lang="ru-RU" sz="1028" dirty="0">
                  <a:solidFill>
                    <a:schemeClr val="bg1"/>
                  </a:solidFill>
                </a:endParaRPr>
              </a:p>
              <a:p>
                <a:pPr algn="ctr" defTabSz="532875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endParaRPr lang="en-US" sz="1028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5" name="Group 28">
              <a:extLst/>
            </p:cNvPr>
            <p:cNvGrpSpPr/>
            <p:nvPr/>
          </p:nvGrpSpPr>
          <p:grpSpPr>
            <a:xfrm>
              <a:off x="5039927" y="4504600"/>
              <a:ext cx="2783352" cy="584914"/>
              <a:chOff x="74153" y="-681107"/>
              <a:chExt cx="1563547" cy="952540"/>
            </a:xfrm>
            <a:solidFill>
              <a:schemeClr val="bg1">
                <a:lumMod val="75000"/>
              </a:schemeClr>
            </a:solidFill>
          </p:grpSpPr>
          <p:sp>
            <p:nvSpPr>
              <p:cNvPr id="90" name="Rounded Rectangle 29">
                <a:extLst/>
              </p:cNvPr>
              <p:cNvSpPr/>
              <p:nvPr/>
            </p:nvSpPr>
            <p:spPr>
              <a:xfrm>
                <a:off x="74153" y="-681107"/>
                <a:ext cx="1563547" cy="938128"/>
              </a:xfrm>
              <a:prstGeom prst="roundRect">
                <a:avLst>
                  <a:gd name="adj" fmla="val 10000"/>
                </a:avLst>
              </a:prstGeom>
              <a:solidFill>
                <a:srgbClr val="B3B3B3"/>
              </a:solidFill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eaLnBrk="1" hangingPunct="1">
                  <a:defRPr/>
                </a:pPr>
                <a:endParaRPr lang="en-GB" sz="1028"/>
              </a:p>
            </p:txBody>
          </p:sp>
          <p:sp>
            <p:nvSpPr>
              <p:cNvPr id="91" name="Rounded Rectangle 4">
                <a:extLst/>
              </p:cNvPr>
              <p:cNvSpPr/>
              <p:nvPr/>
            </p:nvSpPr>
            <p:spPr>
              <a:xfrm>
                <a:off x="128090" y="-611741"/>
                <a:ext cx="1508593" cy="883174"/>
              </a:xfrm>
              <a:prstGeom prst="rect">
                <a:avLst/>
              </a:prstGeom>
              <a:solidFill>
                <a:srgbClr val="B3B3B3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45672" tIns="45672" rIns="45672" bIns="45672" spcCol="1270" anchor="ctr"/>
              <a:lstStyle/>
              <a:p>
                <a:pPr algn="ctr" defTabSz="532875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ru-RU" sz="1028" dirty="0">
                    <a:solidFill>
                      <a:schemeClr val="bg1"/>
                    </a:solidFill>
                  </a:rPr>
                  <a:t>Н</a:t>
                </a:r>
                <a:r>
                  <a:rPr lang="ru-RU" sz="1028" dirty="0" smtClean="0">
                    <a:solidFill>
                      <a:schemeClr val="bg1"/>
                    </a:solidFill>
                  </a:rPr>
                  <a:t>арушение</a:t>
                </a:r>
                <a:endParaRPr lang="en-US" sz="1028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66" name="Group 31">
              <a:extLst/>
            </p:cNvPr>
            <p:cNvGrpSpPr/>
            <p:nvPr/>
          </p:nvGrpSpPr>
          <p:grpSpPr>
            <a:xfrm>
              <a:off x="4943910" y="2101701"/>
              <a:ext cx="2783352" cy="576064"/>
              <a:chOff x="3576" y="330911"/>
              <a:chExt cx="1563547" cy="938128"/>
            </a:xfrm>
            <a:solidFill>
              <a:schemeClr val="bg1">
                <a:lumMod val="75000"/>
              </a:schemeClr>
            </a:solidFill>
          </p:grpSpPr>
          <p:sp>
            <p:nvSpPr>
              <p:cNvPr id="88" name="Rounded Rectangle 32">
                <a:extLst/>
              </p:cNvPr>
              <p:cNvSpPr/>
              <p:nvPr/>
            </p:nvSpPr>
            <p:spPr>
              <a:xfrm>
                <a:off x="3576" y="330911"/>
                <a:ext cx="1563547" cy="938128"/>
              </a:xfrm>
              <a:prstGeom prst="roundRect">
                <a:avLst>
                  <a:gd name="adj" fmla="val 10000"/>
                </a:avLst>
              </a:prstGeom>
              <a:grpFill/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eaLnBrk="1" hangingPunct="1">
                  <a:defRPr/>
                </a:pPr>
                <a:endParaRPr lang="en-GB" sz="1028"/>
              </a:p>
            </p:txBody>
          </p:sp>
          <p:sp>
            <p:nvSpPr>
              <p:cNvPr id="89" name="Rounded Rectangle 4">
                <a:extLst/>
              </p:cNvPr>
              <p:cNvSpPr/>
              <p:nvPr/>
            </p:nvSpPr>
            <p:spPr>
              <a:xfrm>
                <a:off x="31053" y="358388"/>
                <a:ext cx="1508593" cy="883174"/>
              </a:xfrm>
              <a:prstGeom prst="rect">
                <a:avLst/>
              </a:prstGeom>
              <a:grp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45672" tIns="45672" rIns="45672" bIns="45672" spcCol="1270" anchor="ctr"/>
              <a:lstStyle/>
              <a:p>
                <a:pPr algn="ctr" defTabSz="532875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ru-RU" sz="1028" dirty="0">
                    <a:solidFill>
                      <a:schemeClr val="bg1"/>
                    </a:solidFill>
                  </a:rPr>
                  <a:t>Р</a:t>
                </a:r>
                <a:r>
                  <a:rPr lang="ru-RU" sz="1028" dirty="0" smtClean="0">
                    <a:solidFill>
                      <a:schemeClr val="bg1"/>
                    </a:solidFill>
                  </a:rPr>
                  <a:t>аботник прошел обучение и ознакомлен с Правилами под подпись</a:t>
                </a:r>
                <a:r>
                  <a:rPr lang="en-US" sz="1028" dirty="0" smtClean="0">
                    <a:solidFill>
                      <a:schemeClr val="bg1"/>
                    </a:solidFill>
                  </a:rPr>
                  <a:t>?</a:t>
                </a:r>
                <a:r>
                  <a:rPr lang="ru-RU" sz="1028" dirty="0" smtClean="0">
                    <a:solidFill>
                      <a:schemeClr val="bg1"/>
                    </a:solidFill>
                  </a:rPr>
                  <a:t> </a:t>
                </a:r>
                <a:endParaRPr lang="en-US" sz="1028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8" name="Right Arrow 41">
              <a:extLst/>
            </p:cNvPr>
            <p:cNvSpPr/>
            <p:nvPr/>
          </p:nvSpPr>
          <p:spPr>
            <a:xfrm rot="16200000" flipH="1">
              <a:off x="6193209" y="2630900"/>
              <a:ext cx="388548" cy="610891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B3B3B3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vert" anchor="ctr"/>
            <a:lstStyle/>
            <a:p>
              <a:pPr algn="ctr" eaLnBrk="1" hangingPunct="1">
                <a:defRPr/>
              </a:pPr>
              <a:r>
                <a:rPr lang="ru-RU" sz="1028" dirty="0">
                  <a:solidFill>
                    <a:schemeClr val="bg1"/>
                  </a:solidFill>
                </a:rPr>
                <a:t>да</a:t>
              </a:r>
              <a:endParaRPr lang="en-GB" sz="1028" dirty="0">
                <a:solidFill>
                  <a:schemeClr val="bg1"/>
                </a:solidFill>
              </a:endParaRPr>
            </a:p>
          </p:txBody>
        </p:sp>
        <p:grpSp>
          <p:nvGrpSpPr>
            <p:cNvPr id="69" name="Group 42">
              <a:extLst/>
            </p:cNvPr>
            <p:cNvGrpSpPr/>
            <p:nvPr/>
          </p:nvGrpSpPr>
          <p:grpSpPr>
            <a:xfrm>
              <a:off x="4939249" y="1122097"/>
              <a:ext cx="2783352" cy="576064"/>
              <a:chOff x="3576" y="330911"/>
              <a:chExt cx="1563547" cy="938128"/>
            </a:xfrm>
            <a:solidFill>
              <a:schemeClr val="bg1">
                <a:lumMod val="75000"/>
              </a:schemeClr>
            </a:solidFill>
          </p:grpSpPr>
          <p:sp>
            <p:nvSpPr>
              <p:cNvPr id="84" name="Rounded Rectangle 43">
                <a:extLst/>
              </p:cNvPr>
              <p:cNvSpPr/>
              <p:nvPr/>
            </p:nvSpPr>
            <p:spPr>
              <a:xfrm>
                <a:off x="3576" y="330911"/>
                <a:ext cx="1563547" cy="938128"/>
              </a:xfrm>
              <a:prstGeom prst="roundRect">
                <a:avLst>
                  <a:gd name="adj" fmla="val 10000"/>
                </a:avLst>
              </a:prstGeom>
              <a:solidFill>
                <a:srgbClr val="B3B3B3"/>
              </a:solidFill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eaLnBrk="1" hangingPunct="1">
                  <a:defRPr/>
                </a:pPr>
                <a:endParaRPr lang="en-GB" sz="1028"/>
              </a:p>
            </p:txBody>
          </p:sp>
          <p:sp>
            <p:nvSpPr>
              <p:cNvPr id="85" name="Rounded Rectangle 4">
                <a:extLst/>
              </p:cNvPr>
              <p:cNvSpPr/>
              <p:nvPr/>
            </p:nvSpPr>
            <p:spPr>
              <a:xfrm>
                <a:off x="33671" y="364545"/>
                <a:ext cx="1508593" cy="883174"/>
              </a:xfrm>
              <a:prstGeom prst="rect">
                <a:avLst/>
              </a:prstGeom>
              <a:solidFill>
                <a:srgbClr val="B3B3B3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lIns="45672" tIns="45672" rIns="45672" bIns="45672" spcCol="1270" anchor="ctr"/>
              <a:lstStyle/>
              <a:p>
                <a:pPr algn="ctr" defTabSz="532875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ru-RU" sz="1028" b="1" dirty="0">
                    <a:solidFill>
                      <a:schemeClr val="bg1"/>
                    </a:solidFill>
                  </a:rPr>
                  <a:t>Жизненно важное правило </a:t>
                </a:r>
                <a:r>
                  <a:rPr lang="ru-RU" sz="1028" b="1" dirty="0" smtClean="0">
                    <a:solidFill>
                      <a:schemeClr val="bg1"/>
                    </a:solidFill>
                  </a:rPr>
                  <a:t> </a:t>
                </a:r>
                <a:r>
                  <a:rPr lang="ru-RU" sz="1028" b="1" dirty="0">
                    <a:solidFill>
                      <a:schemeClr val="bg1"/>
                    </a:solidFill>
                  </a:rPr>
                  <a:t>нарушено </a:t>
                </a:r>
                <a:r>
                  <a:rPr lang="ru-RU" sz="1028" b="1" dirty="0" smtClean="0">
                    <a:solidFill>
                      <a:schemeClr val="bg1"/>
                    </a:solidFill>
                  </a:rPr>
                  <a:t>работником</a:t>
                </a:r>
                <a:endParaRPr lang="en-GB" sz="1028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0" name="Right Arrow 45">
              <a:extLst/>
            </p:cNvPr>
            <p:cNvSpPr/>
            <p:nvPr/>
          </p:nvSpPr>
          <p:spPr>
            <a:xfrm flipH="1">
              <a:off x="4153192" y="1088973"/>
              <a:ext cx="689089" cy="609188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B3B3B3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hangingPunct="1">
                <a:defRPr/>
              </a:pPr>
              <a:r>
                <a:rPr lang="ru-RU" sz="1028" dirty="0">
                  <a:solidFill>
                    <a:schemeClr val="bg1"/>
                  </a:solidFill>
                </a:rPr>
                <a:t>нет</a:t>
              </a:r>
              <a:endParaRPr lang="en-GB" sz="1028" dirty="0">
                <a:solidFill>
                  <a:schemeClr val="bg1"/>
                </a:solidFill>
              </a:endParaRPr>
            </a:p>
          </p:txBody>
        </p:sp>
        <p:sp>
          <p:nvSpPr>
            <p:cNvPr id="72" name="Right Arrow 47">
              <a:extLst/>
            </p:cNvPr>
            <p:cNvSpPr/>
            <p:nvPr/>
          </p:nvSpPr>
          <p:spPr>
            <a:xfrm flipH="1">
              <a:off x="4145044" y="3258763"/>
              <a:ext cx="689089" cy="609188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B3B3B3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hangingPunct="1">
                <a:defRPr/>
              </a:pPr>
              <a:r>
                <a:rPr lang="ru-RU" sz="1028" dirty="0">
                  <a:solidFill>
                    <a:schemeClr val="bg1"/>
                  </a:solidFill>
                </a:rPr>
                <a:t>нет</a:t>
              </a:r>
              <a:endParaRPr lang="en-GB" sz="1028" dirty="0">
                <a:solidFill>
                  <a:schemeClr val="bg1"/>
                </a:solidFill>
              </a:endParaRPr>
            </a:p>
          </p:txBody>
        </p:sp>
        <p:sp>
          <p:nvSpPr>
            <p:cNvPr id="73" name="Right Arrow 48">
              <a:extLst/>
            </p:cNvPr>
            <p:cNvSpPr/>
            <p:nvPr/>
          </p:nvSpPr>
          <p:spPr>
            <a:xfrm rot="16200000" flipH="1">
              <a:off x="6177589" y="1587017"/>
              <a:ext cx="388548" cy="610891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B3B3B3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vert" anchor="ctr"/>
            <a:lstStyle/>
            <a:p>
              <a:pPr algn="ctr" eaLnBrk="1" hangingPunct="1">
                <a:defRPr/>
              </a:pPr>
              <a:r>
                <a:rPr lang="ru-RU" sz="1028" dirty="0">
                  <a:solidFill>
                    <a:schemeClr val="bg1"/>
                  </a:solidFill>
                </a:rPr>
                <a:t>да</a:t>
              </a:r>
              <a:endParaRPr lang="en-GB" sz="1028" dirty="0">
                <a:solidFill>
                  <a:schemeClr val="bg1"/>
                </a:solidFill>
              </a:endParaRPr>
            </a:p>
          </p:txBody>
        </p:sp>
        <p:sp>
          <p:nvSpPr>
            <p:cNvPr id="75" name="Right Arrow 50">
              <a:extLst/>
            </p:cNvPr>
            <p:cNvSpPr/>
            <p:nvPr/>
          </p:nvSpPr>
          <p:spPr>
            <a:xfrm rot="16200000" flipH="1">
              <a:off x="6237329" y="3978642"/>
              <a:ext cx="388548" cy="610891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B3B3B3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vert="vert" anchor="ctr"/>
            <a:lstStyle/>
            <a:p>
              <a:pPr algn="ctr" eaLnBrk="1" hangingPunct="1">
                <a:defRPr/>
              </a:pPr>
              <a:r>
                <a:rPr lang="ru-RU" sz="1028" dirty="0">
                  <a:solidFill>
                    <a:schemeClr val="bg1"/>
                  </a:solidFill>
                </a:rPr>
                <a:t>да</a:t>
              </a:r>
              <a:endParaRPr lang="en-GB" sz="1028" dirty="0">
                <a:solidFill>
                  <a:schemeClr val="bg1"/>
                </a:solidFill>
              </a:endParaRPr>
            </a:p>
          </p:txBody>
        </p:sp>
        <p:pic>
          <p:nvPicPr>
            <p:cNvPr id="8241" name="Picture 6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4433" y="5522404"/>
              <a:ext cx="327025" cy="889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42" name="Picture 6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4746" y="4548613"/>
              <a:ext cx="366713" cy="912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243" name="Rectangle 64"/>
            <p:cNvSpPr>
              <a:spLocks noChangeArrowheads="1"/>
            </p:cNvSpPr>
            <p:nvPr/>
          </p:nvSpPr>
          <p:spPr bwMode="auto">
            <a:xfrm>
              <a:off x="9091406" y="5580304"/>
              <a:ext cx="1274762" cy="3017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415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987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559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131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ct val="35000"/>
                </a:spcAft>
              </a:pPr>
              <a:r>
                <a:rPr lang="ru-RU" altLang="en-US" sz="1199" dirty="0">
                  <a:solidFill>
                    <a:srgbClr val="363636"/>
                  </a:solidFill>
                </a:rPr>
                <a:t>Выговор </a:t>
              </a:r>
              <a:endParaRPr lang="en-US" altLang="en-US" sz="1199" dirty="0">
                <a:solidFill>
                  <a:srgbClr val="363636"/>
                </a:solidFill>
              </a:endParaRPr>
            </a:p>
          </p:txBody>
        </p:sp>
        <p:sp>
          <p:nvSpPr>
            <p:cNvPr id="8244" name="Rectangle 65"/>
            <p:cNvSpPr>
              <a:spLocks noChangeArrowheads="1"/>
            </p:cNvSpPr>
            <p:nvPr/>
          </p:nvSpPr>
          <p:spPr bwMode="auto">
            <a:xfrm>
              <a:off x="8831459" y="4681696"/>
              <a:ext cx="1794656" cy="323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415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987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559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131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ru-RU" altLang="en-US" sz="1199" dirty="0" smtClean="0">
                  <a:solidFill>
                    <a:srgbClr val="363636"/>
                  </a:solidFill>
                </a:rPr>
                <a:t>Замечание</a:t>
              </a:r>
              <a:r>
                <a:rPr lang="ru-RU" altLang="en-US" sz="1199" dirty="0" smtClean="0"/>
                <a:t> </a:t>
              </a:r>
              <a:endParaRPr lang="ru-RU" altLang="en-US" sz="1199" dirty="0"/>
            </a:p>
          </p:txBody>
        </p:sp>
        <p:sp>
          <p:nvSpPr>
            <p:cNvPr id="8245" name="TextBox 82"/>
            <p:cNvSpPr txBox="1">
              <a:spLocks noChangeArrowheads="1"/>
            </p:cNvSpPr>
            <p:nvPr/>
          </p:nvSpPr>
          <p:spPr bwMode="auto">
            <a:xfrm>
              <a:off x="514684" y="5005019"/>
              <a:ext cx="4099454" cy="1709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n-GB" altLang="en-US" sz="1200" b="1" dirty="0">
                  <a:solidFill>
                    <a:srgbClr val="E6252E"/>
                  </a:solidFill>
                </a:rPr>
                <a:t>*</a:t>
              </a:r>
              <a:r>
                <a:rPr lang="ru-RU" altLang="en-US" sz="1200" b="1" dirty="0">
                  <a:solidFill>
                    <a:srgbClr val="E6252E"/>
                  </a:solidFill>
                </a:rPr>
                <a:t>если будет установлено, что работник не ознакомлен с Правилами или ему не было предоставлено достаточно необходимых ресурсов для безопасного выполнения работ, - то к ответственности привлекается непосредственный руководитель работника, нарушившего Правила.</a:t>
              </a:r>
              <a:endParaRPr lang="en-GB" altLang="en-US" sz="1200" b="1" dirty="0">
                <a:solidFill>
                  <a:srgbClr val="E6252E"/>
                </a:solidFill>
              </a:endParaRPr>
            </a:p>
            <a:p>
              <a:pPr algn="just"/>
              <a:endParaRPr lang="en-GB" altLang="en-US" sz="1113" dirty="0"/>
            </a:p>
          </p:txBody>
        </p:sp>
      </p:grpSp>
      <p:sp>
        <p:nvSpPr>
          <p:cNvPr id="47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 smtClean="0"/>
              <a:t>19</a:t>
            </a:r>
            <a:endParaRPr lang="ru-RU" sz="800" b="1" dirty="0"/>
          </a:p>
        </p:txBody>
      </p:sp>
      <p:pic>
        <p:nvPicPr>
          <p:cNvPr id="116" name="Picture 6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7748" y="5738755"/>
            <a:ext cx="280003" cy="761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7" name="Rectangle 64"/>
          <p:cNvSpPr>
            <a:spLocks noChangeArrowheads="1"/>
          </p:cNvSpPr>
          <p:nvPr/>
        </p:nvSpPr>
        <p:spPr bwMode="auto">
          <a:xfrm>
            <a:off x="7437046" y="5785843"/>
            <a:ext cx="1091469" cy="25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223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6223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6223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6223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6223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1588" indent="-255588" defTabSz="6223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98788" indent="-255588" defTabSz="6223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5988" indent="-255588" defTabSz="6223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3188" indent="-255588" defTabSz="6223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spcAft>
                <a:spcPct val="35000"/>
              </a:spcAft>
            </a:pPr>
            <a:r>
              <a:rPr lang="en-US" altLang="en-US" sz="1199" dirty="0" smtClean="0"/>
              <a:t> </a:t>
            </a:r>
            <a:r>
              <a:rPr lang="ru-RU" altLang="en-US" sz="1199" dirty="0">
                <a:solidFill>
                  <a:srgbClr val="363636"/>
                </a:solidFill>
              </a:rPr>
              <a:t>Увольнение</a:t>
            </a:r>
            <a:endParaRPr lang="en-US" altLang="en-US" sz="1199" dirty="0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004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63869" y="278962"/>
            <a:ext cx="8409987" cy="987425"/>
          </a:xfrm>
        </p:spPr>
        <p:txBody>
          <a:bodyPr/>
          <a:lstStyle/>
          <a:p>
            <a:r>
              <a:rPr lang="ru-RU" dirty="0">
                <a:solidFill>
                  <a:srgbClr val="0078DC"/>
                </a:solidFill>
              </a:rPr>
              <a:t>Сведения о нормативном документе</a:t>
            </a:r>
          </a:p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9023529"/>
              </p:ext>
            </p:extLst>
          </p:nvPr>
        </p:nvGraphicFramePr>
        <p:xfrm>
          <a:off x="363869" y="1012749"/>
          <a:ext cx="8283829" cy="252374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94371">
                  <a:extLst>
                    <a:ext uri="{9D8B030D-6E8A-4147-A177-3AD203B41FA5}">
                      <a16:colId xmlns:a16="http://schemas.microsoft.com/office/drawing/2014/main" val="2394953465"/>
                    </a:ext>
                  </a:extLst>
                </a:gridCol>
                <a:gridCol w="5989458">
                  <a:extLst>
                    <a:ext uri="{9D8B030D-6E8A-4147-A177-3AD203B41FA5}">
                      <a16:colId xmlns:a16="http://schemas.microsoft.com/office/drawing/2014/main" val="339151250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just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</a:rPr>
                        <a:t>Информация о документе</a:t>
                      </a:r>
                      <a:endParaRPr lang="ru-RU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55401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</a:rPr>
                        <a:t>Функциональный руководитель</a:t>
                      </a:r>
                      <a:endParaRPr lang="ru-RU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+mn-lt"/>
                        </a:rPr>
                        <a:t>директор </a:t>
                      </a:r>
                      <a:r>
                        <a:rPr lang="ru-RU" sz="1800" dirty="0">
                          <a:effectLst/>
                          <a:latin typeface="+mn-lt"/>
                        </a:rPr>
                        <a:t>по охране труда и безопасности производства ПАО «Юнипро» Колмаков Д.В.</a:t>
                      </a:r>
                      <a:endParaRPr lang="ru-RU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399701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>
                          <a:effectLst/>
                          <a:latin typeface="+mn-lt"/>
                        </a:rPr>
                        <a:t>Разработчик документа</a:t>
                      </a:r>
                      <a:endParaRPr lang="ru-RU" sz="18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</a:rPr>
                        <a:t>начальник Управления безопасности производства ПАО «Юнипро» Польшиков А.Б</a:t>
                      </a:r>
                      <a:r>
                        <a:rPr lang="ru-RU" sz="1800" dirty="0" smtClean="0">
                          <a:effectLst/>
                          <a:latin typeface="+mn-lt"/>
                        </a:rPr>
                        <a:t>.</a:t>
                      </a:r>
                      <a:endParaRPr lang="ru-RU" sz="1800" dirty="0">
                        <a:effectLst/>
                        <a:latin typeface="+mn-lt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821511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>
                          <a:effectLst/>
                          <a:latin typeface="+mn-lt"/>
                        </a:rPr>
                        <a:t>Введен в действие</a:t>
                      </a:r>
                      <a:endParaRPr lang="ru-RU" sz="18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</a:rPr>
                        <a:t>приказом № </a:t>
                      </a:r>
                      <a:r>
                        <a:rPr lang="ru-RU" sz="1800" dirty="0" smtClean="0">
                          <a:effectLst/>
                          <a:latin typeface="+mn-lt"/>
                        </a:rPr>
                        <a:t>224</a:t>
                      </a:r>
                      <a:r>
                        <a:rPr lang="ru-RU" sz="180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800" dirty="0" smtClean="0">
                          <a:effectLst/>
                          <a:latin typeface="+mn-lt"/>
                        </a:rPr>
                        <a:t>от 21.11.2019</a:t>
                      </a:r>
                      <a:endParaRPr lang="ru-RU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414908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</a:rPr>
                        <a:t>Срок действия</a:t>
                      </a:r>
                      <a:endParaRPr lang="ru-RU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 dirty="0" smtClean="0">
                          <a:effectLst/>
                          <a:latin typeface="+mn-lt"/>
                        </a:rPr>
                        <a:t>не ограничен</a:t>
                      </a:r>
                      <a:endParaRPr lang="ru-RU" sz="18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94163788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1315998"/>
              </p:ext>
            </p:extLst>
          </p:nvPr>
        </p:nvGraphicFramePr>
        <p:xfrm>
          <a:off x="344317" y="4270280"/>
          <a:ext cx="8322931" cy="12618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5515">
                  <a:extLst>
                    <a:ext uri="{9D8B030D-6E8A-4147-A177-3AD203B41FA5}">
                      <a16:colId xmlns:a16="http://schemas.microsoft.com/office/drawing/2014/main" val="976398670"/>
                    </a:ext>
                  </a:extLst>
                </a:gridCol>
                <a:gridCol w="1014984">
                  <a:extLst>
                    <a:ext uri="{9D8B030D-6E8A-4147-A177-3AD203B41FA5}">
                      <a16:colId xmlns:a16="http://schemas.microsoft.com/office/drawing/2014/main" val="70974800"/>
                    </a:ext>
                  </a:extLst>
                </a:gridCol>
                <a:gridCol w="2185416">
                  <a:extLst>
                    <a:ext uri="{9D8B030D-6E8A-4147-A177-3AD203B41FA5}">
                      <a16:colId xmlns:a16="http://schemas.microsoft.com/office/drawing/2014/main" val="3972392181"/>
                    </a:ext>
                  </a:extLst>
                </a:gridCol>
                <a:gridCol w="3557016">
                  <a:extLst>
                    <a:ext uri="{9D8B030D-6E8A-4147-A177-3AD203B41FA5}">
                      <a16:colId xmlns:a16="http://schemas.microsoft.com/office/drawing/2014/main" val="1758684932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marL="0" indent="-14605" algn="just" defTabSz="914400" rtl="0" eaLnBrk="1" latinLnBrk="0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стория изменений</a:t>
                      </a:r>
                    </a:p>
                  </a:txBody>
                  <a:tcPr marL="68580" marR="68580" marT="0" marB="0">
                    <a:solidFill>
                      <a:schemeClr val="tx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1569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-14605" algn="just" defTabSz="914400" rtl="0" eaLnBrk="1" latinLnBrk="0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ата</a:t>
                      </a:r>
                    </a:p>
                  </a:txBody>
                  <a:tcPr marL="68580" marR="68580" marT="0" marB="0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4605" algn="just" defTabSz="914400" rtl="0" eaLnBrk="1" latinLnBrk="0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рсия</a:t>
                      </a:r>
                    </a:p>
                  </a:txBody>
                  <a:tcPr marL="68580" marR="68580" marT="0" marB="0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4605" algn="just" defTabSz="914400" rtl="0" eaLnBrk="1" latinLnBrk="0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втор изменений</a:t>
                      </a:r>
                    </a:p>
                  </a:txBody>
                  <a:tcPr marL="68580" marR="68580" marT="0" marB="0">
                    <a:solidFill>
                      <a:schemeClr val="tx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-14605" algn="just" defTabSz="914400" rtl="0" eaLnBrk="1" latinLnBrk="0" hangingPunct="0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чина внесения изменений</a:t>
                      </a:r>
                    </a:p>
                  </a:txBody>
                  <a:tcPr marL="68580" marR="68580" marT="0" marB="0">
                    <a:solidFill>
                      <a:schemeClr val="tx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3264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 dirty="0" smtClean="0">
                          <a:effectLst/>
                        </a:rPr>
                        <a:t>21.11.2019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>
                          <a:effectLst/>
                        </a:rPr>
                        <a:t>1.0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Польшиков А.Б</a:t>
                      </a:r>
                      <a:r>
                        <a:rPr lang="ru-RU" sz="1800" dirty="0" smtClean="0">
                          <a:effectLst/>
                        </a:rPr>
                        <a:t>.</a:t>
                      </a:r>
                      <a:endParaRPr lang="ru-RU" sz="1400" dirty="0">
                        <a:effectLst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>
                          <a:effectLst/>
                        </a:rPr>
                        <a:t>Первоначальная редакция 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725554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>
                          <a:effectLst/>
                        </a:rPr>
                        <a:t> 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>
                          <a:effectLst/>
                        </a:rPr>
                        <a:t> </a:t>
                      </a:r>
                      <a:endParaRPr lang="ru-RU" sz="14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12737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6207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1" name="TextBox 33"/>
          <p:cNvSpPr txBox="1">
            <a:spLocks noChangeArrowheads="1"/>
          </p:cNvSpPr>
          <p:nvPr/>
        </p:nvSpPr>
        <p:spPr bwMode="auto">
          <a:xfrm>
            <a:off x="215180" y="42467"/>
            <a:ext cx="8800803" cy="90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85725" indent="-85725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1588" indent="-255588" defTabSz="10414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98788" indent="-255588" defTabSz="10414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5988" indent="-255588" defTabSz="10414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3188" indent="-255588" defTabSz="10414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1000"/>
              </a:spcBef>
            </a:pPr>
            <a:r>
              <a:rPr lang="ru-RU" altLang="en-US" sz="2800" b="1" dirty="0">
                <a:solidFill>
                  <a:srgbClr val="0078DC"/>
                </a:solidFill>
                <a:latin typeface="+mn-lt"/>
                <a:cs typeface="+mn-cs"/>
              </a:rPr>
              <a:t>7</a:t>
            </a:r>
            <a:r>
              <a:rPr lang="ru-RU" altLang="en-US" sz="2800" b="1" dirty="0" smtClean="0">
                <a:solidFill>
                  <a:srgbClr val="0078DC"/>
                </a:solidFill>
                <a:latin typeface="+mn-lt"/>
                <a:cs typeface="+mn-cs"/>
              </a:rPr>
              <a:t>. </a:t>
            </a:r>
            <a:r>
              <a:rPr lang="ru-RU" altLang="en-US" sz="2800" b="1" dirty="0">
                <a:solidFill>
                  <a:srgbClr val="0078DC"/>
                </a:solidFill>
                <a:latin typeface="+mn-lt"/>
                <a:cs typeface="+mn-cs"/>
              </a:rPr>
              <a:t>Ответственность руководителей за нарушение </a:t>
            </a:r>
          </a:p>
          <a:p>
            <a:pPr marL="0" indent="0">
              <a:lnSpc>
                <a:spcPct val="90000"/>
              </a:lnSpc>
              <a:spcBef>
                <a:spcPts val="1000"/>
              </a:spcBef>
            </a:pPr>
            <a:r>
              <a:rPr lang="ru-RU" altLang="en-US" sz="2800" b="1" dirty="0" smtClean="0">
                <a:solidFill>
                  <a:srgbClr val="0078DC"/>
                </a:solidFill>
                <a:latin typeface="+mn-lt"/>
                <a:cs typeface="+mn-cs"/>
              </a:rPr>
              <a:t>Правил подчиненными работниками</a:t>
            </a:r>
            <a:endParaRPr lang="ru-RU" altLang="en-US" sz="2800" b="1" dirty="0">
              <a:solidFill>
                <a:srgbClr val="0078DC"/>
              </a:solidFill>
              <a:latin typeface="+mn-lt"/>
              <a:cs typeface="+mn-cs"/>
            </a:endParaRPr>
          </a:p>
        </p:txBody>
      </p:sp>
      <p:grpSp>
        <p:nvGrpSpPr>
          <p:cNvPr id="9222" name="Группа 48"/>
          <p:cNvGrpSpPr>
            <a:grpSpLocks/>
          </p:cNvGrpSpPr>
          <p:nvPr/>
        </p:nvGrpSpPr>
        <p:grpSpPr bwMode="auto">
          <a:xfrm>
            <a:off x="340478" y="898110"/>
            <a:ext cx="8181484" cy="5127953"/>
            <a:chOff x="371003" y="744514"/>
            <a:chExt cx="9555132" cy="5988874"/>
          </a:xfrm>
        </p:grpSpPr>
        <p:grpSp>
          <p:nvGrpSpPr>
            <p:cNvPr id="9225" name="Группа 1"/>
            <p:cNvGrpSpPr>
              <a:grpSpLocks/>
            </p:cNvGrpSpPr>
            <p:nvPr/>
          </p:nvGrpSpPr>
          <p:grpSpPr bwMode="auto">
            <a:xfrm>
              <a:off x="3274085" y="744514"/>
              <a:ext cx="6652050" cy="5988874"/>
              <a:chOff x="3850707" y="744306"/>
              <a:chExt cx="6651482" cy="5989081"/>
            </a:xfrm>
          </p:grpSpPr>
          <p:grpSp>
            <p:nvGrpSpPr>
              <p:cNvPr id="53" name="Group 22">
                <a:extLst/>
              </p:cNvPr>
              <p:cNvGrpSpPr/>
              <p:nvPr/>
            </p:nvGrpSpPr>
            <p:grpSpPr>
              <a:xfrm>
                <a:off x="7592103" y="2034220"/>
                <a:ext cx="2783352" cy="601378"/>
                <a:chOff x="3576" y="330911"/>
                <a:chExt cx="1563547" cy="979352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28" name="Rounded Rectangle 23">
                  <a:extLst/>
                </p:cNvPr>
                <p:cNvSpPr/>
                <p:nvPr/>
              </p:nvSpPr>
              <p:spPr>
                <a:xfrm>
                  <a:off x="3576" y="330911"/>
                  <a:ext cx="1563547" cy="938128"/>
                </a:xfrm>
                <a:prstGeom prst="roundRect">
                  <a:avLst>
                    <a:gd name="adj" fmla="val 10000"/>
                  </a:avLst>
                </a:prstGeom>
                <a:solidFill>
                  <a:srgbClr val="B3B3B3"/>
                </a:solidFill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3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eaLnBrk="1" hangingPunct="1">
                    <a:defRPr/>
                  </a:pPr>
                  <a:endParaRPr lang="en-GB" sz="1028"/>
                </a:p>
              </p:txBody>
            </p:sp>
            <p:sp>
              <p:nvSpPr>
                <p:cNvPr id="129" name="Rounded Rectangle 4">
                  <a:extLst/>
                </p:cNvPr>
                <p:cNvSpPr/>
                <p:nvPr/>
              </p:nvSpPr>
              <p:spPr>
                <a:xfrm>
                  <a:off x="58530" y="427089"/>
                  <a:ext cx="1508593" cy="883174"/>
                </a:xfrm>
                <a:prstGeom prst="rect">
                  <a:avLst/>
                </a:prstGeom>
                <a:solidFill>
                  <a:srgbClr val="B3B3B3"/>
                </a:solidFill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45672" tIns="45672" rIns="45672" bIns="45672" spcCol="1270" anchor="ctr"/>
                <a:lstStyle/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r>
                    <a:rPr lang="ru-RU" sz="1028" dirty="0">
                      <a:solidFill>
                        <a:schemeClr val="bg1"/>
                      </a:solidFill>
                    </a:rPr>
                    <a:t>Р</a:t>
                  </a:r>
                  <a:r>
                    <a:rPr lang="ru-RU" sz="1028" dirty="0" smtClean="0">
                      <a:solidFill>
                        <a:schemeClr val="bg1"/>
                      </a:solidFill>
                    </a:rPr>
                    <a:t>уководитель прошел обучение и ознакомлен </a:t>
                  </a:r>
                  <a:r>
                    <a:rPr lang="ru-RU" sz="1028" dirty="0">
                      <a:solidFill>
                        <a:schemeClr val="bg1"/>
                      </a:solidFill>
                    </a:rPr>
                    <a:t>с </a:t>
                  </a:r>
                  <a:r>
                    <a:rPr lang="ru-RU" sz="1028" dirty="0" smtClean="0">
                      <a:solidFill>
                        <a:schemeClr val="bg1"/>
                      </a:solidFill>
                    </a:rPr>
                    <a:t>Правилами </a:t>
                  </a:r>
                  <a:r>
                    <a:rPr lang="ru-RU" sz="1028" dirty="0">
                      <a:solidFill>
                        <a:schemeClr val="bg1"/>
                      </a:solidFill>
                    </a:rPr>
                    <a:t>под подпись</a:t>
                  </a:r>
                  <a:r>
                    <a:rPr lang="en-US" sz="1028" dirty="0">
                      <a:solidFill>
                        <a:schemeClr val="bg1"/>
                      </a:solidFill>
                    </a:rPr>
                    <a:t>?</a:t>
                  </a:r>
                  <a:r>
                    <a:rPr lang="ru-RU" sz="1028" dirty="0">
                      <a:solidFill>
                        <a:schemeClr val="bg1"/>
                      </a:solidFill>
                    </a:rPr>
                    <a:t> </a:t>
                  </a:r>
                  <a:endParaRPr lang="en-US" sz="1028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55" name="Group 28">
                <a:extLst/>
              </p:cNvPr>
              <p:cNvGrpSpPr/>
              <p:nvPr/>
            </p:nvGrpSpPr>
            <p:grpSpPr>
              <a:xfrm>
                <a:off x="7605121" y="3092159"/>
                <a:ext cx="2745173" cy="895841"/>
                <a:chOff x="24910" y="-1229669"/>
                <a:chExt cx="1542100" cy="145889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24" name="Rounded Rectangle 29">
                  <a:extLst/>
                </p:cNvPr>
                <p:cNvSpPr/>
                <p:nvPr/>
              </p:nvSpPr>
              <p:spPr>
                <a:xfrm>
                  <a:off x="24910" y="-1229669"/>
                  <a:ext cx="1542099" cy="1458890"/>
                </a:xfrm>
                <a:prstGeom prst="roundRect">
                  <a:avLst>
                    <a:gd name="adj" fmla="val 10000"/>
                  </a:avLst>
                </a:prstGeom>
                <a:solidFill>
                  <a:srgbClr val="B3B3B3"/>
                </a:solidFill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3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eaLnBrk="1" hangingPunct="1">
                    <a:defRPr/>
                  </a:pPr>
                  <a:endParaRPr lang="en-GB" sz="1028"/>
                </a:p>
              </p:txBody>
            </p:sp>
            <p:sp>
              <p:nvSpPr>
                <p:cNvPr id="125" name="Rounded Rectangle 4">
                  <a:extLst/>
                </p:cNvPr>
                <p:cNvSpPr/>
                <p:nvPr/>
              </p:nvSpPr>
              <p:spPr>
                <a:xfrm>
                  <a:off x="24910" y="-1062317"/>
                  <a:ext cx="1542100" cy="1266205"/>
                </a:xfrm>
                <a:prstGeom prst="rect">
                  <a:avLst/>
                </a:prstGeom>
                <a:solidFill>
                  <a:srgbClr val="B3B3B3"/>
                </a:solidFill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45672" tIns="45672" rIns="45672" bIns="45672" spcCol="1270" anchor="ctr"/>
                <a:lstStyle/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endParaRPr lang="ru-RU" sz="1028" dirty="0">
                    <a:solidFill>
                      <a:schemeClr val="tx1"/>
                    </a:solidFill>
                  </a:endParaRPr>
                </a:p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r>
                    <a:rPr lang="ru-RU" sz="1028" dirty="0">
                      <a:solidFill>
                        <a:schemeClr val="bg1"/>
                      </a:solidFill>
                    </a:rPr>
                    <a:t>Р</a:t>
                  </a:r>
                  <a:r>
                    <a:rPr lang="ru-RU" sz="1028" dirty="0" smtClean="0">
                      <a:solidFill>
                        <a:schemeClr val="bg1"/>
                      </a:solidFill>
                    </a:rPr>
                    <a:t>уководитель обеспечил работника всем необходимым для безопасного проведения работ и соблюдения Правил?</a:t>
                  </a:r>
                  <a:endParaRPr lang="ru-RU" sz="1028" dirty="0">
                    <a:solidFill>
                      <a:schemeClr val="bg1"/>
                    </a:solidFill>
                  </a:endParaRPr>
                </a:p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endParaRPr lang="en-US" sz="1028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56" name="Group 31">
                <a:extLst/>
              </p:cNvPr>
              <p:cNvGrpSpPr/>
              <p:nvPr/>
            </p:nvGrpSpPr>
            <p:grpSpPr>
              <a:xfrm>
                <a:off x="7596764" y="897820"/>
                <a:ext cx="2783352" cy="704352"/>
                <a:chOff x="3576" y="121992"/>
                <a:chExt cx="1563547" cy="114704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22" name="Rounded Rectangle 32">
                  <a:extLst/>
                </p:cNvPr>
                <p:cNvSpPr/>
                <p:nvPr/>
              </p:nvSpPr>
              <p:spPr>
                <a:xfrm>
                  <a:off x="3576" y="121992"/>
                  <a:ext cx="1563547" cy="1147047"/>
                </a:xfrm>
                <a:prstGeom prst="roundRect">
                  <a:avLst>
                    <a:gd name="adj" fmla="val 10000"/>
                  </a:avLst>
                </a:prstGeom>
                <a:solidFill>
                  <a:srgbClr val="B3B3B3"/>
                </a:solidFill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3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eaLnBrk="1" hangingPunct="1">
                    <a:defRPr/>
                  </a:pPr>
                  <a:endParaRPr lang="en-GB" sz="1028"/>
                </a:p>
              </p:txBody>
            </p:sp>
            <p:sp>
              <p:nvSpPr>
                <p:cNvPr id="123" name="Rounded Rectangle 4">
                  <a:extLst/>
                </p:cNvPr>
                <p:cNvSpPr/>
                <p:nvPr/>
              </p:nvSpPr>
              <p:spPr>
                <a:xfrm>
                  <a:off x="25023" y="184446"/>
                  <a:ext cx="1508593" cy="1079854"/>
                </a:xfrm>
                <a:prstGeom prst="rect">
                  <a:avLst/>
                </a:prstGeom>
                <a:solidFill>
                  <a:srgbClr val="B3B3B3"/>
                </a:solidFill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45672" tIns="45672" rIns="45672" bIns="45672" spcCol="1270" anchor="ctr"/>
                <a:lstStyle/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endParaRPr lang="ru-RU" sz="1028" b="1" dirty="0">
                    <a:solidFill>
                      <a:schemeClr val="tx1"/>
                    </a:solidFill>
                  </a:endParaRPr>
                </a:p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r>
                    <a:rPr lang="ru-RU" sz="1028" b="1" dirty="0" smtClean="0">
                      <a:solidFill>
                        <a:schemeClr val="bg1"/>
                      </a:solidFill>
                      <a:latin typeface="+mj-lt"/>
                    </a:rPr>
                    <a:t>О нарушении сообщил непосредственный руководитель работника, который  нарушил Правила</a:t>
                  </a:r>
                  <a:endParaRPr lang="ru-RU" sz="1028" b="1" dirty="0">
                    <a:solidFill>
                      <a:schemeClr val="bg1"/>
                    </a:solidFill>
                    <a:latin typeface="+mj-lt"/>
                  </a:endParaRPr>
                </a:p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r>
                    <a:rPr lang="en-GB" sz="1028" b="1" dirty="0">
                      <a:solidFill>
                        <a:schemeClr val="tx1"/>
                      </a:solidFill>
                    </a:rPr>
                    <a:t> </a:t>
                  </a:r>
                  <a:r>
                    <a:rPr lang="en-US" sz="1028" b="1" dirty="0">
                      <a:solidFill>
                        <a:schemeClr val="tx1"/>
                      </a:solidFill>
                    </a:rPr>
                    <a:t> </a:t>
                  </a:r>
                </a:p>
              </p:txBody>
            </p:sp>
          </p:grpSp>
          <p:sp>
            <p:nvSpPr>
              <p:cNvPr id="57" name="Right Arrow 41">
                <a:extLst/>
              </p:cNvPr>
              <p:cNvSpPr/>
              <p:nvPr/>
            </p:nvSpPr>
            <p:spPr>
              <a:xfrm rot="16200000" flipH="1">
                <a:off x="8843901" y="1513403"/>
                <a:ext cx="388548" cy="610891"/>
              </a:xfrm>
              <a:prstGeom prst="rightArrow">
                <a:avLst>
                  <a:gd name="adj1" fmla="val 60000"/>
                  <a:gd name="adj2" fmla="val 50000"/>
                </a:avLst>
              </a:prstGeom>
              <a:solidFill>
                <a:srgbClr val="B3B3B3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vert="vert" anchor="ctr"/>
              <a:lstStyle/>
              <a:p>
                <a:pPr algn="ctr" eaLnBrk="1" hangingPunct="1">
                  <a:defRPr/>
                </a:pPr>
                <a:r>
                  <a:rPr lang="ru-RU" sz="1028" dirty="0" smtClean="0">
                    <a:solidFill>
                      <a:schemeClr val="bg1"/>
                    </a:solidFill>
                  </a:rPr>
                  <a:t>нет</a:t>
                </a:r>
                <a:endParaRPr lang="en-GB" sz="102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Right Arrow 49">
                <a:extLst/>
              </p:cNvPr>
              <p:cNvSpPr/>
              <p:nvPr/>
            </p:nvSpPr>
            <p:spPr>
              <a:xfrm rot="16200000" flipH="1">
                <a:off x="8843901" y="2524426"/>
                <a:ext cx="388548" cy="610891"/>
              </a:xfrm>
              <a:prstGeom prst="rightArrow">
                <a:avLst>
                  <a:gd name="adj1" fmla="val 60000"/>
                  <a:gd name="adj2" fmla="val 50000"/>
                </a:avLst>
              </a:prstGeom>
              <a:solidFill>
                <a:srgbClr val="B3B3B3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vert="vert" anchor="ctr"/>
              <a:lstStyle/>
              <a:p>
                <a:pPr algn="ctr" eaLnBrk="1" hangingPunct="1">
                  <a:defRPr/>
                </a:pPr>
                <a:r>
                  <a:rPr lang="ru-RU" sz="1028" dirty="0" smtClean="0">
                    <a:solidFill>
                      <a:schemeClr val="bg1"/>
                    </a:solidFill>
                  </a:rPr>
                  <a:t>да</a:t>
                </a:r>
                <a:endParaRPr lang="en-GB" sz="102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Right Arrow 51">
                <a:extLst/>
              </p:cNvPr>
              <p:cNvSpPr/>
              <p:nvPr/>
            </p:nvSpPr>
            <p:spPr>
              <a:xfrm rot="16200000" flipH="1">
                <a:off x="8460092" y="4377875"/>
                <a:ext cx="1268828" cy="610891"/>
              </a:xfrm>
              <a:prstGeom prst="rightArrow">
                <a:avLst>
                  <a:gd name="adj1" fmla="val 60000"/>
                  <a:gd name="adj2" fmla="val 50000"/>
                </a:avLst>
              </a:prstGeom>
              <a:solidFill>
                <a:srgbClr val="B3B3B3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vert="vert" anchor="ctr"/>
              <a:lstStyle/>
              <a:p>
                <a:pPr algn="ctr" eaLnBrk="1" hangingPunct="1">
                  <a:defRPr/>
                </a:pPr>
                <a:r>
                  <a:rPr lang="ru-RU" sz="1028" dirty="0" smtClean="0">
                    <a:solidFill>
                      <a:schemeClr val="bg1"/>
                    </a:solidFill>
                  </a:rPr>
                  <a:t>нет</a:t>
                </a:r>
                <a:endParaRPr lang="en-GB" sz="1028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61" name="Group 82">
                <a:extLst/>
              </p:cNvPr>
              <p:cNvGrpSpPr/>
              <p:nvPr/>
            </p:nvGrpSpPr>
            <p:grpSpPr>
              <a:xfrm>
                <a:off x="7718836" y="5317732"/>
                <a:ext cx="2783353" cy="584389"/>
                <a:chOff x="78179" y="669802"/>
                <a:chExt cx="1563548" cy="951685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20" name="Rounded Rectangle 83">
                  <a:extLst/>
                </p:cNvPr>
                <p:cNvSpPr/>
                <p:nvPr/>
              </p:nvSpPr>
              <p:spPr>
                <a:xfrm>
                  <a:off x="78179" y="669802"/>
                  <a:ext cx="1563547" cy="938129"/>
                </a:xfrm>
                <a:prstGeom prst="roundRect">
                  <a:avLst>
                    <a:gd name="adj" fmla="val 10000"/>
                  </a:avLst>
                </a:prstGeom>
                <a:solidFill>
                  <a:srgbClr val="B3B3B3"/>
                </a:solidFill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3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eaLnBrk="1" hangingPunct="1">
                    <a:defRPr/>
                  </a:pPr>
                  <a:endParaRPr lang="en-GB" sz="1028"/>
                </a:p>
              </p:txBody>
            </p:sp>
            <p:sp>
              <p:nvSpPr>
                <p:cNvPr id="121" name="Rounded Rectangle 4">
                  <a:extLst/>
                </p:cNvPr>
                <p:cNvSpPr/>
                <p:nvPr/>
              </p:nvSpPr>
              <p:spPr>
                <a:xfrm>
                  <a:off x="105657" y="683869"/>
                  <a:ext cx="1536070" cy="937618"/>
                </a:xfrm>
                <a:prstGeom prst="rect">
                  <a:avLst/>
                </a:prstGeom>
                <a:solidFill>
                  <a:srgbClr val="B3B3B3"/>
                </a:solidFill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45672" tIns="45672" rIns="45672" bIns="45672" spcCol="1270" anchor="ctr"/>
                <a:lstStyle/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r>
                    <a:rPr lang="ru-RU" sz="1028" dirty="0" smtClean="0">
                      <a:solidFill>
                        <a:schemeClr val="bg1"/>
                      </a:solidFill>
                    </a:rPr>
                    <a:t>Нарушение </a:t>
                  </a:r>
                  <a:r>
                    <a:rPr lang="ru-RU" sz="1028" dirty="0">
                      <a:solidFill>
                        <a:schemeClr val="bg1"/>
                      </a:solidFill>
                    </a:rPr>
                    <a:t>Правил</a:t>
                  </a:r>
                </a:p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r>
                    <a:rPr lang="ru-RU" sz="1028" dirty="0" smtClean="0">
                      <a:solidFill>
                        <a:schemeClr val="bg1"/>
                      </a:solidFill>
                    </a:rPr>
                    <a:t>Непосредственным руководителем</a:t>
                  </a:r>
                  <a:endParaRPr lang="en-US" sz="1028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65" name="Right Arrow 90">
                <a:extLst/>
              </p:cNvPr>
              <p:cNvSpPr/>
              <p:nvPr/>
            </p:nvSpPr>
            <p:spPr>
              <a:xfrm flipH="1">
                <a:off x="6809700" y="5301170"/>
                <a:ext cx="703919" cy="609188"/>
              </a:xfrm>
              <a:prstGeom prst="rightArrow">
                <a:avLst>
                  <a:gd name="adj1" fmla="val 60000"/>
                  <a:gd name="adj2" fmla="val 50000"/>
                </a:avLst>
              </a:prstGeom>
              <a:solidFill>
                <a:srgbClr val="B3B3B3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hangingPunct="1">
                  <a:defRPr/>
                </a:pPr>
                <a:r>
                  <a:rPr lang="ru-RU" sz="1028" dirty="0">
                    <a:solidFill>
                      <a:schemeClr val="bg1"/>
                    </a:solidFill>
                  </a:rPr>
                  <a:t> да</a:t>
                </a:r>
                <a:endParaRPr lang="en-GB" sz="1028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9255" name="Picture 9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45174" y="5842798"/>
                <a:ext cx="327025" cy="8905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256" name="Picture 92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26125" y="4941888"/>
                <a:ext cx="365125" cy="9128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257" name="Rectangle 93"/>
              <p:cNvSpPr>
                <a:spLocks noChangeArrowheads="1"/>
              </p:cNvSpPr>
              <p:nvPr/>
            </p:nvSpPr>
            <p:spPr bwMode="auto">
              <a:xfrm>
                <a:off x="3923364" y="6165954"/>
                <a:ext cx="1274763" cy="3017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6223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defTabSz="6223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defTabSz="6223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defTabSz="6223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defTabSz="622300"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41588" indent="-255588" defTabSz="6223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98788" indent="-255588" defTabSz="6223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55988" indent="-255588" defTabSz="6223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913188" indent="-255588" defTabSz="6223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ru-RU" altLang="en-US" sz="1199" dirty="0">
                    <a:solidFill>
                      <a:srgbClr val="363636"/>
                    </a:solidFill>
                  </a:rPr>
                  <a:t>Выговор </a:t>
                </a:r>
                <a:endParaRPr lang="en-US" altLang="en-US" sz="1199" dirty="0">
                  <a:solidFill>
                    <a:srgbClr val="363636"/>
                  </a:solidFill>
                </a:endParaRPr>
              </a:p>
            </p:txBody>
          </p:sp>
          <p:sp>
            <p:nvSpPr>
              <p:cNvPr id="94" name="Right Arrow 101">
                <a:extLst/>
              </p:cNvPr>
              <p:cNvSpPr/>
              <p:nvPr/>
            </p:nvSpPr>
            <p:spPr>
              <a:xfrm flipH="1">
                <a:off x="6779870" y="1963170"/>
                <a:ext cx="689089" cy="609188"/>
              </a:xfrm>
              <a:prstGeom prst="rightArrow">
                <a:avLst>
                  <a:gd name="adj1" fmla="val 60000"/>
                  <a:gd name="adj2" fmla="val 50000"/>
                </a:avLst>
              </a:prstGeom>
              <a:solidFill>
                <a:srgbClr val="B3B3B3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hangingPunct="1">
                  <a:defRPr/>
                </a:pPr>
                <a:r>
                  <a:rPr lang="ru-RU" sz="1028" dirty="0">
                    <a:solidFill>
                      <a:schemeClr val="bg1"/>
                    </a:solidFill>
                  </a:rPr>
                  <a:t> нет</a:t>
                </a:r>
                <a:endParaRPr lang="en-GB" sz="102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5" name="Right Arrow 102">
                <a:extLst/>
              </p:cNvPr>
              <p:cNvSpPr/>
              <p:nvPr/>
            </p:nvSpPr>
            <p:spPr>
              <a:xfrm flipH="1">
                <a:off x="6839110" y="943157"/>
                <a:ext cx="689089" cy="609188"/>
              </a:xfrm>
              <a:prstGeom prst="rightArrow">
                <a:avLst>
                  <a:gd name="adj1" fmla="val 60000"/>
                  <a:gd name="adj2" fmla="val 50000"/>
                </a:avLst>
              </a:prstGeom>
              <a:solidFill>
                <a:srgbClr val="B3B3B3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hangingPunct="1">
                  <a:defRPr/>
                </a:pPr>
                <a:r>
                  <a:rPr lang="ru-RU" sz="1028" dirty="0">
                    <a:solidFill>
                      <a:schemeClr val="bg1"/>
                    </a:solidFill>
                  </a:rPr>
                  <a:t>да</a:t>
                </a:r>
                <a:endParaRPr lang="en-GB" sz="102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Right Arrow 103">
                <a:extLst/>
              </p:cNvPr>
              <p:cNvSpPr/>
              <p:nvPr/>
            </p:nvSpPr>
            <p:spPr>
              <a:xfrm flipH="1">
                <a:off x="6812770" y="3235485"/>
                <a:ext cx="689089" cy="609188"/>
              </a:xfrm>
              <a:prstGeom prst="rightArrow">
                <a:avLst>
                  <a:gd name="adj1" fmla="val 60000"/>
                  <a:gd name="adj2" fmla="val 50000"/>
                </a:avLst>
              </a:prstGeom>
              <a:solidFill>
                <a:srgbClr val="B3B3B3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1" hangingPunct="1">
                  <a:defRPr/>
                </a:pPr>
                <a:r>
                  <a:rPr lang="ru-RU" sz="1028" dirty="0">
                    <a:solidFill>
                      <a:schemeClr val="bg1"/>
                    </a:solidFill>
                  </a:rPr>
                  <a:t> </a:t>
                </a:r>
                <a:r>
                  <a:rPr lang="ru-RU" sz="1028" dirty="0" smtClean="0">
                    <a:solidFill>
                      <a:schemeClr val="bg1"/>
                    </a:solidFill>
                  </a:rPr>
                  <a:t>да</a:t>
                </a:r>
                <a:endParaRPr lang="en-GB" sz="1028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10" name="Group 106">
                <a:extLst/>
              </p:cNvPr>
              <p:cNvGrpSpPr/>
              <p:nvPr/>
            </p:nvGrpSpPr>
            <p:grpSpPr>
              <a:xfrm>
                <a:off x="3850707" y="744306"/>
                <a:ext cx="2992495" cy="880266"/>
                <a:chOff x="-65501" y="-54106"/>
                <a:chExt cx="1681033" cy="1433526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16" name="Rounded Rectangle 107">
                  <a:extLst/>
                </p:cNvPr>
                <p:cNvSpPr/>
                <p:nvPr/>
              </p:nvSpPr>
              <p:spPr>
                <a:xfrm>
                  <a:off x="-65501" y="-54106"/>
                  <a:ext cx="1681033" cy="1394561"/>
                </a:xfrm>
                <a:prstGeom prst="roundRect">
                  <a:avLst>
                    <a:gd name="adj" fmla="val 10000"/>
                  </a:avLst>
                </a:prstGeom>
                <a:solidFill>
                  <a:srgbClr val="B3B3B3"/>
                </a:solidFill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3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lIns="30825" tIns="30825" rIns="30825" bIns="30825"/>
                <a:lstStyle/>
                <a:p>
                  <a:pPr eaLnBrk="1" hangingPunct="1">
                    <a:defRPr/>
                  </a:pPr>
                  <a:endParaRPr lang="en-GB" sz="1028"/>
                </a:p>
              </p:txBody>
            </p:sp>
            <p:sp>
              <p:nvSpPr>
                <p:cNvPr id="117" name="Rounded Rectangle 4">
                  <a:extLst/>
                </p:cNvPr>
                <p:cNvSpPr/>
                <p:nvPr/>
              </p:nvSpPr>
              <p:spPr>
                <a:xfrm>
                  <a:off x="-31709" y="-15142"/>
                  <a:ext cx="1599403" cy="1394562"/>
                </a:xfrm>
                <a:prstGeom prst="rect">
                  <a:avLst/>
                </a:prstGeom>
                <a:solidFill>
                  <a:srgbClr val="B3B3B3"/>
                </a:solidFill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30825" tIns="30825" rIns="30825" bIns="30825" spcCol="1270" anchor="ctr"/>
                <a:lstStyle/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endParaRPr lang="ru-RU" sz="1028" dirty="0">
                    <a:solidFill>
                      <a:schemeClr val="tx1"/>
                    </a:solidFill>
                  </a:endParaRPr>
                </a:p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r>
                    <a:rPr lang="ru-RU" sz="1000" dirty="0">
                      <a:solidFill>
                        <a:schemeClr val="bg1"/>
                      </a:solidFill>
                      <a:latin typeface="+mj-lt"/>
                    </a:rPr>
                    <a:t>Непосредственный руководитель </a:t>
                  </a:r>
                  <a:r>
                    <a:rPr lang="en-US" sz="1000" dirty="0">
                      <a:solidFill>
                        <a:schemeClr val="bg1"/>
                      </a:solidFill>
                      <a:latin typeface="+mj-lt"/>
                    </a:rPr>
                    <a:t> </a:t>
                  </a:r>
                  <a:r>
                    <a:rPr lang="ru-RU" sz="1000" dirty="0" smtClean="0">
                      <a:solidFill>
                        <a:schemeClr val="bg1"/>
                      </a:solidFill>
                      <a:latin typeface="+mj-lt"/>
                    </a:rPr>
                    <a:t>нарушителя создал работникам все условия для соблюдения Правил и принял </a:t>
                  </a:r>
                  <a:r>
                    <a:rPr lang="ru-RU" sz="1000" dirty="0">
                      <a:solidFill>
                        <a:schemeClr val="bg1"/>
                      </a:solidFill>
                      <a:latin typeface="+mj-lt"/>
                    </a:rPr>
                    <a:t>все </a:t>
                  </a:r>
                  <a:r>
                    <a:rPr lang="ru-RU" sz="1000" dirty="0" smtClean="0">
                      <a:solidFill>
                        <a:schemeClr val="bg1"/>
                      </a:solidFill>
                      <a:latin typeface="+mj-lt"/>
                    </a:rPr>
                    <a:t>меры </a:t>
                  </a:r>
                  <a:r>
                    <a:rPr lang="ru-RU" sz="1000" dirty="0">
                      <a:solidFill>
                        <a:schemeClr val="bg1"/>
                      </a:solidFill>
                      <a:latin typeface="+mj-lt"/>
                    </a:rPr>
                    <a:t>для предотвращения нарушения </a:t>
                  </a:r>
                  <a:r>
                    <a:rPr lang="ru-RU" sz="1000" dirty="0" smtClean="0">
                      <a:solidFill>
                        <a:schemeClr val="bg1"/>
                      </a:solidFill>
                      <a:latin typeface="+mj-lt"/>
                    </a:rPr>
                    <a:t>Правил в следующий раз?</a:t>
                  </a:r>
                  <a:endParaRPr lang="ru-RU" sz="1000" dirty="0">
                    <a:solidFill>
                      <a:schemeClr val="bg1"/>
                    </a:solidFill>
                    <a:latin typeface="+mj-lt"/>
                  </a:endParaRPr>
                </a:p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endParaRPr lang="en-US" sz="1028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12" name="Group 111">
                <a:extLst/>
              </p:cNvPr>
              <p:cNvGrpSpPr/>
              <p:nvPr/>
            </p:nvGrpSpPr>
            <p:grpSpPr>
              <a:xfrm>
                <a:off x="5083847" y="2013123"/>
                <a:ext cx="1413774" cy="2551132"/>
                <a:chOff x="3576" y="330911"/>
                <a:chExt cx="1563547" cy="938128"/>
              </a:xfrm>
              <a:gradFill flip="none" rotWithShape="1">
                <a:gsLst>
                  <a:gs pos="0">
                    <a:srgbClr val="006600"/>
                  </a:gs>
                  <a:gs pos="95000">
                    <a:srgbClr val="006600">
                      <a:tint val="44500"/>
                      <a:satMod val="160000"/>
                    </a:srgbClr>
                  </a:gs>
                  <a:gs pos="100000">
                    <a:srgbClr val="006600">
                      <a:tint val="23500"/>
                      <a:satMod val="160000"/>
                    </a:srgbClr>
                  </a:gs>
                </a:gsLst>
                <a:lin ang="8100000" scaled="1"/>
                <a:tileRect/>
              </a:gradFill>
            </p:grpSpPr>
            <p:sp>
              <p:nvSpPr>
                <p:cNvPr id="114" name="Rounded Rectangle 112">
                  <a:extLst/>
                </p:cNvPr>
                <p:cNvSpPr/>
                <p:nvPr/>
              </p:nvSpPr>
              <p:spPr>
                <a:xfrm>
                  <a:off x="3576" y="330911"/>
                  <a:ext cx="1563547" cy="938128"/>
                </a:xfrm>
                <a:prstGeom prst="roundRect">
                  <a:avLst>
                    <a:gd name="adj" fmla="val 10000"/>
                  </a:avLst>
                </a:prstGeom>
                <a:solidFill>
                  <a:srgbClr val="0078DC"/>
                </a:solidFill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3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pPr eaLnBrk="1" hangingPunct="1">
                    <a:defRPr/>
                  </a:pPr>
                  <a:endParaRPr lang="en-GB" sz="1028"/>
                </a:p>
              </p:txBody>
            </p:sp>
            <p:sp>
              <p:nvSpPr>
                <p:cNvPr id="115" name="Rounded Rectangle 4">
                  <a:extLst/>
                </p:cNvPr>
                <p:cNvSpPr/>
                <p:nvPr/>
              </p:nvSpPr>
              <p:spPr>
                <a:xfrm>
                  <a:off x="31052" y="367705"/>
                  <a:ext cx="1508593" cy="883174"/>
                </a:xfrm>
                <a:prstGeom prst="rect">
                  <a:avLst/>
                </a:prstGeom>
                <a:solidFill>
                  <a:srgbClr val="0078DC"/>
                </a:solidFill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lIns="45672" tIns="45672" rIns="45672" bIns="45672" spcCol="1270" anchor="ctr"/>
                <a:lstStyle/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r>
                    <a:rPr lang="ru-RU" sz="1028" dirty="0">
                      <a:solidFill>
                        <a:schemeClr val="bg1"/>
                      </a:solidFill>
                    </a:rPr>
                    <a:t>Никаких негативных последствий для </a:t>
                  </a:r>
                  <a:r>
                    <a:rPr lang="ru-RU" sz="1028" dirty="0" smtClean="0">
                      <a:solidFill>
                        <a:schemeClr val="bg1"/>
                      </a:solidFill>
                    </a:rPr>
                    <a:t>непосредственного руководителя работника нарушившего Правило</a:t>
                  </a:r>
                  <a:endParaRPr lang="ru-RU" sz="1028" dirty="0">
                    <a:solidFill>
                      <a:schemeClr val="bg1"/>
                    </a:solidFill>
                  </a:endParaRPr>
                </a:p>
                <a:p>
                  <a:pPr algn="ctr" defTabSz="532875">
                    <a:lnSpc>
                      <a:spcPct val="90000"/>
                    </a:lnSpc>
                    <a:spcAft>
                      <a:spcPct val="35000"/>
                    </a:spcAft>
                    <a:defRPr/>
                  </a:pPr>
                  <a:endParaRPr lang="en-US" sz="1028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13" name="Right Arrow 114">
                <a:extLst/>
              </p:cNvPr>
              <p:cNvSpPr/>
              <p:nvPr/>
            </p:nvSpPr>
            <p:spPr>
              <a:xfrm rot="16200000" flipH="1">
                <a:off x="5578985" y="1513402"/>
                <a:ext cx="388548" cy="610891"/>
              </a:xfrm>
              <a:prstGeom prst="rightArrow">
                <a:avLst>
                  <a:gd name="adj1" fmla="val 60000"/>
                  <a:gd name="adj2" fmla="val 50000"/>
                </a:avLst>
              </a:prstGeom>
              <a:solidFill>
                <a:srgbClr val="B3B3B3"/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3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vert="vert" anchor="ctr"/>
              <a:lstStyle/>
              <a:p>
                <a:pPr algn="ctr" eaLnBrk="1" hangingPunct="1">
                  <a:defRPr/>
                </a:pPr>
                <a:r>
                  <a:rPr lang="ru-RU" sz="1028" dirty="0">
                    <a:solidFill>
                      <a:schemeClr val="bg1"/>
                    </a:solidFill>
                  </a:rPr>
                  <a:t>да</a:t>
                </a:r>
                <a:endParaRPr lang="en-GB" sz="1028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226" name="Rectangle 65"/>
            <p:cNvSpPr>
              <a:spLocks noChangeArrowheads="1"/>
            </p:cNvSpPr>
            <p:nvPr/>
          </p:nvSpPr>
          <p:spPr bwMode="auto">
            <a:xfrm>
              <a:off x="3027170" y="5164743"/>
              <a:ext cx="1794658" cy="3233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62230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415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987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559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13188" indent="-255588" defTabSz="6223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ru-RU" altLang="en-US" sz="1199" dirty="0">
                  <a:solidFill>
                    <a:srgbClr val="363636"/>
                  </a:solidFill>
                </a:rPr>
                <a:t>Замечание </a:t>
              </a:r>
            </a:p>
          </p:txBody>
        </p:sp>
        <p:sp>
          <p:nvSpPr>
            <p:cNvPr id="9227" name="Rectangle 5"/>
            <p:cNvSpPr>
              <a:spLocks noChangeArrowheads="1"/>
            </p:cNvSpPr>
            <p:nvPr/>
          </p:nvSpPr>
          <p:spPr bwMode="auto">
            <a:xfrm>
              <a:off x="371003" y="3585428"/>
              <a:ext cx="2975746" cy="477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just"/>
              <a:endParaRPr lang="en-GB" altLang="en-US" sz="1028" dirty="0"/>
            </a:p>
            <a:p>
              <a:pPr algn="just"/>
              <a:endParaRPr lang="en-GB" altLang="en-US" sz="1028" dirty="0"/>
            </a:p>
          </p:txBody>
        </p:sp>
      </p:grpSp>
      <p:pic>
        <p:nvPicPr>
          <p:cNvPr id="50" name="Picture 9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7170" y="6026063"/>
            <a:ext cx="280036" cy="762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Rectangle 93"/>
          <p:cNvSpPr>
            <a:spLocks noChangeArrowheads="1"/>
          </p:cNvSpPr>
          <p:nvPr/>
        </p:nvSpPr>
        <p:spPr bwMode="auto">
          <a:xfrm>
            <a:off x="2905631" y="6180354"/>
            <a:ext cx="1091596" cy="258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223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6223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6223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6223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6223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1588" indent="-255588" defTabSz="6223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98788" indent="-255588" defTabSz="6223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5988" indent="-255588" defTabSz="6223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3188" indent="-255588" defTabSz="6223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spcAft>
                <a:spcPct val="35000"/>
              </a:spcAft>
            </a:pPr>
            <a:r>
              <a:rPr lang="ru-RU" altLang="en-US" sz="1199" dirty="0" smtClean="0"/>
              <a:t> </a:t>
            </a:r>
            <a:r>
              <a:rPr lang="ru-RU" altLang="en-US" sz="1199" dirty="0">
                <a:solidFill>
                  <a:srgbClr val="363636"/>
                </a:solidFill>
              </a:rPr>
              <a:t>Увольнение</a:t>
            </a:r>
            <a:endParaRPr lang="en-US" altLang="en-US" sz="1199" dirty="0">
              <a:solidFill>
                <a:srgbClr val="36363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33911" y="1795943"/>
            <a:ext cx="256123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 smtClean="0">
                <a:solidFill>
                  <a:srgbClr val="E6252E"/>
                </a:solidFill>
              </a:rPr>
              <a:t>Дисциплинарная ответственность к руководителю может не применяться, если руководитель обнаружил нарушение работником Правил, которое не повлекло наступления смертельного случая или потери трудоспособности, и сообщил о соответствующем нарушении.</a:t>
            </a:r>
            <a:endParaRPr lang="ru-RU" sz="1200" b="1" dirty="0">
              <a:solidFill>
                <a:srgbClr val="E6252E"/>
              </a:solidFill>
            </a:endParaRPr>
          </a:p>
        </p:txBody>
      </p:sp>
      <p:sp>
        <p:nvSpPr>
          <p:cNvPr id="66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 smtClean="0"/>
              <a:t>20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2167377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12150" y="270641"/>
            <a:ext cx="8409987" cy="607183"/>
          </a:xfrm>
        </p:spPr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Приложения   </a:t>
            </a:r>
          </a:p>
          <a:p>
            <a:pPr algn="ctr"/>
            <a:endParaRPr lang="ru-RU" dirty="0" smtClean="0">
              <a:solidFill>
                <a:srgbClr val="0078DC"/>
              </a:solidFill>
            </a:endParaRPr>
          </a:p>
          <a:p>
            <a:pPr>
              <a:lnSpc>
                <a:spcPct val="150000"/>
              </a:lnSpc>
            </a:pPr>
            <a:r>
              <a:rPr lang="ru-RU" altLang="en-US" sz="1800" b="0" dirty="0">
                <a:solidFill>
                  <a:schemeClr val="bg2">
                    <a:lumMod val="50000"/>
                  </a:schemeClr>
                </a:solidFill>
              </a:rPr>
              <a:t>Приложение </a:t>
            </a:r>
            <a:r>
              <a:rPr lang="ru-RU" altLang="en-US" sz="1800" b="0" dirty="0" smtClean="0">
                <a:solidFill>
                  <a:schemeClr val="bg2">
                    <a:lumMod val="50000"/>
                  </a:schemeClr>
                </a:solidFill>
              </a:rPr>
              <a:t>1. Форма акта </a:t>
            </a:r>
            <a:r>
              <a:rPr lang="ru-RU" altLang="en-US" sz="1800" b="0" dirty="0">
                <a:solidFill>
                  <a:schemeClr val="bg2">
                    <a:lumMod val="50000"/>
                  </a:schemeClr>
                </a:solidFill>
              </a:rPr>
              <a:t>ознакомления и соблюдения жизненно важных </a:t>
            </a:r>
            <a:r>
              <a:rPr lang="ru-RU" altLang="en-US" sz="1800" b="0" dirty="0" smtClean="0">
                <a:solidFill>
                  <a:schemeClr val="bg2">
                    <a:lumMod val="50000"/>
                  </a:schemeClr>
                </a:solidFill>
              </a:rPr>
              <a:t>правил по охране труда в ПАО «Юнипро»</a:t>
            </a:r>
            <a:endParaRPr lang="ru-RU" altLang="en-US" sz="1800" b="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ru-RU" altLang="en-US" sz="1800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endParaRPr lang="ru-RU" altLang="en-US" sz="1800" b="0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ru-RU" altLang="en-US" sz="1800" b="0" dirty="0" smtClean="0">
                <a:solidFill>
                  <a:schemeClr val="bg2">
                    <a:lumMod val="50000"/>
                  </a:schemeClr>
                </a:solidFill>
              </a:rPr>
              <a:t>Приложение 2. Образец акта </a:t>
            </a:r>
            <a:r>
              <a:rPr lang="ru-RU" altLang="en-US" sz="1800" b="0" dirty="0">
                <a:solidFill>
                  <a:schemeClr val="bg2">
                    <a:lumMod val="50000"/>
                  </a:schemeClr>
                </a:solidFill>
              </a:rPr>
              <a:t>расследования </a:t>
            </a:r>
            <a:r>
              <a:rPr lang="ru-RU" altLang="en-US" sz="1800" b="0" dirty="0" smtClean="0">
                <a:solidFill>
                  <a:schemeClr val="bg2">
                    <a:lumMod val="50000"/>
                  </a:schemeClr>
                </a:solidFill>
              </a:rPr>
              <a:t>нарушения     </a:t>
            </a:r>
            <a:endParaRPr lang="ru-RU" altLang="en-US" sz="1800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21</a:t>
            </a:r>
            <a:endParaRPr lang="ru-RU" dirty="0"/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06771384"/>
              </p:ext>
            </p:extLst>
          </p:nvPr>
        </p:nvGraphicFramePr>
        <p:xfrm>
          <a:off x="6510528" y="1918526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6" name="Документ" showAsIcon="1" r:id="rId3" imgW="914400" imgH="771480" progId="Word.Document.12">
                  <p:embed/>
                </p:oleObj>
              </mc:Choice>
              <mc:Fallback>
                <p:oleObj name="Документ" showAsIcon="1" r:id="rId3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510528" y="1918526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5121447"/>
              </p:ext>
            </p:extLst>
          </p:nvPr>
        </p:nvGraphicFramePr>
        <p:xfrm>
          <a:off x="6702552" y="373075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Документ" showAsIcon="1" r:id="rId5" imgW="914400" imgH="771480" progId="Word.Document.12">
                  <p:embed/>
                </p:oleObj>
              </mc:Choice>
              <mc:Fallback>
                <p:oleObj name="Документ" showAsIcon="1" r:id="rId5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702552" y="373075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6101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>
                <a:solidFill>
                  <a:srgbClr val="0078DC"/>
                </a:solidFill>
              </a:rPr>
              <a:t>Оглавление</a:t>
            </a:r>
          </a:p>
        </p:txBody>
      </p:sp>
      <p:sp>
        <p:nvSpPr>
          <p:cNvPr id="4" name="TextBox 33">
            <a:extLst/>
          </p:cNvPr>
          <p:cNvSpPr txBox="1">
            <a:spLocks noGrp="1" noChangeArrowheads="1"/>
          </p:cNvSpPr>
          <p:nvPr>
            <p:ph type="body" sz="quarter" idx="11"/>
          </p:nvPr>
        </p:nvSpPr>
        <p:spPr bwMode="auto">
          <a:xfrm>
            <a:off x="570540" y="866445"/>
            <a:ext cx="8375650" cy="691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en-US" sz="1600" dirty="0" smtClean="0">
                <a:solidFill>
                  <a:schemeClr val="bg2">
                    <a:lumMod val="50000"/>
                  </a:schemeClr>
                </a:solidFill>
              </a:rPr>
              <a:t>Область применения Правил</a:t>
            </a:r>
          </a:p>
          <a:p>
            <a:pPr>
              <a:lnSpc>
                <a:spcPct val="150000"/>
              </a:lnSpc>
            </a:pPr>
            <a:r>
              <a:rPr lang="ru-RU" altLang="en-US" sz="1600" dirty="0" smtClean="0">
                <a:solidFill>
                  <a:schemeClr val="bg2">
                    <a:lumMod val="50000"/>
                  </a:schemeClr>
                </a:solidFill>
              </a:rPr>
              <a:t>Понятие и значение Правил</a:t>
            </a:r>
            <a:endParaRPr lang="en-US" altLang="en-US" sz="1600" dirty="0" smtClean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</a:pPr>
            <a:r>
              <a:rPr lang="ru-RU" altLang="en-US" sz="1600" dirty="0" smtClean="0">
                <a:solidFill>
                  <a:schemeClr val="bg2">
                    <a:lumMod val="50000"/>
                  </a:schemeClr>
                </a:solidFill>
              </a:rPr>
              <a:t>Пять Жизненно важных правил по охране труда  </a:t>
            </a:r>
            <a:r>
              <a:rPr lang="en-GB" altLang="ru-RU" sz="1600" dirty="0">
                <a:solidFill>
                  <a:schemeClr val="bg2">
                    <a:lumMod val="50000"/>
                  </a:schemeClr>
                </a:solidFill>
                <a:sym typeface="Carlsberg Sans"/>
              </a:rPr>
              <a:t>				</a:t>
            </a:r>
            <a:endParaRPr lang="ru-RU" altLang="ru-RU" sz="1600" dirty="0">
              <a:solidFill>
                <a:schemeClr val="bg2">
                  <a:lumMod val="50000"/>
                </a:schemeClr>
              </a:solidFill>
              <a:sym typeface="Carlsberg Sans"/>
            </a:endParaRPr>
          </a:p>
          <a:p>
            <a:pPr>
              <a:lnSpc>
                <a:spcPct val="150000"/>
              </a:lnSpc>
            </a:pPr>
            <a:r>
              <a:rPr lang="ru-RU" altLang="ru-RU" sz="1600" dirty="0" smtClean="0">
                <a:solidFill>
                  <a:schemeClr val="bg2">
                    <a:lumMod val="50000"/>
                  </a:schemeClr>
                </a:solidFill>
                <a:sym typeface="Carlsberg Sans"/>
              </a:rPr>
              <a:t>Применение Правил</a:t>
            </a:r>
          </a:p>
          <a:p>
            <a:pPr>
              <a:lnSpc>
                <a:spcPct val="150000"/>
              </a:lnSpc>
            </a:pPr>
            <a:r>
              <a:rPr lang="ru-RU" altLang="ru-RU" sz="1600" dirty="0" smtClean="0">
                <a:solidFill>
                  <a:schemeClr val="bg2">
                    <a:lumMod val="50000"/>
                  </a:schemeClr>
                </a:solidFill>
                <a:sym typeface="Carlsberg Sans"/>
              </a:rPr>
              <a:t>Порядок выявления и расследования нарушений Правил</a:t>
            </a:r>
          </a:p>
          <a:p>
            <a:pPr>
              <a:lnSpc>
                <a:spcPct val="150000"/>
              </a:lnSpc>
            </a:pPr>
            <a:r>
              <a:rPr lang="ru-RU" altLang="ru-RU" sz="1600" dirty="0" smtClean="0">
                <a:solidFill>
                  <a:schemeClr val="bg2">
                    <a:lumMod val="50000"/>
                  </a:schemeClr>
                </a:solidFill>
                <a:sym typeface="Carlsberg Sans"/>
              </a:rPr>
              <a:t>Работа с подрядными организациями</a:t>
            </a:r>
            <a:r>
              <a:rPr lang="en-GB" altLang="ru-RU" sz="1600" dirty="0">
                <a:solidFill>
                  <a:schemeClr val="bg2">
                    <a:lumMod val="50000"/>
                  </a:schemeClr>
                </a:solidFill>
                <a:sym typeface="Carlsberg Sans"/>
              </a:rPr>
              <a:t>	</a:t>
            </a:r>
            <a:r>
              <a:rPr lang="ru-RU" altLang="ru-RU" sz="1600" dirty="0">
                <a:solidFill>
                  <a:schemeClr val="bg2">
                    <a:lumMod val="50000"/>
                  </a:schemeClr>
                </a:solidFill>
                <a:sym typeface="Carlsberg Sans"/>
              </a:rPr>
              <a:t>		</a:t>
            </a:r>
          </a:p>
          <a:p>
            <a:pPr>
              <a:lnSpc>
                <a:spcPct val="150000"/>
              </a:lnSpc>
            </a:pPr>
            <a:r>
              <a:rPr lang="ru-RU" altLang="en-US" sz="1600" dirty="0">
                <a:solidFill>
                  <a:schemeClr val="bg2">
                    <a:lumMod val="50000"/>
                  </a:schemeClr>
                </a:solidFill>
              </a:rPr>
              <a:t>Ответственность </a:t>
            </a:r>
            <a:r>
              <a:rPr lang="ru-RU" altLang="en-US" sz="1600" dirty="0" smtClean="0">
                <a:solidFill>
                  <a:schemeClr val="bg2">
                    <a:lumMod val="50000"/>
                  </a:schemeClr>
                </a:solidFill>
              </a:rPr>
              <a:t>работников за </a:t>
            </a:r>
            <a:r>
              <a:rPr lang="ru-RU" altLang="en-US" sz="1600" dirty="0">
                <a:solidFill>
                  <a:schemeClr val="bg2">
                    <a:lumMod val="50000"/>
                  </a:schemeClr>
                </a:solidFill>
              </a:rPr>
              <a:t>нарушение </a:t>
            </a:r>
            <a:r>
              <a:rPr lang="ru-RU" altLang="en-US" sz="1600" dirty="0" smtClean="0">
                <a:solidFill>
                  <a:schemeClr val="bg2">
                    <a:lumMod val="50000"/>
                  </a:schemeClr>
                </a:solidFill>
              </a:rPr>
              <a:t>Правил </a:t>
            </a:r>
          </a:p>
          <a:p>
            <a:pPr>
              <a:lnSpc>
                <a:spcPct val="150000"/>
              </a:lnSpc>
            </a:pPr>
            <a:r>
              <a:rPr lang="ru-RU" altLang="en-US" sz="1600" dirty="0" smtClean="0">
                <a:solidFill>
                  <a:schemeClr val="bg2">
                    <a:lumMod val="50000"/>
                  </a:schemeClr>
                </a:solidFill>
              </a:rPr>
              <a:t>Ответственность руководителей </a:t>
            </a:r>
            <a:r>
              <a:rPr lang="ru-RU" altLang="en-US" sz="1600" dirty="0">
                <a:solidFill>
                  <a:schemeClr val="bg2">
                    <a:lumMod val="50000"/>
                  </a:schemeClr>
                </a:solidFill>
              </a:rPr>
              <a:t>за нарушение </a:t>
            </a:r>
            <a:r>
              <a:rPr lang="ru-RU" altLang="en-US" sz="1600" dirty="0" smtClean="0">
                <a:solidFill>
                  <a:schemeClr val="bg2">
                    <a:lumMod val="50000"/>
                  </a:schemeClr>
                </a:solidFill>
              </a:rPr>
              <a:t>Правил работниками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ru-RU" altLang="en-US" sz="1600" dirty="0" smtClean="0">
                <a:solidFill>
                  <a:schemeClr val="bg2">
                    <a:lumMod val="50000"/>
                  </a:schemeClr>
                </a:solidFill>
              </a:rPr>
              <a:t>Приложение 1. Форма акта </a:t>
            </a:r>
            <a:r>
              <a:rPr lang="ru-RU" altLang="en-US" sz="1600" dirty="0">
                <a:solidFill>
                  <a:schemeClr val="bg2">
                    <a:lumMod val="50000"/>
                  </a:schemeClr>
                </a:solidFill>
              </a:rPr>
              <a:t>ознакомления </a:t>
            </a:r>
            <a:r>
              <a:rPr lang="ru-RU" altLang="en-US" sz="1600" dirty="0" smtClean="0">
                <a:solidFill>
                  <a:schemeClr val="bg2">
                    <a:lumMod val="50000"/>
                  </a:schemeClr>
                </a:solidFill>
              </a:rPr>
              <a:t>и соблюдения </a:t>
            </a:r>
            <a:r>
              <a:rPr lang="ru-RU" altLang="en-US" sz="1600" dirty="0">
                <a:solidFill>
                  <a:schemeClr val="bg2">
                    <a:lumMod val="50000"/>
                  </a:schemeClr>
                </a:solidFill>
              </a:rPr>
              <a:t>жизненно важных </a:t>
            </a:r>
            <a:r>
              <a:rPr lang="ru-RU" altLang="en-US" sz="1600" dirty="0" smtClean="0">
                <a:solidFill>
                  <a:schemeClr val="bg2">
                    <a:lumMod val="50000"/>
                  </a:schemeClr>
                </a:solidFill>
              </a:rPr>
              <a:t>правил по охране труда в ПАО «Юнипро»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ru-RU" altLang="en-US" sz="1600" dirty="0" smtClean="0">
                <a:solidFill>
                  <a:schemeClr val="bg2">
                    <a:lumMod val="50000"/>
                  </a:schemeClr>
                </a:solidFill>
              </a:rPr>
              <a:t>Приложение 2. </a:t>
            </a:r>
            <a:r>
              <a:rPr lang="ru-RU" altLang="en-US" sz="1600" smtClean="0">
                <a:solidFill>
                  <a:schemeClr val="bg2">
                    <a:lumMod val="50000"/>
                  </a:schemeClr>
                </a:solidFill>
              </a:rPr>
              <a:t>Образец акта расследования нарушения</a:t>
            </a:r>
            <a:endParaRPr lang="ru-RU" altLang="en-US" sz="1600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ru-RU" altLang="ru-RU" sz="1600" dirty="0">
                <a:solidFill>
                  <a:schemeClr val="bg2">
                    <a:lumMod val="50000"/>
                  </a:schemeClr>
                </a:solidFill>
                <a:sym typeface="Carlsberg Sans"/>
              </a:rPr>
              <a:t>			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ru-RU" altLang="ru-RU" sz="1600" dirty="0">
                <a:solidFill>
                  <a:srgbClr val="595959"/>
                </a:solidFill>
                <a:latin typeface="Carlsberg Sans Light" panose="02000503000000020004" pitchFamily="50" charset="-52"/>
                <a:sym typeface="Carlsberg Sans"/>
              </a:rPr>
              <a:t>		</a:t>
            </a:r>
            <a:endParaRPr lang="en-US" altLang="ru-RU" sz="1600" dirty="0">
              <a:solidFill>
                <a:srgbClr val="595959"/>
              </a:solidFill>
              <a:latin typeface="Carlsberg Sans Light" panose="02000503000000020004" pitchFamily="50" charset="-52"/>
              <a:sym typeface="Carlsberg Sans"/>
            </a:endParaRPr>
          </a:p>
          <a:p>
            <a:pPr algn="just" eaLnBrk="1" hangingPunct="1">
              <a:defRPr/>
            </a:pPr>
            <a:endParaRPr lang="en-US" altLang="en-US" dirty="0">
              <a:solidFill>
                <a:srgbClr val="7F7F7F"/>
              </a:solidFill>
              <a:latin typeface="Carlsberg Sans Light" panose="02000503000000020004" pitchFamily="50" charset="-52"/>
            </a:endParaRPr>
          </a:p>
          <a:p>
            <a:pPr eaLnBrk="1" hangingPunct="1">
              <a:defRPr/>
            </a:pPr>
            <a:endParaRPr lang="ru-RU" altLang="en-US" sz="1400" dirty="0">
              <a:solidFill>
                <a:srgbClr val="7F7F7F"/>
              </a:solidFill>
              <a:latin typeface="Carlsberg Sans Light" panose="02000503000000020004" pitchFamily="50" charset="-52"/>
            </a:endParaRPr>
          </a:p>
        </p:txBody>
      </p:sp>
      <p:sp>
        <p:nvSpPr>
          <p:cNvPr id="6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926212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335128" y="1287196"/>
            <a:ext cx="8375650" cy="4071188"/>
          </a:xfrm>
        </p:spPr>
        <p:txBody>
          <a:bodyPr/>
          <a:lstStyle/>
          <a:p>
            <a:pPr marL="0" indent="0" algn="just">
              <a:buNone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1.1. </a:t>
            </a:r>
            <a:r>
              <a:rPr lang="ru-RU" dirty="0" smtClean="0"/>
              <a:t>Настоящие Жизненно </a:t>
            </a:r>
            <a:r>
              <a:rPr lang="ru-RU" dirty="0"/>
              <a:t>важные правила </a:t>
            </a:r>
            <a:r>
              <a:rPr lang="ru-RU" dirty="0" smtClean="0"/>
              <a:t>по охране труда в ПАО «Юнипро» (далее </a:t>
            </a:r>
            <a:r>
              <a:rPr lang="ru-RU" dirty="0"/>
              <a:t>– Правила) являются локальным нормативным актом ПАО «Юнипро» (далее - Общество)</a:t>
            </a:r>
            <a:r>
              <a:rPr lang="ru-RU" dirty="0" smtClean="0"/>
              <a:t>, который устанавливает перечень жизненно важных </a:t>
            </a:r>
            <a:r>
              <a:rPr lang="ru-RU" dirty="0"/>
              <a:t>правил п</a:t>
            </a:r>
            <a:r>
              <a:rPr lang="ru-RU" dirty="0" smtClean="0"/>
              <a:t>о охране труда в </a:t>
            </a:r>
            <a:r>
              <a:rPr lang="ru-RU" dirty="0"/>
              <a:t>ПАО «Юнипро</a:t>
            </a:r>
            <a:r>
              <a:rPr lang="ru-RU" dirty="0" smtClean="0"/>
              <a:t>», их содержание и последствия за их несоблюдение.  </a:t>
            </a:r>
            <a:endParaRPr lang="ru-RU" dirty="0"/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1.2. </a:t>
            </a:r>
            <a:r>
              <a:rPr lang="ru-RU" dirty="0" smtClean="0"/>
              <a:t>Правила обязательны для исполнения </a:t>
            </a:r>
            <a:r>
              <a:rPr lang="ru-RU" dirty="0"/>
              <a:t>всеми работниками Общества, а </a:t>
            </a:r>
            <a:r>
              <a:rPr lang="ru-RU" dirty="0" smtClean="0"/>
              <a:t>также работниками подрядных организаций, </a:t>
            </a:r>
            <a:r>
              <a:rPr lang="ru-RU" dirty="0"/>
              <a:t>выполняющими работы на территории Общества. 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1.3. </a:t>
            </a:r>
            <a:r>
              <a:rPr lang="ru-RU" dirty="0"/>
              <a:t>Контроль соблюдения требований, установленных настоящими Правилами, осуществляется структурными подразделениями и работниками ИА / Филиалов, вышестоящим непосредственным и функциональным руководителем которых является Директор по охране труда и безопасности производства ПАО «Юнипро» (далее </a:t>
            </a:r>
            <a:r>
              <a:rPr lang="ru-RU" dirty="0" smtClean="0"/>
              <a:t>– </a:t>
            </a:r>
            <a:r>
              <a:rPr lang="ru-RU" dirty="0"/>
              <a:t>Блок охраны труда).</a:t>
            </a:r>
          </a:p>
          <a:p>
            <a:pPr marL="0" indent="0">
              <a:buNone/>
            </a:pPr>
            <a:r>
              <a:rPr lang="ru-RU" dirty="0"/>
              <a:t> 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47161" y="299771"/>
            <a:ext cx="8409987" cy="987425"/>
          </a:xfrm>
        </p:spPr>
        <p:txBody>
          <a:bodyPr/>
          <a:lstStyle/>
          <a:p>
            <a:r>
              <a:rPr lang="ru-RU" dirty="0">
                <a:solidFill>
                  <a:srgbClr val="0078DC"/>
                </a:solidFill>
              </a:rPr>
              <a:t>1.Область </a:t>
            </a:r>
            <a:r>
              <a:rPr lang="ru-RU" dirty="0" smtClean="0">
                <a:solidFill>
                  <a:srgbClr val="0078DC"/>
                </a:solidFill>
              </a:rPr>
              <a:t>применения Правил</a:t>
            </a:r>
            <a:endParaRPr lang="ru-RU" dirty="0">
              <a:solidFill>
                <a:srgbClr val="0078DC"/>
              </a:solidFill>
            </a:endParaRPr>
          </a:p>
        </p:txBody>
      </p:sp>
      <p:sp>
        <p:nvSpPr>
          <p:cNvPr id="4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 smtClean="0"/>
              <a:t>4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3164462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300791" y="564693"/>
            <a:ext cx="8375650" cy="2070100"/>
          </a:xfrm>
        </p:spPr>
        <p:txBody>
          <a:bodyPr/>
          <a:lstStyle/>
          <a:p>
            <a:pPr marL="0" indent="0" algn="just">
              <a:buNone/>
              <a:defRPr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2.1. </a:t>
            </a:r>
            <a:r>
              <a:rPr lang="ru-RU" b="1" dirty="0" smtClean="0"/>
              <a:t>Жизненно </a:t>
            </a:r>
            <a:r>
              <a:rPr lang="ru-RU" b="1" dirty="0"/>
              <a:t>важные правила</a:t>
            </a:r>
            <a:r>
              <a:rPr lang="en-US" b="1" dirty="0"/>
              <a:t> </a:t>
            </a:r>
            <a:r>
              <a:rPr lang="ru-RU" b="1" dirty="0" smtClean="0"/>
              <a:t>по охране труда </a:t>
            </a:r>
            <a:r>
              <a:rPr lang="ru-RU" dirty="0" smtClean="0"/>
              <a:t>– </a:t>
            </a:r>
            <a:r>
              <a:rPr lang="ru-RU" dirty="0"/>
              <a:t>это простые </a:t>
            </a:r>
            <a:r>
              <a:rPr lang="ru-RU" dirty="0" smtClean="0"/>
              <a:t>правила по охране труда, </a:t>
            </a:r>
            <a:r>
              <a:rPr lang="ru-RU" dirty="0"/>
              <a:t>позволяющие во время работы исключить серьезную угрозу для жизни и здоровья </a:t>
            </a:r>
            <a:r>
              <a:rPr lang="ru-RU" dirty="0" smtClean="0"/>
              <a:t>работников Общества, сотрудников подрядных организаций и третьих лиц на территории Общества.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2.2. </a:t>
            </a:r>
            <a:r>
              <a:rPr lang="ru-RU" dirty="0"/>
              <a:t>Соблюдение </a:t>
            </a:r>
            <a:r>
              <a:rPr lang="ru-RU" dirty="0" smtClean="0"/>
              <a:t>Правил предотвращает </a:t>
            </a:r>
            <a:r>
              <a:rPr lang="ru-RU" dirty="0"/>
              <a:t>и </a:t>
            </a:r>
            <a:r>
              <a:rPr lang="ru-RU" dirty="0" smtClean="0"/>
              <a:t>минимизирует наступление случаев </a:t>
            </a:r>
            <a:r>
              <a:rPr lang="ru-RU" dirty="0"/>
              <a:t>с потерей </a:t>
            </a:r>
            <a:r>
              <a:rPr lang="ru-RU" dirty="0" smtClean="0"/>
              <a:t>трудоспособности и </a:t>
            </a:r>
            <a:r>
              <a:rPr lang="ru-RU" dirty="0"/>
              <a:t>смертельных случаев </a:t>
            </a:r>
            <a:r>
              <a:rPr lang="ru-RU" dirty="0" smtClean="0"/>
              <a:t>при выполнении работ на территории Общества в </a:t>
            </a:r>
            <a:r>
              <a:rPr lang="ru-RU" dirty="0"/>
              <a:t>результате</a:t>
            </a:r>
            <a:r>
              <a:rPr lang="ru-RU" dirty="0" smtClean="0"/>
              <a:t>: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dirty="0" smtClean="0"/>
              <a:t> поражения </a:t>
            </a:r>
            <a:r>
              <a:rPr lang="ru-RU" dirty="0"/>
              <a:t>электрическим током;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dirty="0" smtClean="0"/>
              <a:t> нарушения </a:t>
            </a:r>
            <a:r>
              <a:rPr lang="ru-RU" dirty="0"/>
              <a:t>технологии разгрузки топлива;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dirty="0" smtClean="0"/>
              <a:t> падения </a:t>
            </a:r>
            <a:r>
              <a:rPr lang="ru-RU" dirty="0"/>
              <a:t>с высоты;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dirty="0"/>
              <a:t>падения предметов при проведении погрузо-разгрузочных работ;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dirty="0" err="1"/>
              <a:t>поскальзывания</a:t>
            </a:r>
            <a:r>
              <a:rPr lang="ru-RU" dirty="0"/>
              <a:t> и падения;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dirty="0" smtClean="0"/>
              <a:t>воздействия </a:t>
            </a:r>
            <a:r>
              <a:rPr lang="ru-RU" dirty="0"/>
              <a:t>вращающихся механизмов и подвижных предметов;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dirty="0" smtClean="0"/>
              <a:t>работы </a:t>
            </a:r>
            <a:r>
              <a:rPr lang="ru-RU" dirty="0"/>
              <a:t>с инструментами и приспособлениями</a:t>
            </a:r>
            <a:r>
              <a:rPr lang="ru-RU" dirty="0" smtClean="0"/>
              <a:t>;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dirty="0"/>
              <a:t>п</a:t>
            </a:r>
            <a:r>
              <a:rPr lang="ru-RU" dirty="0" smtClean="0"/>
              <a:t>оражения паром и горячей водой;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dirty="0" smtClean="0"/>
              <a:t>поражения при работе с кислотами и щелочами;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dirty="0"/>
              <a:t>р</a:t>
            </a:r>
            <a:r>
              <a:rPr lang="ru-RU" dirty="0" smtClean="0"/>
              <a:t>аботы на автомобильном и железнодорожном транспорте;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ru-RU" dirty="0"/>
              <a:t>и </a:t>
            </a:r>
            <a:r>
              <a:rPr lang="ru-RU" dirty="0" smtClean="0"/>
              <a:t>т.д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dirty="0" smtClean="0"/>
          </a:p>
          <a:p>
            <a:pPr marL="0" indent="0">
              <a:spcBef>
                <a:spcPts val="600"/>
              </a:spcBef>
              <a:buNone/>
            </a:pPr>
            <a:r>
              <a:rPr lang="ru-RU" altLang="en-US" dirty="0" smtClean="0">
                <a:solidFill>
                  <a:schemeClr val="tx1">
                    <a:lumMod val="75000"/>
                  </a:schemeClr>
                </a:solidFill>
              </a:rPr>
              <a:t>2.3. </a:t>
            </a:r>
            <a:r>
              <a:rPr lang="ru-RU" altLang="en-US" dirty="0" smtClean="0"/>
              <a:t>Правила </a:t>
            </a:r>
            <a:r>
              <a:rPr lang="ru-RU" altLang="en-US" dirty="0"/>
              <a:t>основаны на принципах ясности и простоты.</a:t>
            </a:r>
          </a:p>
          <a:p>
            <a:pPr marL="0" indent="0" algn="just">
              <a:buNone/>
              <a:defRPr/>
            </a:pPr>
            <a:endParaRPr lang="en-US" altLang="en-US" b="1" dirty="0"/>
          </a:p>
          <a:p>
            <a:pPr marL="0" indent="0" algn="just">
              <a:buNone/>
              <a:defRPr/>
            </a:pPr>
            <a:endParaRPr lang="ru-RU" altLang="en-US" b="1" dirty="0" smtClean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00791" y="153278"/>
            <a:ext cx="8409987" cy="493712"/>
          </a:xfrm>
        </p:spPr>
        <p:txBody>
          <a:bodyPr/>
          <a:lstStyle/>
          <a:p>
            <a:r>
              <a:rPr lang="ru-RU" dirty="0">
                <a:solidFill>
                  <a:srgbClr val="0078DC"/>
                </a:solidFill>
              </a:rPr>
              <a:t>2. </a:t>
            </a:r>
            <a:r>
              <a:rPr lang="ru-RU" dirty="0" smtClean="0">
                <a:solidFill>
                  <a:srgbClr val="0078DC"/>
                </a:solidFill>
              </a:rPr>
              <a:t>Понятие и значение Правил</a:t>
            </a:r>
            <a:endParaRPr lang="ru-RU" dirty="0">
              <a:solidFill>
                <a:srgbClr val="0078DC"/>
              </a:solidFill>
            </a:endParaRPr>
          </a:p>
        </p:txBody>
      </p:sp>
      <p:sp>
        <p:nvSpPr>
          <p:cNvPr id="4" name="Текст 2"/>
          <p:cNvSpPr txBox="1">
            <a:spLocks/>
          </p:cNvSpPr>
          <p:nvPr/>
        </p:nvSpPr>
        <p:spPr>
          <a:xfrm>
            <a:off x="6891965" y="6305880"/>
            <a:ext cx="2054225" cy="3794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ru-RU" sz="800" b="1" dirty="0" smtClean="0"/>
              <a:t>5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88639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12150" y="270641"/>
            <a:ext cx="8409987" cy="607183"/>
          </a:xfrm>
        </p:spPr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3. Пять жизненно </a:t>
            </a:r>
            <a:r>
              <a:rPr lang="ru-RU" dirty="0">
                <a:solidFill>
                  <a:srgbClr val="0078DC"/>
                </a:solidFill>
              </a:rPr>
              <a:t>важных </a:t>
            </a:r>
            <a:r>
              <a:rPr lang="ru-RU" dirty="0" smtClean="0">
                <a:solidFill>
                  <a:srgbClr val="0078DC"/>
                </a:solidFill>
              </a:rPr>
              <a:t>правил </a:t>
            </a:r>
            <a:endParaRPr lang="ru-RU" dirty="0">
              <a:solidFill>
                <a:srgbClr val="0078DC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6891966" y="6305880"/>
            <a:ext cx="2036882" cy="379412"/>
          </a:xfrm>
        </p:spPr>
        <p:txBody>
          <a:bodyPr/>
          <a:lstStyle/>
          <a:p>
            <a:r>
              <a:rPr lang="ru-RU" dirty="0"/>
              <a:t>6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424511" y="788447"/>
            <a:ext cx="6283229" cy="5643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О </a:t>
            </a: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1 </a:t>
            </a:r>
          </a:p>
          <a:p>
            <a:pPr lvl="0" algn="just">
              <a:lnSpc>
                <a:spcPct val="90000"/>
              </a:lnSpc>
              <a:spcBef>
                <a:spcPts val="6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яй необходимые средства индивидуальной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ы: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гда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яйте средства индивидуальной защиты в соответствии с характером выполняемой работы и предписывающими знаками, плакатами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и. 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О №2 </a:t>
            </a:r>
          </a:p>
          <a:p>
            <a:pPr lvl="0" algn="just">
              <a:lnSpc>
                <a:spcPct val="90000"/>
              </a:lnSpc>
              <a:spcBef>
                <a:spcPts val="6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яй ремонтные работы только по наряду-допуску или письменному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оряжению: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ные работы должны проводиться по наряду-допуску или письменному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оряжению.</a:t>
            </a:r>
          </a:p>
          <a:p>
            <a:pPr lvl="0" algn="ctr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О №3 </a:t>
            </a:r>
          </a:p>
          <a:p>
            <a:pPr lvl="0" algn="just">
              <a:lnSpc>
                <a:spcPct val="90000"/>
              </a:lnSpc>
              <a:spcBef>
                <a:spcPts val="6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стой под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зом: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рещено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ходиться под грузом при проведении погрузо-разгрузочных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RU" sz="16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О №4 </a:t>
            </a:r>
            <a:endParaRPr lang="ru-RU" sz="1600" b="1" dirty="0" smtClean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90000"/>
              </a:lnSpc>
              <a:spcBef>
                <a:spcPts val="6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крати работу при угрозе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зни: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дленно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кратить работу при возникновении риска для жизни или здоровья персонала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b="1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О №5 </a:t>
            </a:r>
            <a:endParaRPr lang="ru-RU" sz="1600" b="1" dirty="0" smtClean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90000"/>
              </a:lnSpc>
              <a:spcBef>
                <a:spcPts val="6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едуй безопасным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шрутом: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ередвижении по территории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а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гда следуй безопасными маршрутами.</a:t>
            </a:r>
            <a:endParaRPr lang="ru-RU" altLang="en-US" sz="16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9037" y="3192331"/>
            <a:ext cx="1071623" cy="107408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/>
          <a:srcRect l="6141" t="23528" r="67281" b="29221"/>
          <a:stretch/>
        </p:blipFill>
        <p:spPr>
          <a:xfrm>
            <a:off x="1238180" y="2068154"/>
            <a:ext cx="1101516" cy="110151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301" t="13797" r="73628" b="40386"/>
          <a:stretch/>
        </p:blipFill>
        <p:spPr>
          <a:xfrm>
            <a:off x="1236518" y="987552"/>
            <a:ext cx="1018362" cy="100667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/>
          <a:srcRect l="350" t="13583" r="73214" b="39252"/>
          <a:stretch/>
        </p:blipFill>
        <p:spPr>
          <a:xfrm>
            <a:off x="1303112" y="4299951"/>
            <a:ext cx="1078991" cy="108286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6"/>
          <a:srcRect l="349" t="13311" r="73062" b="39252"/>
          <a:stretch/>
        </p:blipFill>
        <p:spPr>
          <a:xfrm>
            <a:off x="1279844" y="5429124"/>
            <a:ext cx="1125526" cy="112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734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12150" y="109276"/>
            <a:ext cx="8409987" cy="607183"/>
          </a:xfrm>
        </p:spPr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3.1. ПРАВИЛО </a:t>
            </a:r>
            <a:r>
              <a:rPr lang="ru-RU" dirty="0">
                <a:solidFill>
                  <a:srgbClr val="0078DC"/>
                </a:solidFill>
              </a:rPr>
              <a:t>№1 </a:t>
            </a:r>
          </a:p>
          <a:p>
            <a:r>
              <a:rPr lang="ru-RU" dirty="0">
                <a:solidFill>
                  <a:srgbClr val="0078DC"/>
                </a:solidFill>
              </a:rPr>
              <a:t>Применяй необходимые средства индивидуальной защиты 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6971441" y="6478588"/>
            <a:ext cx="2054225" cy="379412"/>
          </a:xfrm>
        </p:spPr>
        <p:txBody>
          <a:bodyPr/>
          <a:lstStyle/>
          <a:p>
            <a:r>
              <a:rPr lang="ru-RU" dirty="0"/>
              <a:t>7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17289" y="1429521"/>
            <a:ext cx="6508377" cy="5388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гда применяй </a:t>
            </a: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ства индивидуальной защиты в соответствии с характером выполняемой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, </a:t>
            </a: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исывающими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наками и </a:t>
            </a: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катами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и. 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одежду, устойчивую к воздействию электрической дуги,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служивании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установок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ьную обувь с жестким </a:t>
            </a:r>
            <a:r>
              <a:rPr lang="ru-RU" sz="1600" dirty="0" err="1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носком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ную каску с подбородным ремнем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ушники или </a:t>
            </a:r>
            <a:r>
              <a:rPr lang="ru-RU" sz="1600" dirty="0" err="1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ши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ные очки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ные перчатки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ный экран / маску - при работе с электродрелью / перфоратором, </a:t>
            </a:r>
            <a:r>
              <a:rPr lang="ru-RU" sz="1600" dirty="0" err="1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гл</a:t>
            </a:r>
            <a:r>
              <a:rPr lang="ru-RU" sz="1600" dirty="0" err="1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600" dirty="0" err="1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лифовальной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шинкой (болгаркой)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ьные очки и маски - при проведении огневых работ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иратор или </a:t>
            </a:r>
            <a:r>
              <a:rPr lang="ru-RU" sz="1600" dirty="0" err="1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льтровочные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ски - при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и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 в условиях повышенной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ыленности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 окрасочных работ;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ховочную систему с наплечными и набедренными лямками с двумя фалами - при проведении работ на высоте.</a:t>
            </a:r>
          </a:p>
          <a:p>
            <a:pPr algn="just" defTabSz="1041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en-US" sz="1600" b="1" dirty="0" smtClean="0">
              <a:solidFill>
                <a:srgbClr val="7F7F7F"/>
              </a:solidFill>
              <a:cs typeface="Arial" panose="020B0604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6799" y="1472349"/>
            <a:ext cx="851489" cy="841292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/>
          <a:srcRect l="357" t="13401" r="73112" b="39252"/>
          <a:stretch/>
        </p:blipFill>
        <p:spPr>
          <a:xfrm>
            <a:off x="372181" y="1964609"/>
            <a:ext cx="884916" cy="88831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/>
          <a:srcRect l="256" t="13492" r="73010" b="39161"/>
          <a:stretch/>
        </p:blipFill>
        <p:spPr>
          <a:xfrm>
            <a:off x="1362819" y="2379753"/>
            <a:ext cx="936569" cy="932995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5"/>
          <a:srcRect l="256" t="13583" r="73061" b="39342"/>
          <a:stretch/>
        </p:blipFill>
        <p:spPr>
          <a:xfrm>
            <a:off x="372901" y="2993605"/>
            <a:ext cx="884195" cy="877433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6"/>
          <a:srcRect l="307" t="13310" r="73010" b="39252"/>
          <a:stretch/>
        </p:blipFill>
        <p:spPr>
          <a:xfrm>
            <a:off x="1379166" y="3410927"/>
            <a:ext cx="845132" cy="84513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7"/>
          <a:srcRect l="307" t="13310" r="73060" b="39252"/>
          <a:stretch/>
        </p:blipFill>
        <p:spPr>
          <a:xfrm>
            <a:off x="372181" y="4011715"/>
            <a:ext cx="878642" cy="880325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8"/>
          <a:srcRect l="408" t="13310" r="73112" b="39070"/>
          <a:stretch/>
        </p:blipFill>
        <p:spPr>
          <a:xfrm>
            <a:off x="1334630" y="4445103"/>
            <a:ext cx="883658" cy="893874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9"/>
          <a:srcRect l="307" t="13401" r="73111" b="39252"/>
          <a:stretch/>
        </p:blipFill>
        <p:spPr>
          <a:xfrm>
            <a:off x="402798" y="5029825"/>
            <a:ext cx="873721" cy="875398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10"/>
          <a:srcRect l="307" t="13310" r="73060" b="39161"/>
          <a:stretch/>
        </p:blipFill>
        <p:spPr>
          <a:xfrm>
            <a:off x="1404090" y="5527569"/>
            <a:ext cx="854025" cy="857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692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12150" y="270641"/>
            <a:ext cx="8409987" cy="607183"/>
          </a:xfrm>
        </p:spPr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3.2. ПРАВИЛО </a:t>
            </a:r>
            <a:r>
              <a:rPr lang="ru-RU" dirty="0">
                <a:solidFill>
                  <a:srgbClr val="0078DC"/>
                </a:solidFill>
              </a:rPr>
              <a:t>№2 </a:t>
            </a:r>
          </a:p>
          <a:p>
            <a:r>
              <a:rPr lang="ru-RU" dirty="0">
                <a:solidFill>
                  <a:srgbClr val="0078DC"/>
                </a:solidFill>
              </a:rPr>
              <a:t>Выполняй ремонтные работы только по наряду-допуску или письменному распоряжению 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8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132055" y="2067956"/>
            <a:ext cx="5814135" cy="43037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 </a:t>
            </a: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ные работы должны проводиться по наряду-допуску или письменному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оряжению.</a:t>
            </a:r>
          </a:p>
          <a:p>
            <a:pPr marL="28575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бедись, что срок действия наряда-допуска или распоряжения не истек;</a:t>
            </a:r>
          </a:p>
          <a:p>
            <a:pPr marL="28575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бедись,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до начала проведения работ рабочее место подготовлено в соответствии с мерами безопасности, указанными в наряде-допуске или распоряжении;</a:t>
            </a:r>
          </a:p>
          <a:p>
            <a:pPr marL="28575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и оценку риска на рабочем месте, максимально исключи или минимизируй возможные риски;</a:t>
            </a:r>
            <a:endParaRPr lang="ru-RU" sz="16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йди целевой инструктаж и пойми содержание работы;</a:t>
            </a:r>
          </a:p>
          <a:p>
            <a:pPr marL="28575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яй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у в соответствии с  требования безопасности, указанными в наряде-допуске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 распоряжении.</a:t>
            </a:r>
          </a:p>
          <a:p>
            <a:pPr algn="just" defTabSz="1041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altLang="en-US" sz="1600" b="1" dirty="0" smtClean="0">
              <a:solidFill>
                <a:srgbClr val="7F7F7F"/>
              </a:solidFill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759" y="2973516"/>
            <a:ext cx="1919326" cy="191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88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12150" y="270641"/>
            <a:ext cx="8409987" cy="607183"/>
          </a:xfrm>
        </p:spPr>
        <p:txBody>
          <a:bodyPr/>
          <a:lstStyle/>
          <a:p>
            <a:r>
              <a:rPr lang="ru-RU" dirty="0" smtClean="0">
                <a:solidFill>
                  <a:srgbClr val="0078DC"/>
                </a:solidFill>
              </a:rPr>
              <a:t>3.3. ПРАВИЛО </a:t>
            </a:r>
            <a:r>
              <a:rPr lang="ru-RU" dirty="0">
                <a:solidFill>
                  <a:srgbClr val="0078DC"/>
                </a:solidFill>
              </a:rPr>
              <a:t>№3 </a:t>
            </a:r>
          </a:p>
          <a:p>
            <a:r>
              <a:rPr lang="ru-RU" dirty="0">
                <a:solidFill>
                  <a:srgbClr val="0078DC"/>
                </a:solidFill>
              </a:rPr>
              <a:t>Не стой под грузом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9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014810" y="963476"/>
            <a:ext cx="5997015" cy="5273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endParaRPr lang="ru-RU" sz="2800" b="1" dirty="0">
              <a:solidFill>
                <a:srgbClr val="0078DC"/>
              </a:solidFill>
            </a:endParaRPr>
          </a:p>
          <a:p>
            <a:pPr lvl="0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endParaRPr lang="ru-RU" sz="1600" b="1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рещено </a:t>
            </a: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ходиться под грузом при проведении погрузо-разгрузочных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.  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когда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секай огражденные зоны, где проводятся погрузо-разгрузочные работы, если не участвуешь в проведении работ;</a:t>
            </a:r>
            <a:endParaRPr lang="ru-RU" sz="16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едуй указаниям наблюдающего / стропальщика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 лица, ответственного за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е производство работ.</a:t>
            </a:r>
            <a:endParaRPr lang="ru-RU" sz="16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</a:pP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оводитель работ, ответственный </a:t>
            </a: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sz="1600" b="1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е производство работ, обязан</a:t>
            </a:r>
            <a:r>
              <a:rPr lang="ru-RU" sz="1600" b="1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ородить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ну проведения погрузо-разгрузочных работ специальными ограждениями или сигнальной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нтой; </a:t>
            </a:r>
            <a:endParaRPr lang="ru-RU" sz="16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еспечить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тобы никто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посторонних не </a:t>
            </a:r>
            <a:r>
              <a:rPr lang="ru-RU" sz="1600" dirty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ходил </a:t>
            </a:r>
            <a:r>
              <a:rPr lang="ru-RU" sz="1600" dirty="0" smtClean="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ону проведения работ, а лица, ответственные за проведение работ, не проходили и не находились под перемещаемым грузом. </a:t>
            </a:r>
            <a:endParaRPr lang="ru-RU" sz="16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90000"/>
              </a:lnSpc>
              <a:spcBef>
                <a:spcPts val="1000"/>
              </a:spcBef>
              <a:buClr>
                <a:srgbClr val="0078DC"/>
              </a:buClr>
              <a:buFont typeface="Wingdings" panose="05000000000000000000" pitchFamily="2" charset="2"/>
              <a:buChar char="ü"/>
            </a:pPr>
            <a:endParaRPr lang="ru-RU" sz="1600" dirty="0">
              <a:solidFill>
                <a:srgbClr val="5E5E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7" descr="\\AMSDC1is002C\Phil.Farrell$\Cached\My Documents\My Pictures\gz\loads.pp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739" y="1943550"/>
            <a:ext cx="2652580" cy="2655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7860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_Юнипро 1">
  <a:themeElements>
    <a:clrScheme name="Другая 1">
      <a:dk1>
        <a:srgbClr val="0078DC"/>
      </a:dk1>
      <a:lt1>
        <a:sysClr val="window" lastClr="FFFFFF"/>
      </a:lt1>
      <a:dk2>
        <a:srgbClr val="0070C0"/>
      </a:dk2>
      <a:lt2>
        <a:srgbClr val="E7E6E6"/>
      </a:lt2>
      <a:accent1>
        <a:srgbClr val="0070C0"/>
      </a:accent1>
      <a:accent2>
        <a:srgbClr val="E6252E"/>
      </a:accent2>
      <a:accent3>
        <a:srgbClr val="5E5E5E"/>
      </a:accent3>
      <a:accent4>
        <a:srgbClr val="ED8C1C"/>
      </a:accent4>
      <a:accent5>
        <a:srgbClr val="00944A"/>
      </a:accent5>
      <a:accent6>
        <a:srgbClr val="69AB46"/>
      </a:accent6>
      <a:hlink>
        <a:srgbClr val="ED8C1C"/>
      </a:hlink>
      <a:folHlink>
        <a:srgbClr val="DE3A6B"/>
      </a:folHlink>
    </a:clrScheme>
    <a:fontScheme name="Корпоративный шрифт Юнипро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Юнипро-белый" id="{87BE7EC7-D91E-4347-983F-58EAD57A7883}" vid="{8595E0D5-905F-4EEE-BA1E-C005CC42D338}"/>
    </a:ext>
  </a:extLst>
</a:theme>
</file>

<file path=ppt/theme/theme2.xml><?xml version="1.0" encoding="utf-8"?>
<a:theme xmlns:a="http://schemas.openxmlformats.org/drawingml/2006/main" name="Тема_Юнипро2">
  <a:themeElements>
    <a:clrScheme name="Корпоратинвые цвета Юнипро">
      <a:dk1>
        <a:srgbClr val="0078DC"/>
      </a:dk1>
      <a:lt1>
        <a:sysClr val="window" lastClr="FFFFFF"/>
      </a:lt1>
      <a:dk2>
        <a:srgbClr val="0070C0"/>
      </a:dk2>
      <a:lt2>
        <a:srgbClr val="E7E6E6"/>
      </a:lt2>
      <a:accent1>
        <a:srgbClr val="0070C0"/>
      </a:accent1>
      <a:accent2>
        <a:srgbClr val="876C59"/>
      </a:accent2>
      <a:accent3>
        <a:srgbClr val="5E5E5E"/>
      </a:accent3>
      <a:accent4>
        <a:srgbClr val="ED8C1C"/>
      </a:accent4>
      <a:accent5>
        <a:srgbClr val="00944A"/>
      </a:accent5>
      <a:accent6>
        <a:srgbClr val="69AB46"/>
      </a:accent6>
      <a:hlink>
        <a:srgbClr val="E6252E"/>
      </a:hlink>
      <a:folHlink>
        <a:srgbClr val="DE3A6B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Юнипро" id="{74C704B5-6C73-4428-A591-FF90587E153E}" vid="{BD4F8E63-5AF2-4643-BF5D-E442836B90E6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e__x043f__x0438__x0441__x0430__x043d__x0438__x0435_ xmlns="cbea586f-808d-4923-ab69-236e03963137">Презентация компании Юнипро, разработанная согласно корпоративному стилю</_x041e__x043f__x0438__x0441__x0430__x043d__x0438__x0435_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ABCC7AD77EDF7A4ABE8B3E69BF61B472" ma:contentTypeVersion="1" ma:contentTypeDescription="Создание документа." ma:contentTypeScope="" ma:versionID="cf0c2d81e384d1c32a930a2f17fbacfd">
  <xsd:schema xmlns:xsd="http://www.w3.org/2001/XMLSchema" xmlns:xs="http://www.w3.org/2001/XMLSchema" xmlns:p="http://schemas.microsoft.com/office/2006/metadata/properties" xmlns:ns2="cbea586f-808d-4923-ab69-236e03963137" targetNamespace="http://schemas.microsoft.com/office/2006/metadata/properties" ma:root="true" ma:fieldsID="91082bc41b0816a20593e4920aae46fe" ns2:_="">
    <xsd:import namespace="cbea586f-808d-4923-ab69-236e03963137"/>
    <xsd:element name="properties">
      <xsd:complexType>
        <xsd:sequence>
          <xsd:element name="documentManagement">
            <xsd:complexType>
              <xsd:all>
                <xsd:element ref="ns2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ea586f-808d-4923-ab69-236e0396313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8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52BB641-4A1A-4F67-8443-84C17377B32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ECC7414-0188-4593-8605-03304AE012C1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www.w3.org/XML/1998/namespace"/>
    <ds:schemaRef ds:uri="cbea586f-808d-4923-ab69-236e03963137"/>
    <ds:schemaRef ds:uri="http://schemas.openxmlformats.org/package/2006/metadata/core-propertie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014C926-DAB9-4EB6-A526-1C7608C2B9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bea586f-808d-4923-ab69-236e039631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Юнипро-синий</Template>
  <TotalTime>12959</TotalTime>
  <Words>2208</Words>
  <Application>Microsoft Office PowerPoint</Application>
  <PresentationFormat>Экран (4:3)</PresentationFormat>
  <Paragraphs>234</Paragraphs>
  <Slides>21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1</vt:i4>
      </vt:variant>
    </vt:vector>
  </HeadingPairs>
  <TitlesOfParts>
    <vt:vector size="31" baseType="lpstr">
      <vt:lpstr>Arial</vt:lpstr>
      <vt:lpstr>Calibri</vt:lpstr>
      <vt:lpstr>Carlsberg Sans</vt:lpstr>
      <vt:lpstr>Carlsberg Sans Light</vt:lpstr>
      <vt:lpstr>Times New Roman</vt:lpstr>
      <vt:lpstr>Wingdings</vt:lpstr>
      <vt:lpstr>Тема_Юнипро 1</vt:lpstr>
      <vt:lpstr>Тема_Юнипро2</vt:lpstr>
      <vt:lpstr>think-cell Slide</vt:lpstr>
      <vt:lpstr>Докумен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EON Russ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презентации Юнипро_2018_размер 4 на 3</dc:title>
  <dc:creator>Большакова Мария Игоревна</dc:creator>
  <cp:lastModifiedBy>Кириллов Николай Александрович</cp:lastModifiedBy>
  <cp:revision>323</cp:revision>
  <cp:lastPrinted>2019-10-30T14:04:18Z</cp:lastPrinted>
  <dcterms:created xsi:type="dcterms:W3CDTF">2016-06-28T09:26:12Z</dcterms:created>
  <dcterms:modified xsi:type="dcterms:W3CDTF">2021-10-11T11:0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CC7AD77EDF7A4ABE8B3E69BF61B472</vt:lpwstr>
  </property>
</Properties>
</file>